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26" r:id="rId5"/>
  </p:sldMasterIdLst>
  <p:notesMasterIdLst>
    <p:notesMasterId r:id="rId47"/>
  </p:notesMasterIdLst>
  <p:sldIdLst>
    <p:sldId id="1210" r:id="rId6"/>
    <p:sldId id="256" r:id="rId7"/>
    <p:sldId id="277" r:id="rId8"/>
    <p:sldId id="1632" r:id="rId9"/>
    <p:sldId id="293" r:id="rId10"/>
    <p:sldId id="1630" r:id="rId11"/>
    <p:sldId id="1817" r:id="rId12"/>
    <p:sldId id="1818" r:id="rId13"/>
    <p:sldId id="1819" r:id="rId14"/>
    <p:sldId id="287" r:id="rId15"/>
    <p:sldId id="260" r:id="rId16"/>
    <p:sldId id="262" r:id="rId17"/>
    <p:sldId id="1815" r:id="rId18"/>
    <p:sldId id="269" r:id="rId19"/>
    <p:sldId id="276" r:id="rId20"/>
    <p:sldId id="270" r:id="rId21"/>
    <p:sldId id="271" r:id="rId22"/>
    <p:sldId id="1659" r:id="rId23"/>
    <p:sldId id="1777" r:id="rId24"/>
    <p:sldId id="1820" r:id="rId25"/>
    <p:sldId id="263" r:id="rId26"/>
    <p:sldId id="1814" r:id="rId27"/>
    <p:sldId id="1468" r:id="rId28"/>
    <p:sldId id="1726" r:id="rId29"/>
    <p:sldId id="296" r:id="rId30"/>
    <p:sldId id="1551" r:id="rId31"/>
    <p:sldId id="1559" r:id="rId32"/>
    <p:sldId id="1567" r:id="rId33"/>
    <p:sldId id="292" r:id="rId34"/>
    <p:sldId id="275" r:id="rId35"/>
    <p:sldId id="257" r:id="rId36"/>
    <p:sldId id="258" r:id="rId37"/>
    <p:sldId id="259" r:id="rId38"/>
    <p:sldId id="264" r:id="rId39"/>
    <p:sldId id="267" r:id="rId40"/>
    <p:sldId id="272" r:id="rId41"/>
    <p:sldId id="273" r:id="rId42"/>
    <p:sldId id="274" r:id="rId43"/>
    <p:sldId id="266" r:id="rId44"/>
    <p:sldId id="285" r:id="rId45"/>
    <p:sldId id="1821"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1AF574E-194E-7944-B364-45C26F3AB28A}">
          <p14:sldIdLst>
            <p14:sldId id="1210"/>
            <p14:sldId id="256"/>
          </p14:sldIdLst>
        </p14:section>
        <p14:section name="2-set" id="{DADA120B-30C7-764B-9CB1-8DAFF071D416}">
          <p14:sldIdLst>
            <p14:sldId id="277"/>
            <p14:sldId id="1632"/>
            <p14:sldId id="293"/>
            <p14:sldId id="1630"/>
            <p14:sldId id="1817"/>
            <p14:sldId id="1818"/>
            <p14:sldId id="1819"/>
            <p14:sldId id="287"/>
          </p14:sldIdLst>
        </p14:section>
        <p14:section name="3-set" id="{7CFB54C4-6EED-E747-9B3A-ECE1BE87818C}">
          <p14:sldIdLst>
            <p14:sldId id="260"/>
            <p14:sldId id="262"/>
            <p14:sldId id="1815"/>
            <p14:sldId id="269"/>
            <p14:sldId id="276"/>
            <p14:sldId id="270"/>
            <p14:sldId id="271"/>
            <p14:sldId id="1659"/>
            <p14:sldId id="1777"/>
            <p14:sldId id="1820"/>
          </p14:sldIdLst>
        </p14:section>
        <p14:section name="4-set" id="{A5AD2D64-D2B8-FE41-9DD5-F9AFA1FEC1B7}">
          <p14:sldIdLst>
            <p14:sldId id="263"/>
            <p14:sldId id="1814"/>
            <p14:sldId id="1468"/>
            <p14:sldId id="1726"/>
            <p14:sldId id="296"/>
          </p14:sldIdLst>
        </p14:section>
        <p14:section name="5-set" id="{E16FB652-D3D8-0C40-98F2-AF2ECB30361B}">
          <p14:sldIdLst>
            <p14:sldId id="1551"/>
            <p14:sldId id="1559"/>
            <p14:sldId id="1567"/>
          </p14:sldIdLst>
        </p14:section>
        <p14:section name="Clusters" id="{F7DFA9A7-D696-D043-9684-FCA0A0AD9B10}">
          <p14:sldIdLst>
            <p14:sldId id="292"/>
            <p14:sldId id="275"/>
            <p14:sldId id="257"/>
            <p14:sldId id="258"/>
            <p14:sldId id="259"/>
            <p14:sldId id="264"/>
          </p14:sldIdLst>
        </p14:section>
        <p14:section name="Linear" id="{FDC14314-9A78-F34A-86C1-AD58EE1283CE}">
          <p14:sldIdLst>
            <p14:sldId id="267"/>
            <p14:sldId id="272"/>
            <p14:sldId id="273"/>
            <p14:sldId id="274"/>
          </p14:sldIdLst>
        </p14:section>
        <p14:section name="Stacked" id="{3FFDE9A8-FCE7-F540-B119-7BB23D72A0F6}">
          <p14:sldIdLst>
            <p14:sldId id="266"/>
            <p14:sldId id="285"/>
            <p14:sldId id="1821"/>
          </p14:sldIdLst>
        </p14:section>
      </p14:sectionLst>
    </p:ext>
    <p:ext uri="{EFAFB233-063F-42B5-8137-9DF3F51BA10A}">
      <p15:sldGuideLst xmlns:p15="http://schemas.microsoft.com/office/powerpoint/2012/main">
        <p15:guide id="1" orient="horz" pos="2496" userDrawn="1">
          <p15:clr>
            <a:srgbClr val="A4A3A4"/>
          </p15:clr>
        </p15:guide>
        <p15:guide id="2" pos="645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0B2CF"/>
    <a:srgbClr val="47B3E5"/>
    <a:srgbClr val="EAEDF2"/>
    <a:srgbClr val="82B2ED"/>
    <a:srgbClr val="65B5ED"/>
    <a:srgbClr val="0F98D5"/>
    <a:srgbClr val="C1E6F2"/>
    <a:srgbClr val="D2D7FA"/>
    <a:srgbClr val="CFE3F8"/>
    <a:srgbClr val="C0E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3E927D-44A2-13D0-A219-F14999E5C42F}" v="6" dt="2023-10-01T12:22:37.20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90"/>
    <p:restoredTop sz="96143" autoAdjust="0"/>
  </p:normalViewPr>
  <p:slideViewPr>
    <p:cSldViewPr snapToGrid="0">
      <p:cViewPr varScale="1">
        <p:scale>
          <a:sx n="112" d="100"/>
          <a:sy n="112" d="100"/>
        </p:scale>
        <p:origin x="600" y="192"/>
      </p:cViewPr>
      <p:guideLst>
        <p:guide orient="horz" pos="2496"/>
        <p:guide pos="6456"/>
      </p:guideLst>
    </p:cSldViewPr>
  </p:slideViewPr>
  <p:notesTextViewPr>
    <p:cViewPr>
      <p:scale>
        <a:sx n="1" d="1"/>
        <a:sy n="1" d="1"/>
      </p:scale>
      <p:origin x="0" y="0"/>
    </p:cViewPr>
  </p:notesTextViewPr>
  <p:sorterViewPr>
    <p:cViewPr>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microsoft.com/office/2015/10/relationships/revisionInfo" Target="revisionInfo.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se, Valentin" userId="S::valentin.bese@bz-partners.eu::218cd579-aa15-487a-960f-9eaa43db2bd5" providerId="AD" clId="Web-{5F3E927D-44A2-13D0-A219-F14999E5C42F}"/>
    <pc:docChg chg="modSld">
      <pc:chgData name="Bese, Valentin" userId="S::valentin.bese@bz-partners.eu::218cd579-aa15-487a-960f-9eaa43db2bd5" providerId="AD" clId="Web-{5F3E927D-44A2-13D0-A219-F14999E5C42F}" dt="2023-10-01T12:22:36.965" v="4" actId="20577"/>
      <pc:docMkLst>
        <pc:docMk/>
      </pc:docMkLst>
      <pc:sldChg chg="modSp">
        <pc:chgData name="Bese, Valentin" userId="S::valentin.bese@bz-partners.eu::218cd579-aa15-487a-960f-9eaa43db2bd5" providerId="AD" clId="Web-{5F3E927D-44A2-13D0-A219-F14999E5C42F}" dt="2023-10-01T12:22:36.965" v="4" actId="20577"/>
        <pc:sldMkLst>
          <pc:docMk/>
          <pc:sldMk cId="1155232014" sldId="1210"/>
        </pc:sldMkLst>
        <pc:spChg chg="mod">
          <ac:chgData name="Bese, Valentin" userId="S::valentin.bese@bz-partners.eu::218cd579-aa15-487a-960f-9eaa43db2bd5" providerId="AD" clId="Web-{5F3E927D-44A2-13D0-A219-F14999E5C42F}" dt="2023-10-01T12:22:33.606" v="2" actId="20577"/>
          <ac:spMkLst>
            <pc:docMk/>
            <pc:sldMk cId="1155232014" sldId="1210"/>
            <ac:spMk id="29" creationId="{13E3BFA7-0CE4-1D98-983E-E945300E8E82}"/>
          </ac:spMkLst>
        </pc:spChg>
        <pc:spChg chg="mod">
          <ac:chgData name="Bese, Valentin" userId="S::valentin.bese@bz-partners.eu::218cd579-aa15-487a-960f-9eaa43db2bd5" providerId="AD" clId="Web-{5F3E927D-44A2-13D0-A219-F14999E5C42F}" dt="2023-10-01T12:22:36.965" v="4" actId="20577"/>
          <ac:spMkLst>
            <pc:docMk/>
            <pc:sldMk cId="1155232014" sldId="1210"/>
            <ac:spMk id="30" creationId="{E05815EF-ADD5-6525-657A-52EC7DA9E5D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6867CD5-30A4-EC40-8818-6D233C22CE25}" type="datetimeFigureOut">
              <a:rPr lang="en-US" smtClean="0"/>
              <a:t>10/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371D48-5F7D-8240-AA0A-ED1550204DD1}" type="slidenum">
              <a:rPr lang="en-US" smtClean="0"/>
              <a:t>‹Nr.›</a:t>
            </a:fld>
            <a:endParaRPr lang="en-US"/>
          </a:p>
        </p:txBody>
      </p:sp>
    </p:spTree>
    <p:extLst>
      <p:ext uri="{BB962C8B-B14F-4D97-AF65-F5344CB8AC3E}">
        <p14:creationId xmlns:p14="http://schemas.microsoft.com/office/powerpoint/2010/main" val="21873172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71D96E-4CA2-485E-9EE5-CEB7143ACC3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75363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visme.co</a:t>
            </a:r>
            <a:r>
              <a:rPr lang="en-US" dirty="0"/>
              <a:t>/blog/</a:t>
            </a:r>
            <a:r>
              <a:rPr lang="en-US" dirty="0" err="1"/>
              <a:t>venn</a:t>
            </a:r>
            <a:r>
              <a:rPr lang="en-US" dirty="0"/>
              <a:t>-diagram/</a:t>
            </a:r>
          </a:p>
        </p:txBody>
      </p:sp>
      <p:sp>
        <p:nvSpPr>
          <p:cNvPr id="4" name="Slide Number Placeholder 3"/>
          <p:cNvSpPr>
            <a:spLocks noGrp="1"/>
          </p:cNvSpPr>
          <p:nvPr>
            <p:ph type="sldNum" sz="quarter" idx="5"/>
          </p:nvPr>
        </p:nvSpPr>
        <p:spPr/>
        <p:txBody>
          <a:bodyPr/>
          <a:lstStyle/>
          <a:p>
            <a:fld id="{8A371D48-5F7D-8240-AA0A-ED1550204DD1}" type="slidenum">
              <a:rPr lang="en-US" smtClean="0"/>
              <a:t>2</a:t>
            </a:fld>
            <a:endParaRPr lang="en-US"/>
          </a:p>
        </p:txBody>
      </p:sp>
    </p:spTree>
    <p:extLst>
      <p:ext uri="{BB962C8B-B14F-4D97-AF65-F5344CB8AC3E}">
        <p14:creationId xmlns:p14="http://schemas.microsoft.com/office/powerpoint/2010/main" val="26210598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E6EA0-E5C4-3C40-00A9-17D2C1F1F8F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0879802-B926-3B0C-3787-F824E861926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245DAE0-E1CD-18C5-9CD8-05058070EEBF}"/>
              </a:ext>
            </a:extLst>
          </p:cNvPr>
          <p:cNvSpPr>
            <a:spLocks noGrp="1"/>
          </p:cNvSpPr>
          <p:nvPr>
            <p:ph type="dt" sz="half" idx="10"/>
          </p:nvPr>
        </p:nvSpPr>
        <p:spPr/>
        <p:txBody>
          <a:bodyPr/>
          <a:lstStyle/>
          <a:p>
            <a:fld id="{098A7002-D1AF-3249-98CE-8E1CEA06EC69}" type="datetimeFigureOut">
              <a:rPr lang="en-US" smtClean="0"/>
              <a:t>10/1/2023</a:t>
            </a:fld>
            <a:endParaRPr lang="en-US"/>
          </a:p>
        </p:txBody>
      </p:sp>
      <p:sp>
        <p:nvSpPr>
          <p:cNvPr id="5" name="Footer Placeholder 4">
            <a:extLst>
              <a:ext uri="{FF2B5EF4-FFF2-40B4-BE49-F238E27FC236}">
                <a16:creationId xmlns:a16="http://schemas.microsoft.com/office/drawing/2014/main" id="{56106FA8-1EFB-DC6A-FD74-18F7527A60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BFF327-AA5E-C1EB-9654-EBF22F14BE40}"/>
              </a:ext>
            </a:extLst>
          </p:cNvPr>
          <p:cNvSpPr>
            <a:spLocks noGrp="1"/>
          </p:cNvSpPr>
          <p:nvPr>
            <p:ph type="sldNum" sz="quarter" idx="12"/>
          </p:nvPr>
        </p:nvSpPr>
        <p:spPr/>
        <p:txBody>
          <a:bodyPr/>
          <a:lstStyle/>
          <a:p>
            <a:fld id="{2B374B79-E03D-AF40-B976-04D9DDEEF647}" type="slidenum">
              <a:rPr lang="en-US" smtClean="0"/>
              <a:t>‹Nr.›</a:t>
            </a:fld>
            <a:endParaRPr lang="en-US"/>
          </a:p>
        </p:txBody>
      </p:sp>
    </p:spTree>
    <p:extLst>
      <p:ext uri="{BB962C8B-B14F-4D97-AF65-F5344CB8AC3E}">
        <p14:creationId xmlns:p14="http://schemas.microsoft.com/office/powerpoint/2010/main" val="38262217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roduktvorteile">
    <p:spTree>
      <p:nvGrpSpPr>
        <p:cNvPr id="1" name=""/>
        <p:cNvGrpSpPr/>
        <p:nvPr/>
      </p:nvGrpSpPr>
      <p:grpSpPr>
        <a:xfrm>
          <a:off x="0" y="0"/>
          <a:ext cx="0" cy="0"/>
          <a:chOff x="0" y="0"/>
          <a:chExt cx="0" cy="0"/>
        </a:xfrm>
      </p:grpSpPr>
      <p:pic>
        <p:nvPicPr>
          <p:cNvPr id="8" name="Bild 7">
            <a:extLst>
              <a:ext uri="{FF2B5EF4-FFF2-40B4-BE49-F238E27FC236}">
                <a16:creationId xmlns:a16="http://schemas.microsoft.com/office/drawing/2014/main" id="{57C8E50C-1C7A-4E62-B38F-3E12A174C85B}"/>
              </a:ext>
            </a:extLst>
          </p:cNvPr>
          <p:cNvPicPr>
            <a:picLocks noChangeAspect="1"/>
          </p:cNvPicPr>
          <p:nvPr userDrawn="1"/>
        </p:nvPicPr>
        <p:blipFill>
          <a:blip r:embed="rId2"/>
          <a:stretch>
            <a:fillRect/>
          </a:stretch>
        </p:blipFill>
        <p:spPr>
          <a:xfrm>
            <a:off x="1690" y="0"/>
            <a:ext cx="12188620" cy="6858000"/>
          </a:xfrm>
          <a:prstGeom prst="rect">
            <a:avLst/>
          </a:prstGeom>
        </p:spPr>
      </p:pic>
      <p:sp>
        <p:nvSpPr>
          <p:cNvPr id="7" name="Bildplatzhalter 7">
            <a:extLst>
              <a:ext uri="{FF2B5EF4-FFF2-40B4-BE49-F238E27FC236}">
                <a16:creationId xmlns:a16="http://schemas.microsoft.com/office/drawing/2014/main" id="{7AF7405C-6DF9-4409-85F0-8C1DCCC0AC61}"/>
              </a:ext>
            </a:extLst>
          </p:cNvPr>
          <p:cNvSpPr>
            <a:spLocks noGrp="1"/>
          </p:cNvSpPr>
          <p:nvPr>
            <p:ph type="pic" sz="quarter" idx="13" hasCustomPrompt="1"/>
          </p:nvPr>
        </p:nvSpPr>
        <p:spPr>
          <a:xfrm>
            <a:off x="622570" y="729926"/>
            <a:ext cx="6456836" cy="5388772"/>
          </a:xfrm>
        </p:spPr>
        <p:txBody>
          <a:bodyPr rtlCol="0"/>
          <a:lstStyle>
            <a:lvl1pPr marL="0" indent="0" algn="ctr">
              <a:buNone/>
              <a:defRPr>
                <a:solidFill>
                  <a:schemeClr val="bg1"/>
                </a:solidFill>
              </a:defRPr>
            </a:lvl1pPr>
          </a:lstStyle>
          <a:p>
            <a:pPr rtl="0"/>
            <a:r>
              <a:rPr lang="de-DE" noProof="0"/>
              <a:t>Zum Hinzufügen eines Fotos klicken</a:t>
            </a:r>
          </a:p>
        </p:txBody>
      </p:sp>
      <p:sp>
        <p:nvSpPr>
          <p:cNvPr id="2" name="Titel 1">
            <a:extLst>
              <a:ext uri="{FF2B5EF4-FFF2-40B4-BE49-F238E27FC236}">
                <a16:creationId xmlns:a16="http://schemas.microsoft.com/office/drawing/2014/main" id="{4C883B71-4A78-4B93-97F2-F54D7DC10020}"/>
              </a:ext>
            </a:extLst>
          </p:cNvPr>
          <p:cNvSpPr>
            <a:spLocks noGrp="1"/>
          </p:cNvSpPr>
          <p:nvPr>
            <p:ph type="title" hasCustomPrompt="1"/>
          </p:nvPr>
        </p:nvSpPr>
        <p:spPr>
          <a:xfrm>
            <a:off x="6467704" y="1881922"/>
            <a:ext cx="5749200" cy="3084630"/>
          </a:xfrm>
          <a:solidFill>
            <a:schemeClr val="bg2">
              <a:alpha val="93000"/>
            </a:schemeClr>
          </a:solidFill>
        </p:spPr>
        <p:txBody>
          <a:bodyPr lIns="694944" tIns="713232" rtlCol="0" anchor="t">
            <a:normAutofit/>
          </a:bodyPr>
          <a:lstStyle>
            <a:lvl1pPr algn="l">
              <a:lnSpc>
                <a:spcPct val="100000"/>
              </a:lnSpc>
              <a:defRPr sz="2800"/>
            </a:lvl1pPr>
          </a:lstStyle>
          <a:p>
            <a:pPr rtl="0"/>
            <a:r>
              <a:rPr lang="de-DE" noProof="0"/>
              <a:t>Titel durch Klicken hinzufügen</a:t>
            </a:r>
          </a:p>
        </p:txBody>
      </p:sp>
      <p:sp>
        <p:nvSpPr>
          <p:cNvPr id="9" name="Textplatzhalter 17">
            <a:extLst>
              <a:ext uri="{FF2B5EF4-FFF2-40B4-BE49-F238E27FC236}">
                <a16:creationId xmlns:a16="http://schemas.microsoft.com/office/drawing/2014/main" id="{83F286D7-A050-456B-BDD3-3FFAA21A8099}"/>
              </a:ext>
            </a:extLst>
          </p:cNvPr>
          <p:cNvSpPr>
            <a:spLocks noGrp="1"/>
          </p:cNvSpPr>
          <p:nvPr>
            <p:ph type="body" sz="quarter" idx="15" hasCustomPrompt="1"/>
          </p:nvPr>
        </p:nvSpPr>
        <p:spPr>
          <a:xfrm>
            <a:off x="7079405" y="3201410"/>
            <a:ext cx="4614604" cy="1291638"/>
          </a:xfrm>
        </p:spPr>
        <p:txBody>
          <a:bodyPr rtlCol="0">
            <a:noAutofit/>
          </a:bodyPr>
          <a:lstStyle>
            <a:lvl1pPr marL="0" indent="0" algn="l">
              <a:lnSpc>
                <a:spcPct val="125000"/>
              </a:lnSpc>
              <a:buNone/>
              <a:defRPr sz="1400" spc="100" baseline="0">
                <a:solidFill>
                  <a:schemeClr val="accent2"/>
                </a:solidFill>
              </a:defRPr>
            </a:lvl1pPr>
          </a:lstStyle>
          <a:p>
            <a:pPr lvl="0" rtl="0"/>
            <a:r>
              <a:rPr lang="de-DE" noProof="0"/>
              <a:t>Klicken Sie, um Text hinzuzufügen.</a:t>
            </a:r>
          </a:p>
        </p:txBody>
      </p:sp>
      <p:sp>
        <p:nvSpPr>
          <p:cNvPr id="3" name="Datumsplatzhalter 2">
            <a:extLst>
              <a:ext uri="{FF2B5EF4-FFF2-40B4-BE49-F238E27FC236}">
                <a16:creationId xmlns:a16="http://schemas.microsoft.com/office/drawing/2014/main" id="{4A927E28-2C60-4D18-8BB3-DC9627E13C59}"/>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4290EE45-541D-483E-A0B8-5997A2F98DA3}"/>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504E100B-E96A-45D4-9553-51CF2CBA55DD}"/>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Tree>
    <p:extLst>
      <p:ext uri="{BB962C8B-B14F-4D97-AF65-F5344CB8AC3E}">
        <p14:creationId xmlns:p14="http://schemas.microsoft.com/office/powerpoint/2010/main" val="30058491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Unternehmensübersicht">
    <p:spTree>
      <p:nvGrpSpPr>
        <p:cNvPr id="1" name=""/>
        <p:cNvGrpSpPr/>
        <p:nvPr/>
      </p:nvGrpSpPr>
      <p:grpSpPr>
        <a:xfrm>
          <a:off x="0" y="0"/>
          <a:ext cx="0" cy="0"/>
          <a:chOff x="0" y="0"/>
          <a:chExt cx="0" cy="0"/>
        </a:xfrm>
      </p:grpSpPr>
      <p:sp>
        <p:nvSpPr>
          <p:cNvPr id="5" name="Bildplatzhalter 7">
            <a:extLst>
              <a:ext uri="{FF2B5EF4-FFF2-40B4-BE49-F238E27FC236}">
                <a16:creationId xmlns:a16="http://schemas.microsoft.com/office/drawing/2014/main" id="{E757B982-FF4B-4902-B808-FC325983FD9C}"/>
              </a:ext>
            </a:extLst>
          </p:cNvPr>
          <p:cNvSpPr>
            <a:spLocks noGrp="1"/>
          </p:cNvSpPr>
          <p:nvPr>
            <p:ph type="pic" sz="quarter" idx="13" hasCustomPrompt="1"/>
          </p:nvPr>
        </p:nvSpPr>
        <p:spPr>
          <a:xfrm flipH="1">
            <a:off x="0" y="0"/>
            <a:ext cx="12192000" cy="6858000"/>
          </a:xfrm>
        </p:spPr>
        <p:txBody>
          <a:bodyPr rtlCol="0"/>
          <a:lstStyle>
            <a:lvl1pPr marL="0" indent="0" algn="ctr">
              <a:buNone/>
              <a:defRPr>
                <a:solidFill>
                  <a:schemeClr val="tx1"/>
                </a:solidFill>
              </a:defRPr>
            </a:lvl1pPr>
          </a:lstStyle>
          <a:p>
            <a:pPr rtl="0"/>
            <a:r>
              <a:rPr lang="de-DE" noProof="0"/>
              <a:t>Zum Hinzufügen eines Fotos klicken</a:t>
            </a:r>
          </a:p>
        </p:txBody>
      </p:sp>
      <p:sp>
        <p:nvSpPr>
          <p:cNvPr id="2" name="Titel 1">
            <a:extLst>
              <a:ext uri="{FF2B5EF4-FFF2-40B4-BE49-F238E27FC236}">
                <a16:creationId xmlns:a16="http://schemas.microsoft.com/office/drawing/2014/main" id="{4D7337BF-9564-499D-91CE-9DDD9C969339}"/>
              </a:ext>
            </a:extLst>
          </p:cNvPr>
          <p:cNvSpPr>
            <a:spLocks noGrp="1"/>
          </p:cNvSpPr>
          <p:nvPr>
            <p:ph type="title" hasCustomPrompt="1"/>
          </p:nvPr>
        </p:nvSpPr>
        <p:spPr>
          <a:xfrm>
            <a:off x="1403350" y="1371599"/>
            <a:ext cx="9385300" cy="985791"/>
          </a:xfrm>
        </p:spPr>
        <p:txBody>
          <a:bodyPr rtlCol="0">
            <a:noAutofit/>
          </a:bodyPr>
          <a:lstStyle>
            <a:lvl1pPr algn="ctr">
              <a:defRPr sz="5400">
                <a:ln w="19050">
                  <a:solidFill>
                    <a:schemeClr val="accent5"/>
                  </a:solidFill>
                </a:ln>
              </a:defRPr>
            </a:lvl1pPr>
          </a:lstStyle>
          <a:p>
            <a:pPr rtl="0"/>
            <a:r>
              <a:rPr lang="de-DE" noProof="0"/>
              <a:t>Titel durch Klicken hinzufügen</a:t>
            </a:r>
          </a:p>
        </p:txBody>
      </p:sp>
    </p:spTree>
    <p:extLst>
      <p:ext uri="{BB962C8B-B14F-4D97-AF65-F5344CB8AC3E}">
        <p14:creationId xmlns:p14="http://schemas.microsoft.com/office/powerpoint/2010/main" val="21762510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eschäftsmodell">
    <p:spTree>
      <p:nvGrpSpPr>
        <p:cNvPr id="1" name=""/>
        <p:cNvGrpSpPr/>
        <p:nvPr/>
      </p:nvGrpSpPr>
      <p:grpSpPr>
        <a:xfrm>
          <a:off x="0" y="0"/>
          <a:ext cx="0" cy="0"/>
          <a:chOff x="0" y="0"/>
          <a:chExt cx="0" cy="0"/>
        </a:xfrm>
      </p:grpSpPr>
      <p:pic>
        <p:nvPicPr>
          <p:cNvPr id="3" name="Bild 2">
            <a:extLst>
              <a:ext uri="{FF2B5EF4-FFF2-40B4-BE49-F238E27FC236}">
                <a16:creationId xmlns:a16="http://schemas.microsoft.com/office/drawing/2014/main" id="{12684757-E21D-414B-B627-1E0D15F89CA8}"/>
              </a:ext>
            </a:extLst>
          </p:cNvPr>
          <p:cNvPicPr>
            <a:picLocks noChangeAspect="1"/>
          </p:cNvPicPr>
          <p:nvPr userDrawn="1"/>
        </p:nvPicPr>
        <p:blipFill>
          <a:blip r:embed="rId2"/>
          <a:stretch>
            <a:fillRect/>
          </a:stretch>
        </p:blipFill>
        <p:spPr>
          <a:xfrm>
            <a:off x="1690" y="0"/>
            <a:ext cx="12188620" cy="6858000"/>
          </a:xfrm>
          <a:prstGeom prst="rect">
            <a:avLst/>
          </a:prstGeom>
        </p:spPr>
      </p:pic>
      <p:sp>
        <p:nvSpPr>
          <p:cNvPr id="11" name="Bildplatzhalter 7">
            <a:extLst>
              <a:ext uri="{FF2B5EF4-FFF2-40B4-BE49-F238E27FC236}">
                <a16:creationId xmlns:a16="http://schemas.microsoft.com/office/drawing/2014/main" id="{927250C7-CB58-468C-B8BB-17DB85D4F242}"/>
              </a:ext>
            </a:extLst>
          </p:cNvPr>
          <p:cNvSpPr>
            <a:spLocks noGrp="1"/>
          </p:cNvSpPr>
          <p:nvPr>
            <p:ph type="pic" sz="quarter" idx="13" hasCustomPrompt="1"/>
          </p:nvPr>
        </p:nvSpPr>
        <p:spPr>
          <a:xfrm>
            <a:off x="5011738" y="0"/>
            <a:ext cx="7196930" cy="6867376"/>
          </a:xfrm>
        </p:spPr>
        <p:txBody>
          <a:bodyPr rtlCol="0"/>
          <a:lstStyle>
            <a:lvl1pPr marL="0" indent="0" algn="ctr">
              <a:buNone/>
              <a:defRPr>
                <a:solidFill>
                  <a:schemeClr val="bg1"/>
                </a:solidFill>
              </a:defRPr>
            </a:lvl1pPr>
          </a:lstStyle>
          <a:p>
            <a:pPr rtl="0"/>
            <a:r>
              <a:rPr lang="de-DE" noProof="0"/>
              <a:t>Zum Hinzufügen eines Fotos klicken</a:t>
            </a:r>
          </a:p>
        </p:txBody>
      </p:sp>
      <p:sp>
        <p:nvSpPr>
          <p:cNvPr id="2" name="Titel 1">
            <a:extLst>
              <a:ext uri="{FF2B5EF4-FFF2-40B4-BE49-F238E27FC236}">
                <a16:creationId xmlns:a16="http://schemas.microsoft.com/office/drawing/2014/main" id="{376BB3F6-84AB-40BA-9D7D-7C1E13C0E159}"/>
              </a:ext>
            </a:extLst>
          </p:cNvPr>
          <p:cNvSpPr>
            <a:spLocks noGrp="1"/>
          </p:cNvSpPr>
          <p:nvPr>
            <p:ph type="title" hasCustomPrompt="1"/>
          </p:nvPr>
        </p:nvSpPr>
        <p:spPr>
          <a:xfrm>
            <a:off x="-1" y="1036629"/>
            <a:ext cx="6007099" cy="4784742"/>
          </a:xfrm>
          <a:solidFill>
            <a:schemeClr val="accent6">
              <a:alpha val="80000"/>
            </a:schemeClr>
          </a:solidFill>
        </p:spPr>
        <p:txBody>
          <a:bodyPr lIns="822960" tIns="640080" rtlCol="0" anchor="t">
            <a:normAutofit/>
          </a:bodyPr>
          <a:lstStyle>
            <a:lvl1pPr algn="l">
              <a:lnSpc>
                <a:spcPct val="100000"/>
              </a:lnSpc>
              <a:defRPr sz="2800"/>
            </a:lvl1pPr>
          </a:lstStyle>
          <a:p>
            <a:pPr rtl="0"/>
            <a:r>
              <a:rPr lang="de-DE" noProof="0"/>
              <a:t>Titel durch Klicken hinzufügen</a:t>
            </a:r>
          </a:p>
        </p:txBody>
      </p:sp>
      <p:sp>
        <p:nvSpPr>
          <p:cNvPr id="16" name="Textplatzhalter 14">
            <a:extLst>
              <a:ext uri="{FF2B5EF4-FFF2-40B4-BE49-F238E27FC236}">
                <a16:creationId xmlns:a16="http://schemas.microsoft.com/office/drawing/2014/main" id="{6A7AB969-4D8E-41B0-A403-6D1D41CD5167}"/>
              </a:ext>
            </a:extLst>
          </p:cNvPr>
          <p:cNvSpPr>
            <a:spLocks noGrp="1"/>
          </p:cNvSpPr>
          <p:nvPr>
            <p:ph type="body" sz="quarter" idx="22" hasCustomPrompt="1"/>
          </p:nvPr>
        </p:nvSpPr>
        <p:spPr>
          <a:xfrm>
            <a:off x="729016" y="2368506"/>
            <a:ext cx="4771030" cy="365125"/>
          </a:xfrm>
          <a:prstGeom prst="rect">
            <a:avLst/>
          </a:prstGeom>
        </p:spPr>
        <p:txBody>
          <a:bodyPr rtlCol="0"/>
          <a:lstStyle>
            <a:lvl1pPr marL="0" indent="0">
              <a:buNone/>
              <a:defRPr sz="1600" b="1" cap="all" spc="200" baseline="0">
                <a:solidFill>
                  <a:schemeClr val="accent2"/>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15" name="Textplatzhalter 14">
            <a:extLst>
              <a:ext uri="{FF2B5EF4-FFF2-40B4-BE49-F238E27FC236}">
                <a16:creationId xmlns:a16="http://schemas.microsoft.com/office/drawing/2014/main" id="{08F82904-47D8-4EB9-A697-8ED11274C40F}"/>
              </a:ext>
            </a:extLst>
          </p:cNvPr>
          <p:cNvSpPr>
            <a:spLocks noGrp="1"/>
          </p:cNvSpPr>
          <p:nvPr>
            <p:ph type="body" sz="quarter" idx="18" hasCustomPrompt="1"/>
          </p:nvPr>
        </p:nvSpPr>
        <p:spPr>
          <a:xfrm>
            <a:off x="729017" y="2605040"/>
            <a:ext cx="4771030" cy="801073"/>
          </a:xfrm>
          <a:prstGeom prst="rect">
            <a:avLst/>
          </a:prstGeom>
        </p:spPr>
        <p:txBody>
          <a:bodyPr rtlCol="0">
            <a:normAutofit/>
          </a:bodyPr>
          <a:lstStyle>
            <a:lvl1pPr marL="0" indent="0">
              <a:lnSpc>
                <a:spcPct val="114000"/>
              </a:lnSpc>
              <a:spcBef>
                <a:spcPts val="0"/>
              </a:spcBef>
              <a:buNone/>
              <a:defRPr sz="1400" cap="none" spc="100" baseline="0">
                <a:solidFill>
                  <a:schemeClr val="accent2"/>
                </a:solidFill>
                <a:latin typeface="+mn-lt"/>
              </a:defRPr>
            </a:lvl1pPr>
          </a:lstStyle>
          <a:p>
            <a:pPr lvl="0" rtl="0"/>
            <a:r>
              <a:rPr lang="de-DE" noProof="0"/>
              <a:t>Klicken Sie, um Text hinzuzufügen.</a:t>
            </a:r>
          </a:p>
        </p:txBody>
      </p:sp>
      <p:sp>
        <p:nvSpPr>
          <p:cNvPr id="22" name="Textplatzhalter 14">
            <a:extLst>
              <a:ext uri="{FF2B5EF4-FFF2-40B4-BE49-F238E27FC236}">
                <a16:creationId xmlns:a16="http://schemas.microsoft.com/office/drawing/2014/main" id="{44501739-C457-4C98-A458-5B3639CFB821}"/>
              </a:ext>
            </a:extLst>
          </p:cNvPr>
          <p:cNvSpPr>
            <a:spLocks noGrp="1"/>
          </p:cNvSpPr>
          <p:nvPr>
            <p:ph type="body" sz="quarter" idx="24" hasCustomPrompt="1"/>
          </p:nvPr>
        </p:nvSpPr>
        <p:spPr>
          <a:xfrm>
            <a:off x="729016" y="3544629"/>
            <a:ext cx="4771030" cy="365125"/>
          </a:xfrm>
          <a:prstGeom prst="rect">
            <a:avLst/>
          </a:prstGeom>
        </p:spPr>
        <p:txBody>
          <a:bodyPr rtlCol="0"/>
          <a:lstStyle>
            <a:lvl1pPr marL="0" indent="0">
              <a:buNone/>
              <a:defRPr sz="1600" b="1" cap="all" spc="200" baseline="0">
                <a:solidFill>
                  <a:schemeClr val="accent2"/>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1" name="Textplatzhalter 14">
            <a:extLst>
              <a:ext uri="{FF2B5EF4-FFF2-40B4-BE49-F238E27FC236}">
                <a16:creationId xmlns:a16="http://schemas.microsoft.com/office/drawing/2014/main" id="{503766A8-C36E-4337-9DB4-358A28B74319}"/>
              </a:ext>
            </a:extLst>
          </p:cNvPr>
          <p:cNvSpPr>
            <a:spLocks noGrp="1"/>
          </p:cNvSpPr>
          <p:nvPr>
            <p:ph type="body" sz="quarter" idx="23" hasCustomPrompt="1"/>
          </p:nvPr>
        </p:nvSpPr>
        <p:spPr>
          <a:xfrm>
            <a:off x="729017" y="3781163"/>
            <a:ext cx="4771030" cy="801073"/>
          </a:xfrm>
          <a:prstGeom prst="rect">
            <a:avLst/>
          </a:prstGeom>
        </p:spPr>
        <p:txBody>
          <a:bodyPr rtlCol="0">
            <a:normAutofit/>
          </a:bodyPr>
          <a:lstStyle>
            <a:lvl1pPr marL="0" indent="0">
              <a:lnSpc>
                <a:spcPct val="114000"/>
              </a:lnSpc>
              <a:spcBef>
                <a:spcPts val="0"/>
              </a:spcBef>
              <a:buNone/>
              <a:defRPr sz="1400" cap="none" spc="100" baseline="0">
                <a:solidFill>
                  <a:schemeClr val="accent2"/>
                </a:solidFill>
                <a:latin typeface="+mn-lt"/>
              </a:defRPr>
            </a:lvl1pPr>
          </a:lstStyle>
          <a:p>
            <a:pPr lvl="0" rtl="0"/>
            <a:r>
              <a:rPr lang="de-DE" noProof="0"/>
              <a:t>Klicken Sie, um Text hinzuzufügen.</a:t>
            </a:r>
          </a:p>
        </p:txBody>
      </p:sp>
      <p:sp>
        <p:nvSpPr>
          <p:cNvPr id="24" name="Textplatzhalter 14">
            <a:extLst>
              <a:ext uri="{FF2B5EF4-FFF2-40B4-BE49-F238E27FC236}">
                <a16:creationId xmlns:a16="http://schemas.microsoft.com/office/drawing/2014/main" id="{5F947925-2465-45AC-9A1E-7153477BBEEC}"/>
              </a:ext>
            </a:extLst>
          </p:cNvPr>
          <p:cNvSpPr>
            <a:spLocks noGrp="1"/>
          </p:cNvSpPr>
          <p:nvPr>
            <p:ph type="body" sz="quarter" idx="26" hasCustomPrompt="1"/>
          </p:nvPr>
        </p:nvSpPr>
        <p:spPr>
          <a:xfrm>
            <a:off x="729016" y="4739239"/>
            <a:ext cx="4771030" cy="365125"/>
          </a:xfrm>
          <a:prstGeom prst="rect">
            <a:avLst/>
          </a:prstGeom>
        </p:spPr>
        <p:txBody>
          <a:bodyPr rtlCol="0"/>
          <a:lstStyle>
            <a:lvl1pPr marL="0" indent="0">
              <a:buNone/>
              <a:defRPr sz="1600" b="1" cap="all" spc="200" baseline="0">
                <a:solidFill>
                  <a:schemeClr val="accent2"/>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3" name="Textplatzhalter 14">
            <a:extLst>
              <a:ext uri="{FF2B5EF4-FFF2-40B4-BE49-F238E27FC236}">
                <a16:creationId xmlns:a16="http://schemas.microsoft.com/office/drawing/2014/main" id="{6FC86B0E-A85D-444A-BC2A-B7A5FF1D48D5}"/>
              </a:ext>
            </a:extLst>
          </p:cNvPr>
          <p:cNvSpPr>
            <a:spLocks noGrp="1"/>
          </p:cNvSpPr>
          <p:nvPr>
            <p:ph type="body" sz="quarter" idx="25" hasCustomPrompt="1"/>
          </p:nvPr>
        </p:nvSpPr>
        <p:spPr>
          <a:xfrm>
            <a:off x="729017" y="4975773"/>
            <a:ext cx="4771030" cy="546815"/>
          </a:xfrm>
          <a:prstGeom prst="rect">
            <a:avLst/>
          </a:prstGeom>
        </p:spPr>
        <p:txBody>
          <a:bodyPr rtlCol="0">
            <a:normAutofit/>
          </a:bodyPr>
          <a:lstStyle>
            <a:lvl1pPr marL="0" indent="0">
              <a:lnSpc>
                <a:spcPct val="114000"/>
              </a:lnSpc>
              <a:spcBef>
                <a:spcPts val="0"/>
              </a:spcBef>
              <a:buNone/>
              <a:defRPr sz="1400" cap="none" spc="100" baseline="0">
                <a:solidFill>
                  <a:schemeClr val="accent2"/>
                </a:solidFill>
                <a:latin typeface="+mn-lt"/>
              </a:defRPr>
            </a:lvl1pPr>
          </a:lstStyle>
          <a:p>
            <a:pPr lvl="0" rtl="0"/>
            <a:r>
              <a:rPr lang="de-DE" noProof="0"/>
              <a:t>Klicken Sie, um Text hinzuzufügen.</a:t>
            </a:r>
          </a:p>
        </p:txBody>
      </p:sp>
      <p:sp>
        <p:nvSpPr>
          <p:cNvPr id="5" name="Datumsplatzhalter 4">
            <a:extLst>
              <a:ext uri="{FF2B5EF4-FFF2-40B4-BE49-F238E27FC236}">
                <a16:creationId xmlns:a16="http://schemas.microsoft.com/office/drawing/2014/main" id="{BBA930A0-A89C-48EB-A039-375BDA735BBF}"/>
              </a:ext>
            </a:extLst>
          </p:cNvPr>
          <p:cNvSpPr>
            <a:spLocks noGrp="1"/>
          </p:cNvSpPr>
          <p:nvPr>
            <p:ph type="dt" sz="half" idx="10"/>
          </p:nvPr>
        </p:nvSpPr>
        <p:spPr/>
        <p:txBody>
          <a:bodyPr rtlCol="0"/>
          <a:lstStyle/>
          <a:p>
            <a:pPr rtl="0"/>
            <a:r>
              <a:rPr lang="de-DE" noProof="0"/>
              <a:t>06.08.20XX</a:t>
            </a:r>
          </a:p>
        </p:txBody>
      </p:sp>
      <p:sp>
        <p:nvSpPr>
          <p:cNvPr id="6" name="Fußzeilenplatzhalter 5">
            <a:extLst>
              <a:ext uri="{FF2B5EF4-FFF2-40B4-BE49-F238E27FC236}">
                <a16:creationId xmlns:a16="http://schemas.microsoft.com/office/drawing/2014/main" id="{A02A2494-B27D-418F-9D5E-8DE4FFB491B3}"/>
              </a:ext>
            </a:extLst>
          </p:cNvPr>
          <p:cNvSpPr>
            <a:spLocks noGrp="1"/>
          </p:cNvSpPr>
          <p:nvPr>
            <p:ph type="ftr" sz="quarter" idx="11"/>
          </p:nvPr>
        </p:nvSpPr>
        <p:spPr/>
        <p:txBody>
          <a:bodyPr rtlCol="0"/>
          <a:lstStyle/>
          <a:p>
            <a:pPr rtl="0"/>
            <a:r>
              <a:rPr lang="de-DE" noProof="0"/>
              <a:t>VERKAUFSPRÄSENTATION</a:t>
            </a:r>
          </a:p>
        </p:txBody>
      </p:sp>
      <p:sp>
        <p:nvSpPr>
          <p:cNvPr id="7" name="Foliennummernplatzhalter 6">
            <a:extLst>
              <a:ext uri="{FF2B5EF4-FFF2-40B4-BE49-F238E27FC236}">
                <a16:creationId xmlns:a16="http://schemas.microsoft.com/office/drawing/2014/main" id="{04B0DC46-AFFB-4CCA-B5AE-7028C4E26619}"/>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14" name="Titel 1">
            <a:extLst>
              <a:ext uri="{FF2B5EF4-FFF2-40B4-BE49-F238E27FC236}">
                <a16:creationId xmlns:a16="http://schemas.microsoft.com/office/drawing/2014/main" id="{4FA2B6EC-7682-494A-A02D-E22FEB7A4FD2}"/>
              </a:ext>
            </a:extLst>
          </p:cNvPr>
          <p:cNvSpPr txBox="1">
            <a:spLocks/>
          </p:cNvSpPr>
          <p:nvPr userDrawn="1"/>
        </p:nvSpPr>
        <p:spPr>
          <a:xfrm>
            <a:off x="0" y="1036629"/>
            <a:ext cx="6007099" cy="4784742"/>
          </a:xfrm>
          <a:prstGeom prst="rect">
            <a:avLst/>
          </a:prstGeom>
          <a:solidFill>
            <a:schemeClr val="accent6">
              <a:alpha val="80000"/>
            </a:schemeClr>
          </a:solidFill>
        </p:spPr>
        <p:txBody>
          <a:bodyPr vert="horz" lIns="822960" tIns="640080" rIns="91440" bIns="45720" rtlCol="0" anchor="t">
            <a:normAutofit/>
          </a:bodyPr>
          <a:lstStyle>
            <a:lvl1pPr algn="l" defTabSz="914400" rtl="0" eaLnBrk="1" latinLnBrk="0" hangingPunct="1">
              <a:lnSpc>
                <a:spcPct val="100000"/>
              </a:lnSpc>
              <a:spcBef>
                <a:spcPct val="0"/>
              </a:spcBef>
              <a:buNone/>
              <a:defRPr sz="2800" b="1" kern="1200" cap="all" spc="400" baseline="0">
                <a:ln w="19050">
                  <a:solidFill>
                    <a:schemeClr val="accent2"/>
                  </a:solidFill>
                </a:ln>
                <a:noFill/>
                <a:latin typeface="Arial" panose="020B0604020202020204" pitchFamily="34" charset="0"/>
                <a:ea typeface="+mj-ea"/>
                <a:cs typeface="Arial" panose="020B0604020202020204" pitchFamily="34" charset="0"/>
              </a:defRPr>
            </a:lvl1pPr>
          </a:lstStyle>
          <a:p>
            <a:r>
              <a:rPr lang="de-DE" noProof="0"/>
              <a:t>Titel durch Klicken hinzufügen</a:t>
            </a:r>
          </a:p>
        </p:txBody>
      </p:sp>
    </p:spTree>
    <p:extLst>
      <p:ext uri="{BB962C8B-B14F-4D97-AF65-F5344CB8AC3E}">
        <p14:creationId xmlns:p14="http://schemas.microsoft.com/office/powerpoint/2010/main" val="39351043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arktübersicht">
    <p:spTree>
      <p:nvGrpSpPr>
        <p:cNvPr id="1" name=""/>
        <p:cNvGrpSpPr/>
        <p:nvPr/>
      </p:nvGrpSpPr>
      <p:grpSpPr>
        <a:xfrm>
          <a:off x="0" y="0"/>
          <a:ext cx="0" cy="0"/>
          <a:chOff x="0" y="0"/>
          <a:chExt cx="0" cy="0"/>
        </a:xfrm>
      </p:grpSpPr>
      <p:pic>
        <p:nvPicPr>
          <p:cNvPr id="3" name="Bild 2">
            <a:extLst>
              <a:ext uri="{FF2B5EF4-FFF2-40B4-BE49-F238E27FC236}">
                <a16:creationId xmlns:a16="http://schemas.microsoft.com/office/drawing/2014/main" id="{1927D588-C832-4149-9B9F-D817459D8B7F}"/>
              </a:ext>
            </a:extLst>
          </p:cNvPr>
          <p:cNvPicPr>
            <a:picLocks noChangeAspect="1"/>
          </p:cNvPicPr>
          <p:nvPr userDrawn="1"/>
        </p:nvPicPr>
        <p:blipFill>
          <a:blip r:embed="rId2"/>
          <a:stretch>
            <a:fillRect/>
          </a:stretch>
        </p:blipFill>
        <p:spPr>
          <a:xfrm>
            <a:off x="1690" y="0"/>
            <a:ext cx="12188620" cy="6858000"/>
          </a:xfrm>
          <a:prstGeom prst="rect">
            <a:avLst/>
          </a:prstGeom>
        </p:spPr>
      </p:pic>
      <p:sp>
        <p:nvSpPr>
          <p:cNvPr id="5" name="Datumsplatzhalter 4">
            <a:extLst>
              <a:ext uri="{FF2B5EF4-FFF2-40B4-BE49-F238E27FC236}">
                <a16:creationId xmlns:a16="http://schemas.microsoft.com/office/drawing/2014/main" id="{A410CE2C-509A-4C33-AB34-6F278F1171B9}"/>
              </a:ext>
            </a:extLst>
          </p:cNvPr>
          <p:cNvSpPr>
            <a:spLocks noGrp="1"/>
          </p:cNvSpPr>
          <p:nvPr>
            <p:ph type="dt" sz="half" idx="10"/>
          </p:nvPr>
        </p:nvSpPr>
        <p:spPr/>
        <p:txBody>
          <a:bodyPr rtlCol="0"/>
          <a:lstStyle/>
          <a:p>
            <a:pPr rtl="0"/>
            <a:r>
              <a:rPr lang="de-DE" noProof="0"/>
              <a:t>06.08.20XX</a:t>
            </a:r>
          </a:p>
        </p:txBody>
      </p:sp>
      <p:sp>
        <p:nvSpPr>
          <p:cNvPr id="6" name="Fußzeilenplatzhalter 5">
            <a:extLst>
              <a:ext uri="{FF2B5EF4-FFF2-40B4-BE49-F238E27FC236}">
                <a16:creationId xmlns:a16="http://schemas.microsoft.com/office/drawing/2014/main" id="{78F06B8C-060C-4139-B354-239A56BB3422}"/>
              </a:ext>
            </a:extLst>
          </p:cNvPr>
          <p:cNvSpPr>
            <a:spLocks noGrp="1"/>
          </p:cNvSpPr>
          <p:nvPr>
            <p:ph type="ftr" sz="quarter" idx="11"/>
          </p:nvPr>
        </p:nvSpPr>
        <p:spPr/>
        <p:txBody>
          <a:bodyPr rtlCol="0"/>
          <a:lstStyle/>
          <a:p>
            <a:pPr rtl="0"/>
            <a:r>
              <a:rPr lang="de-DE" noProof="0"/>
              <a:t>VERKAUFSPRÄSENTATION</a:t>
            </a:r>
          </a:p>
        </p:txBody>
      </p:sp>
      <p:sp>
        <p:nvSpPr>
          <p:cNvPr id="7" name="Foliennummernplatzhalter 6">
            <a:extLst>
              <a:ext uri="{FF2B5EF4-FFF2-40B4-BE49-F238E27FC236}">
                <a16:creationId xmlns:a16="http://schemas.microsoft.com/office/drawing/2014/main" id="{957BE7C0-2680-40FD-88E4-27D6E7775DF3}"/>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10" name="Textplatzhalter 14">
            <a:extLst>
              <a:ext uri="{FF2B5EF4-FFF2-40B4-BE49-F238E27FC236}">
                <a16:creationId xmlns:a16="http://schemas.microsoft.com/office/drawing/2014/main" id="{01941F94-25C7-46EC-89FE-B12B54F77CFA}"/>
              </a:ext>
            </a:extLst>
          </p:cNvPr>
          <p:cNvSpPr>
            <a:spLocks noGrp="1"/>
          </p:cNvSpPr>
          <p:nvPr>
            <p:ph type="body" sz="quarter" idx="20" hasCustomPrompt="1"/>
          </p:nvPr>
        </p:nvSpPr>
        <p:spPr>
          <a:xfrm>
            <a:off x="816075" y="4076963"/>
            <a:ext cx="3035881" cy="1485635"/>
          </a:xfrm>
          <a:prstGeom prst="rect">
            <a:avLst/>
          </a:prstGeom>
        </p:spPr>
        <p:txBody>
          <a:bodyPr rtlCol="0" anchor="t"/>
          <a:lstStyle>
            <a:lvl1pPr marL="0" indent="0" algn="r">
              <a:lnSpc>
                <a:spcPct val="150000"/>
              </a:lnSpc>
              <a:spcBef>
                <a:spcPts val="0"/>
              </a:spcBef>
              <a:buClr>
                <a:schemeClr val="accent6"/>
              </a:buClr>
              <a:buFont typeface="Courier New" panose="02070309020205020404" pitchFamily="49" charset="0"/>
              <a:buNone/>
              <a:defRPr sz="1400" cap="none" spc="100" baseline="0">
                <a:solidFill>
                  <a:schemeClr val="bg1"/>
                </a:solidFill>
                <a:latin typeface="+mn-lt"/>
              </a:defRPr>
            </a:lvl1pPr>
          </a:lstStyle>
          <a:p>
            <a:pPr lvl="0" rtl="0"/>
            <a:r>
              <a:rPr lang="de-DE" noProof="0"/>
              <a:t>Hier Text hinzufügen</a:t>
            </a:r>
          </a:p>
        </p:txBody>
      </p:sp>
      <p:sp>
        <p:nvSpPr>
          <p:cNvPr id="11" name="Textplatzhalter 10">
            <a:extLst>
              <a:ext uri="{FF2B5EF4-FFF2-40B4-BE49-F238E27FC236}">
                <a16:creationId xmlns:a16="http://schemas.microsoft.com/office/drawing/2014/main" id="{1DE2747E-A71B-4917-8960-56D4F927D8C5}"/>
              </a:ext>
            </a:extLst>
          </p:cNvPr>
          <p:cNvSpPr>
            <a:spLocks noGrp="1"/>
          </p:cNvSpPr>
          <p:nvPr>
            <p:ph type="body" sz="quarter" idx="14" hasCustomPrompt="1"/>
          </p:nvPr>
        </p:nvSpPr>
        <p:spPr>
          <a:xfrm>
            <a:off x="1201068" y="2806964"/>
            <a:ext cx="2693128" cy="991689"/>
          </a:xfrm>
          <a:prstGeom prst="rect">
            <a:avLst/>
          </a:prstGeom>
        </p:spPr>
        <p:txBody>
          <a:bodyPr rtlCol="0" anchor="b"/>
          <a:lstStyle>
            <a:lvl1pPr marL="0" indent="0" algn="r">
              <a:buNone/>
              <a:defRPr sz="4000" b="1" kern="0" cap="all" spc="400" baseline="0">
                <a:solidFill>
                  <a:schemeClr val="accent5"/>
                </a:solidFill>
                <a:latin typeface="Arial" panose="020B0604020202020204" pitchFamily="34" charset="0"/>
                <a:cs typeface="Arial" panose="020B0604020202020204" pitchFamily="34" charset="0"/>
              </a:defRPr>
            </a:lvl1pPr>
          </a:lstStyle>
          <a:p>
            <a:pPr lvl="0" rtl="0"/>
            <a:r>
              <a:rPr lang="de-DE" noProof="0"/>
              <a:t>Titel hinzufügen</a:t>
            </a:r>
          </a:p>
        </p:txBody>
      </p:sp>
      <p:sp>
        <p:nvSpPr>
          <p:cNvPr id="12" name="Textplatzhalter 14">
            <a:extLst>
              <a:ext uri="{FF2B5EF4-FFF2-40B4-BE49-F238E27FC236}">
                <a16:creationId xmlns:a16="http://schemas.microsoft.com/office/drawing/2014/main" id="{B3830FC7-44D5-48CD-AA84-4E262F2EB8C8}"/>
              </a:ext>
            </a:extLst>
          </p:cNvPr>
          <p:cNvSpPr>
            <a:spLocks noGrp="1"/>
          </p:cNvSpPr>
          <p:nvPr>
            <p:ph type="body" sz="quarter" idx="21" hasCustomPrompt="1"/>
          </p:nvPr>
        </p:nvSpPr>
        <p:spPr>
          <a:xfrm>
            <a:off x="4689632" y="4076963"/>
            <a:ext cx="3035880" cy="1485635"/>
          </a:xfrm>
          <a:prstGeom prst="rect">
            <a:avLst/>
          </a:prstGeom>
        </p:spPr>
        <p:txBody>
          <a:bodyPr rtlCol="0" anchor="t"/>
          <a:lstStyle>
            <a:lvl1pPr marL="0" indent="0" algn="r">
              <a:lnSpc>
                <a:spcPct val="150000"/>
              </a:lnSpc>
              <a:spcBef>
                <a:spcPts val="0"/>
              </a:spcBef>
              <a:buClr>
                <a:schemeClr val="accent6"/>
              </a:buClr>
              <a:buFont typeface="Courier New" panose="02070309020205020404" pitchFamily="49" charset="0"/>
              <a:buNone/>
              <a:defRPr sz="1400" cap="none" spc="100" baseline="0">
                <a:solidFill>
                  <a:schemeClr val="bg1"/>
                </a:solidFill>
                <a:latin typeface="+mn-lt"/>
              </a:defRPr>
            </a:lvl1pPr>
          </a:lstStyle>
          <a:p>
            <a:pPr lvl="0" rtl="0"/>
            <a:r>
              <a:rPr lang="de-DE" noProof="0"/>
              <a:t>Hier Text hinzufügen</a:t>
            </a:r>
          </a:p>
        </p:txBody>
      </p:sp>
      <p:sp>
        <p:nvSpPr>
          <p:cNvPr id="13" name="Textplatzhalter 14">
            <a:extLst>
              <a:ext uri="{FF2B5EF4-FFF2-40B4-BE49-F238E27FC236}">
                <a16:creationId xmlns:a16="http://schemas.microsoft.com/office/drawing/2014/main" id="{51F423C9-E1B4-4BD9-98A5-9397C32447D9}"/>
              </a:ext>
            </a:extLst>
          </p:cNvPr>
          <p:cNvSpPr>
            <a:spLocks noGrp="1"/>
          </p:cNvSpPr>
          <p:nvPr>
            <p:ph type="body" sz="quarter" idx="23" hasCustomPrompt="1"/>
          </p:nvPr>
        </p:nvSpPr>
        <p:spPr>
          <a:xfrm>
            <a:off x="8563187" y="4076963"/>
            <a:ext cx="3023761" cy="1485635"/>
          </a:xfrm>
          <a:prstGeom prst="rect">
            <a:avLst/>
          </a:prstGeom>
        </p:spPr>
        <p:txBody>
          <a:bodyPr rtlCol="0" anchor="t"/>
          <a:lstStyle>
            <a:lvl1pPr marL="0" indent="0" algn="r">
              <a:lnSpc>
                <a:spcPct val="150000"/>
              </a:lnSpc>
              <a:spcBef>
                <a:spcPts val="0"/>
              </a:spcBef>
              <a:buClr>
                <a:schemeClr val="accent6"/>
              </a:buClr>
              <a:buFont typeface="Courier New" panose="02070309020205020404" pitchFamily="49" charset="0"/>
              <a:buNone/>
              <a:defRPr sz="1400" cap="none" spc="100" baseline="0">
                <a:solidFill>
                  <a:schemeClr val="bg1"/>
                </a:solidFill>
                <a:latin typeface="+mn-lt"/>
              </a:defRPr>
            </a:lvl1pPr>
          </a:lstStyle>
          <a:p>
            <a:pPr lvl="0" rtl="0"/>
            <a:r>
              <a:rPr lang="de-DE" noProof="0"/>
              <a:t>Hier Text hinzufügen</a:t>
            </a:r>
          </a:p>
        </p:txBody>
      </p:sp>
      <p:cxnSp>
        <p:nvCxnSpPr>
          <p:cNvPr id="14" name="Gerader Verbinder 13">
            <a:extLst>
              <a:ext uri="{FF2B5EF4-FFF2-40B4-BE49-F238E27FC236}">
                <a16:creationId xmlns:a16="http://schemas.microsoft.com/office/drawing/2014/main" id="{A0DF3CDE-1C08-4B0C-8DC3-9FCBBD3E61D4}"/>
              </a:ext>
            </a:extLst>
          </p:cNvPr>
          <p:cNvCxnSpPr>
            <a:cxnSpLocks/>
          </p:cNvCxnSpPr>
          <p:nvPr userDrawn="1"/>
        </p:nvCxnSpPr>
        <p:spPr>
          <a:xfrm>
            <a:off x="832513" y="3939883"/>
            <a:ext cx="290367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5" name="Textplatzhalter 10">
            <a:extLst>
              <a:ext uri="{FF2B5EF4-FFF2-40B4-BE49-F238E27FC236}">
                <a16:creationId xmlns:a16="http://schemas.microsoft.com/office/drawing/2014/main" id="{C026C956-C6C4-4010-889F-B8D762036464}"/>
              </a:ext>
            </a:extLst>
          </p:cNvPr>
          <p:cNvSpPr>
            <a:spLocks noGrp="1"/>
          </p:cNvSpPr>
          <p:nvPr>
            <p:ph type="body" sz="quarter" idx="24" hasCustomPrompt="1"/>
          </p:nvPr>
        </p:nvSpPr>
        <p:spPr>
          <a:xfrm>
            <a:off x="5073324" y="2806964"/>
            <a:ext cx="2693128" cy="991689"/>
          </a:xfrm>
          <a:prstGeom prst="rect">
            <a:avLst/>
          </a:prstGeom>
        </p:spPr>
        <p:txBody>
          <a:bodyPr rtlCol="0" anchor="b"/>
          <a:lstStyle>
            <a:lvl1pPr marL="0" indent="0" algn="r">
              <a:buNone/>
              <a:defRPr sz="4000" b="1" kern="0" cap="all" spc="400" baseline="0">
                <a:solidFill>
                  <a:schemeClr val="accent5"/>
                </a:solidFill>
                <a:latin typeface="Arial" panose="020B0604020202020204" pitchFamily="34" charset="0"/>
                <a:cs typeface="Arial" panose="020B0604020202020204" pitchFamily="34" charset="0"/>
              </a:defRPr>
            </a:lvl1pPr>
          </a:lstStyle>
          <a:p>
            <a:pPr lvl="0" rtl="0"/>
            <a:r>
              <a:rPr lang="de-DE" noProof="0"/>
              <a:t>Titel hinzufügen</a:t>
            </a:r>
          </a:p>
        </p:txBody>
      </p:sp>
      <p:sp>
        <p:nvSpPr>
          <p:cNvPr id="16" name="Textplatzhalter 10">
            <a:extLst>
              <a:ext uri="{FF2B5EF4-FFF2-40B4-BE49-F238E27FC236}">
                <a16:creationId xmlns:a16="http://schemas.microsoft.com/office/drawing/2014/main" id="{A4D363AD-B16F-46C4-9856-EA9EAC699EF7}"/>
              </a:ext>
            </a:extLst>
          </p:cNvPr>
          <p:cNvSpPr>
            <a:spLocks noGrp="1"/>
          </p:cNvSpPr>
          <p:nvPr>
            <p:ph type="body" sz="quarter" idx="25" hasCustomPrompt="1"/>
          </p:nvPr>
        </p:nvSpPr>
        <p:spPr>
          <a:xfrm>
            <a:off x="8940173" y="2806964"/>
            <a:ext cx="2693128" cy="991689"/>
          </a:xfrm>
          <a:prstGeom prst="rect">
            <a:avLst/>
          </a:prstGeom>
        </p:spPr>
        <p:txBody>
          <a:bodyPr rtlCol="0" anchor="b"/>
          <a:lstStyle>
            <a:lvl1pPr marL="0" indent="0" algn="r">
              <a:buNone/>
              <a:defRPr sz="4000" b="1" kern="0" cap="all" spc="400" baseline="0">
                <a:solidFill>
                  <a:schemeClr val="accent5"/>
                </a:solidFill>
                <a:latin typeface="Arial" panose="020B0604020202020204" pitchFamily="34" charset="0"/>
                <a:cs typeface="Arial" panose="020B0604020202020204" pitchFamily="34" charset="0"/>
              </a:defRPr>
            </a:lvl1pPr>
          </a:lstStyle>
          <a:p>
            <a:pPr lvl="0" rtl="0"/>
            <a:r>
              <a:rPr lang="de-DE" noProof="0"/>
              <a:t>Titel hinzufügen</a:t>
            </a:r>
          </a:p>
        </p:txBody>
      </p:sp>
      <p:cxnSp>
        <p:nvCxnSpPr>
          <p:cNvPr id="26" name="Gerader Verbinder 25">
            <a:extLst>
              <a:ext uri="{FF2B5EF4-FFF2-40B4-BE49-F238E27FC236}">
                <a16:creationId xmlns:a16="http://schemas.microsoft.com/office/drawing/2014/main" id="{D6E9BAEE-70B0-4F15-B6B7-D5AE0227618F}"/>
              </a:ext>
            </a:extLst>
          </p:cNvPr>
          <p:cNvCxnSpPr>
            <a:cxnSpLocks/>
          </p:cNvCxnSpPr>
          <p:nvPr userDrawn="1"/>
        </p:nvCxnSpPr>
        <p:spPr>
          <a:xfrm>
            <a:off x="4699359" y="3939883"/>
            <a:ext cx="290367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8F0848BB-EF65-4D43-AC18-9C4F4749CA6D}"/>
              </a:ext>
            </a:extLst>
          </p:cNvPr>
          <p:cNvCxnSpPr>
            <a:cxnSpLocks/>
          </p:cNvCxnSpPr>
          <p:nvPr userDrawn="1"/>
        </p:nvCxnSpPr>
        <p:spPr>
          <a:xfrm>
            <a:off x="8566207" y="3939883"/>
            <a:ext cx="290367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C7CA7F01-3F2D-4396-A7D4-3D21C56D7FCC}"/>
              </a:ext>
            </a:extLst>
          </p:cNvPr>
          <p:cNvSpPr>
            <a:spLocks noGrp="1"/>
          </p:cNvSpPr>
          <p:nvPr>
            <p:ph type="title" hasCustomPrompt="1"/>
          </p:nvPr>
        </p:nvSpPr>
        <p:spPr>
          <a:xfrm>
            <a:off x="729016" y="1643321"/>
            <a:ext cx="4856634" cy="466344"/>
          </a:xfrm>
        </p:spPr>
        <p:txBody>
          <a:bodyPr rtlCol="0">
            <a:noAutofit/>
          </a:bodyPr>
          <a:lstStyle>
            <a:lvl1pPr>
              <a:lnSpc>
                <a:spcPct val="100000"/>
              </a:lnSpc>
              <a:defRPr sz="2800">
                <a:ln w="19050">
                  <a:solidFill>
                    <a:schemeClr val="accent5"/>
                  </a:solidFill>
                </a:ln>
              </a:defRPr>
            </a:lvl1pPr>
          </a:lstStyle>
          <a:p>
            <a:pPr rtl="0"/>
            <a:r>
              <a:rPr lang="de-DE" noProof="0"/>
              <a:t>Titel durch Klicken hinzufügen</a:t>
            </a:r>
          </a:p>
        </p:txBody>
      </p:sp>
    </p:spTree>
    <p:extLst>
      <p:ext uri="{BB962C8B-B14F-4D97-AF65-F5344CB8AC3E}">
        <p14:creationId xmlns:p14="http://schemas.microsoft.com/office/powerpoint/2010/main" val="35404707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arktvergleich">
    <p:spTree>
      <p:nvGrpSpPr>
        <p:cNvPr id="1" name=""/>
        <p:cNvGrpSpPr/>
        <p:nvPr/>
      </p:nvGrpSpPr>
      <p:grpSpPr>
        <a:xfrm>
          <a:off x="0" y="0"/>
          <a:ext cx="0" cy="0"/>
          <a:chOff x="0" y="0"/>
          <a:chExt cx="0" cy="0"/>
        </a:xfrm>
      </p:grpSpPr>
      <p:pic>
        <p:nvPicPr>
          <p:cNvPr id="3" name="Bild 2">
            <a:extLst>
              <a:ext uri="{FF2B5EF4-FFF2-40B4-BE49-F238E27FC236}">
                <a16:creationId xmlns:a16="http://schemas.microsoft.com/office/drawing/2014/main" id="{4E6D8EB4-0AAB-4C86-96ED-AB74FA56A674}"/>
              </a:ext>
            </a:extLst>
          </p:cNvPr>
          <p:cNvPicPr>
            <a:picLocks noChangeAspect="1"/>
          </p:cNvPicPr>
          <p:nvPr userDrawn="1"/>
        </p:nvPicPr>
        <p:blipFill>
          <a:blip r:embed="rId2"/>
          <a:stretch>
            <a:fillRect/>
          </a:stretch>
        </p:blipFill>
        <p:spPr>
          <a:xfrm>
            <a:off x="1690" y="0"/>
            <a:ext cx="12188620" cy="6858000"/>
          </a:xfrm>
          <a:prstGeom prst="rect">
            <a:avLst/>
          </a:prstGeom>
        </p:spPr>
      </p:pic>
      <p:sp>
        <p:nvSpPr>
          <p:cNvPr id="10" name="Bildplatzhalter 7">
            <a:extLst>
              <a:ext uri="{FF2B5EF4-FFF2-40B4-BE49-F238E27FC236}">
                <a16:creationId xmlns:a16="http://schemas.microsoft.com/office/drawing/2014/main" id="{5DEE423F-FC4A-461D-8AA7-F7C14B806664}"/>
              </a:ext>
            </a:extLst>
          </p:cNvPr>
          <p:cNvSpPr>
            <a:spLocks noGrp="1"/>
          </p:cNvSpPr>
          <p:nvPr>
            <p:ph type="pic" sz="quarter" idx="13" hasCustomPrompt="1"/>
          </p:nvPr>
        </p:nvSpPr>
        <p:spPr>
          <a:xfrm>
            <a:off x="0" y="0"/>
            <a:ext cx="5334461" cy="6867376"/>
          </a:xfrm>
        </p:spPr>
        <p:txBody>
          <a:bodyPr rtlCol="0"/>
          <a:lstStyle>
            <a:lvl1pPr marL="0" indent="0" algn="ctr">
              <a:buNone/>
              <a:defRPr>
                <a:solidFill>
                  <a:schemeClr val="bg1"/>
                </a:solidFill>
              </a:defRPr>
            </a:lvl1pPr>
          </a:lstStyle>
          <a:p>
            <a:pPr rtl="0"/>
            <a:r>
              <a:rPr lang="de-DE" noProof="0"/>
              <a:t>Zum Hinzufügen eines Fotos klicken</a:t>
            </a:r>
          </a:p>
        </p:txBody>
      </p:sp>
      <p:sp>
        <p:nvSpPr>
          <p:cNvPr id="4" name="Datumsplatzhalter 3">
            <a:extLst>
              <a:ext uri="{FF2B5EF4-FFF2-40B4-BE49-F238E27FC236}">
                <a16:creationId xmlns:a16="http://schemas.microsoft.com/office/drawing/2014/main" id="{A77D30EC-51F8-4EBE-9AC8-349D6E064E20}"/>
              </a:ext>
            </a:extLst>
          </p:cNvPr>
          <p:cNvSpPr>
            <a:spLocks noGrp="1"/>
          </p:cNvSpPr>
          <p:nvPr>
            <p:ph type="dt" sz="half" idx="10"/>
          </p:nvPr>
        </p:nvSpPr>
        <p:spPr/>
        <p:txBody>
          <a:bodyPr rtlCol="0"/>
          <a:lstStyle/>
          <a:p>
            <a:pPr rtl="0"/>
            <a:r>
              <a:rPr lang="de-DE" noProof="0"/>
              <a:t>06.08.20XX</a:t>
            </a:r>
          </a:p>
        </p:txBody>
      </p:sp>
      <p:sp>
        <p:nvSpPr>
          <p:cNvPr id="14" name="Textplatzhalter 10">
            <a:extLst>
              <a:ext uri="{FF2B5EF4-FFF2-40B4-BE49-F238E27FC236}">
                <a16:creationId xmlns:a16="http://schemas.microsoft.com/office/drawing/2014/main" id="{9EF7FC71-AF21-4CDA-8E86-E05EB4F1C442}"/>
              </a:ext>
            </a:extLst>
          </p:cNvPr>
          <p:cNvSpPr>
            <a:spLocks noGrp="1"/>
          </p:cNvSpPr>
          <p:nvPr>
            <p:ph type="body" sz="quarter" idx="18" hasCustomPrompt="1"/>
          </p:nvPr>
        </p:nvSpPr>
        <p:spPr>
          <a:xfrm>
            <a:off x="6353468" y="3260492"/>
            <a:ext cx="1152144" cy="768096"/>
          </a:xfrm>
          <a:prstGeom prst="rect">
            <a:avLst/>
          </a:prstGeom>
          <a:ln w="28575">
            <a:solidFill>
              <a:schemeClr val="accent5">
                <a:lumMod val="40000"/>
                <a:lumOff val="60000"/>
              </a:schemeClr>
            </a:solidFill>
          </a:ln>
        </p:spPr>
        <p:txBody>
          <a:bodyPr rtlCol="0" anchor="ctr"/>
          <a:lstStyle>
            <a:lvl1pPr marL="0" indent="0" algn="ctr">
              <a:buNone/>
              <a:defRPr sz="2400" b="1" cap="all" spc="100" baseline="0">
                <a:solidFill>
                  <a:schemeClr val="accent5">
                    <a:lumMod val="20000"/>
                    <a:lumOff val="80000"/>
                  </a:schemeClr>
                </a:solidFill>
                <a:latin typeface="Arial" panose="020B0604020202020204" pitchFamily="34" charset="0"/>
                <a:cs typeface="Arial" panose="020B0604020202020204" pitchFamily="34" charset="0"/>
              </a:defRPr>
            </a:lvl1pPr>
          </a:lstStyle>
          <a:p>
            <a:pPr lvl="0" rtl="0"/>
            <a:r>
              <a:rPr lang="de-DE" noProof="0"/>
              <a:t>2 Mrd. €</a:t>
            </a:r>
          </a:p>
        </p:txBody>
      </p:sp>
      <p:sp>
        <p:nvSpPr>
          <p:cNvPr id="5" name="Fußzeilenplatzhalter 4">
            <a:extLst>
              <a:ext uri="{FF2B5EF4-FFF2-40B4-BE49-F238E27FC236}">
                <a16:creationId xmlns:a16="http://schemas.microsoft.com/office/drawing/2014/main" id="{9FE21B81-6A13-47D5-AD62-B1B0E4868044}"/>
              </a:ext>
            </a:extLst>
          </p:cNvPr>
          <p:cNvSpPr>
            <a:spLocks noGrp="1"/>
          </p:cNvSpPr>
          <p:nvPr>
            <p:ph type="ftr" sz="quarter" idx="11"/>
          </p:nvPr>
        </p:nvSpPr>
        <p:spPr/>
        <p:txBody>
          <a:bodyPr rtlCol="0"/>
          <a:lstStyle/>
          <a:p>
            <a:pPr rtl="0"/>
            <a:r>
              <a:rPr lang="de-DE" noProof="0"/>
              <a:t>VERKAUFSPRÄSENTATION</a:t>
            </a:r>
          </a:p>
        </p:txBody>
      </p:sp>
      <p:sp>
        <p:nvSpPr>
          <p:cNvPr id="6" name="Foliennummernplatzhalter 5">
            <a:extLst>
              <a:ext uri="{FF2B5EF4-FFF2-40B4-BE49-F238E27FC236}">
                <a16:creationId xmlns:a16="http://schemas.microsoft.com/office/drawing/2014/main" id="{E12BB476-8DFF-468F-B950-1F980EB4D5CD}"/>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16" name="Textplatzhalter 10">
            <a:extLst>
              <a:ext uri="{FF2B5EF4-FFF2-40B4-BE49-F238E27FC236}">
                <a16:creationId xmlns:a16="http://schemas.microsoft.com/office/drawing/2014/main" id="{BF893A53-04CF-497B-9C3D-502C92BA0DAE}"/>
              </a:ext>
            </a:extLst>
          </p:cNvPr>
          <p:cNvSpPr>
            <a:spLocks noGrp="1"/>
          </p:cNvSpPr>
          <p:nvPr>
            <p:ph type="body" sz="quarter" idx="20" hasCustomPrompt="1"/>
          </p:nvPr>
        </p:nvSpPr>
        <p:spPr>
          <a:xfrm>
            <a:off x="6353467" y="4773463"/>
            <a:ext cx="1152144" cy="768096"/>
          </a:xfrm>
          <a:prstGeom prst="rect">
            <a:avLst/>
          </a:prstGeom>
          <a:ln w="28575">
            <a:solidFill>
              <a:schemeClr val="accent5">
                <a:lumMod val="40000"/>
                <a:lumOff val="60000"/>
              </a:schemeClr>
            </a:solidFill>
          </a:ln>
        </p:spPr>
        <p:txBody>
          <a:bodyPr rtlCol="0" anchor="ctr"/>
          <a:lstStyle>
            <a:lvl1pPr marL="0" indent="0" algn="ctr">
              <a:buNone/>
              <a:defRPr sz="2400" b="1" cap="all" spc="100" baseline="0">
                <a:solidFill>
                  <a:schemeClr val="accent5">
                    <a:lumMod val="20000"/>
                    <a:lumOff val="80000"/>
                  </a:schemeClr>
                </a:solidFill>
                <a:latin typeface="Arial" panose="020B0604020202020204" pitchFamily="34" charset="0"/>
                <a:cs typeface="Arial" panose="020B0604020202020204" pitchFamily="34" charset="0"/>
              </a:defRPr>
            </a:lvl1pPr>
          </a:lstStyle>
          <a:p>
            <a:pPr lvl="0" rtl="0"/>
            <a:r>
              <a:rPr lang="de-DE" noProof="0"/>
              <a:t>1 Mrd. €</a:t>
            </a:r>
          </a:p>
        </p:txBody>
      </p:sp>
      <p:sp>
        <p:nvSpPr>
          <p:cNvPr id="11" name="Textplatzhalter 10">
            <a:extLst>
              <a:ext uri="{FF2B5EF4-FFF2-40B4-BE49-F238E27FC236}">
                <a16:creationId xmlns:a16="http://schemas.microsoft.com/office/drawing/2014/main" id="{58BD5CDD-220E-41E0-82DD-820C0D834A48}"/>
              </a:ext>
            </a:extLst>
          </p:cNvPr>
          <p:cNvSpPr>
            <a:spLocks noGrp="1"/>
          </p:cNvSpPr>
          <p:nvPr>
            <p:ph type="body" sz="quarter" idx="27" hasCustomPrompt="1"/>
          </p:nvPr>
        </p:nvSpPr>
        <p:spPr>
          <a:xfrm>
            <a:off x="7817970" y="1609772"/>
            <a:ext cx="3365003" cy="1171533"/>
          </a:xfrm>
          <a:prstGeom prst="rect">
            <a:avLst/>
          </a:prstGeom>
        </p:spPr>
        <p:txBody>
          <a:bodyPr rtlCol="0" anchor="t">
            <a:noAutofit/>
          </a:bodyPr>
          <a:lstStyle>
            <a:lvl1pPr marL="0" indent="0" algn="l">
              <a:lnSpc>
                <a:spcPct val="125000"/>
              </a:lnSpc>
              <a:spcBef>
                <a:spcPts val="500"/>
              </a:spcBef>
              <a:buNone/>
              <a:defRPr sz="1400" cap="none" spc="100" baseline="0">
                <a:solidFill>
                  <a:schemeClr val="bg1"/>
                </a:solidFill>
                <a:latin typeface="+mn-lt"/>
              </a:defRPr>
            </a:lvl1pPr>
          </a:lstStyle>
          <a:p>
            <a:pPr lvl="0" rtl="0"/>
            <a:r>
              <a:rPr lang="de-DE" noProof="0"/>
              <a:t>Klicken Sie, um Text hinzuzufügen.</a:t>
            </a:r>
          </a:p>
        </p:txBody>
      </p:sp>
      <p:sp>
        <p:nvSpPr>
          <p:cNvPr id="12" name="Textplatzhalter 10">
            <a:extLst>
              <a:ext uri="{FF2B5EF4-FFF2-40B4-BE49-F238E27FC236}">
                <a16:creationId xmlns:a16="http://schemas.microsoft.com/office/drawing/2014/main" id="{253384AB-173D-4216-A221-BFA565FC127C}"/>
              </a:ext>
            </a:extLst>
          </p:cNvPr>
          <p:cNvSpPr>
            <a:spLocks noGrp="1"/>
          </p:cNvSpPr>
          <p:nvPr>
            <p:ph type="body" sz="quarter" idx="16" hasCustomPrompt="1"/>
          </p:nvPr>
        </p:nvSpPr>
        <p:spPr>
          <a:xfrm>
            <a:off x="6347375" y="1747520"/>
            <a:ext cx="1152144" cy="768096"/>
          </a:xfrm>
          <a:prstGeom prst="rect">
            <a:avLst/>
          </a:prstGeom>
          <a:ln w="28575">
            <a:solidFill>
              <a:schemeClr val="accent5">
                <a:lumMod val="40000"/>
                <a:lumOff val="60000"/>
              </a:schemeClr>
            </a:solidFill>
          </a:ln>
        </p:spPr>
        <p:txBody>
          <a:bodyPr rtlCol="0" anchor="ctr"/>
          <a:lstStyle>
            <a:lvl1pPr marL="0" indent="0" algn="ctr">
              <a:buNone/>
              <a:defRPr sz="2400" b="1" cap="all" spc="100" baseline="0">
                <a:solidFill>
                  <a:schemeClr val="accent5">
                    <a:lumMod val="20000"/>
                    <a:lumOff val="80000"/>
                  </a:schemeClr>
                </a:solidFill>
                <a:latin typeface="Arial" panose="020B0604020202020204" pitchFamily="34" charset="0"/>
                <a:cs typeface="Arial" panose="020B0604020202020204" pitchFamily="34" charset="0"/>
              </a:defRPr>
            </a:lvl1pPr>
          </a:lstStyle>
          <a:p>
            <a:pPr lvl="0" rtl="0"/>
            <a:r>
              <a:rPr lang="de-DE" noProof="0"/>
              <a:t>3 Mrd. €</a:t>
            </a:r>
          </a:p>
        </p:txBody>
      </p:sp>
      <p:sp>
        <p:nvSpPr>
          <p:cNvPr id="20" name="Textplatzhalter 10">
            <a:extLst>
              <a:ext uri="{FF2B5EF4-FFF2-40B4-BE49-F238E27FC236}">
                <a16:creationId xmlns:a16="http://schemas.microsoft.com/office/drawing/2014/main" id="{45638026-D669-4C2A-82A4-5F35D27DCA4D}"/>
              </a:ext>
            </a:extLst>
          </p:cNvPr>
          <p:cNvSpPr>
            <a:spLocks noGrp="1"/>
          </p:cNvSpPr>
          <p:nvPr>
            <p:ph type="body" sz="quarter" idx="28" hasCustomPrompt="1"/>
          </p:nvPr>
        </p:nvSpPr>
        <p:spPr>
          <a:xfrm>
            <a:off x="7817970" y="3129515"/>
            <a:ext cx="3365003" cy="1170432"/>
          </a:xfrm>
          <a:prstGeom prst="rect">
            <a:avLst/>
          </a:prstGeom>
        </p:spPr>
        <p:txBody>
          <a:bodyPr rtlCol="0" anchor="t">
            <a:noAutofit/>
          </a:bodyPr>
          <a:lstStyle>
            <a:lvl1pPr marL="0" indent="0" algn="l">
              <a:lnSpc>
                <a:spcPct val="125000"/>
              </a:lnSpc>
              <a:spcBef>
                <a:spcPts val="500"/>
              </a:spcBef>
              <a:buNone/>
              <a:defRPr sz="1400" cap="none" spc="100" baseline="0">
                <a:solidFill>
                  <a:schemeClr val="bg1"/>
                </a:solidFill>
                <a:latin typeface="+mn-lt"/>
              </a:defRPr>
            </a:lvl1pPr>
          </a:lstStyle>
          <a:p>
            <a:pPr lvl="0" rtl="0"/>
            <a:r>
              <a:rPr lang="de-DE" noProof="0"/>
              <a:t>Klicken Sie, um Text hinzuzufügen.</a:t>
            </a:r>
          </a:p>
        </p:txBody>
      </p:sp>
      <p:sp>
        <p:nvSpPr>
          <p:cNvPr id="21" name="Textplatzhalter 10">
            <a:extLst>
              <a:ext uri="{FF2B5EF4-FFF2-40B4-BE49-F238E27FC236}">
                <a16:creationId xmlns:a16="http://schemas.microsoft.com/office/drawing/2014/main" id="{A19EAA97-D0F2-464B-8450-83BF202CECF3}"/>
              </a:ext>
            </a:extLst>
          </p:cNvPr>
          <p:cNvSpPr>
            <a:spLocks noGrp="1"/>
          </p:cNvSpPr>
          <p:nvPr>
            <p:ph type="body" sz="quarter" idx="29" hasCustomPrompt="1"/>
          </p:nvPr>
        </p:nvSpPr>
        <p:spPr>
          <a:xfrm>
            <a:off x="7817970" y="4648156"/>
            <a:ext cx="3365003" cy="1170432"/>
          </a:xfrm>
          <a:prstGeom prst="rect">
            <a:avLst/>
          </a:prstGeom>
        </p:spPr>
        <p:txBody>
          <a:bodyPr rtlCol="0" anchor="t">
            <a:noAutofit/>
          </a:bodyPr>
          <a:lstStyle>
            <a:lvl1pPr marL="0" indent="0" algn="l">
              <a:lnSpc>
                <a:spcPct val="125000"/>
              </a:lnSpc>
              <a:spcBef>
                <a:spcPts val="500"/>
              </a:spcBef>
              <a:buNone/>
              <a:defRPr sz="1400" cap="none" spc="100" baseline="0">
                <a:solidFill>
                  <a:schemeClr val="bg1"/>
                </a:solidFill>
                <a:latin typeface="+mn-lt"/>
              </a:defRPr>
            </a:lvl1pPr>
          </a:lstStyle>
          <a:p>
            <a:pPr lvl="0" rtl="0"/>
            <a:r>
              <a:rPr lang="de-DE" noProof="0"/>
              <a:t>Klicken Sie, um Text hinzuzufügen.</a:t>
            </a:r>
          </a:p>
        </p:txBody>
      </p:sp>
      <p:sp>
        <p:nvSpPr>
          <p:cNvPr id="2" name="Titel 1">
            <a:extLst>
              <a:ext uri="{FF2B5EF4-FFF2-40B4-BE49-F238E27FC236}">
                <a16:creationId xmlns:a16="http://schemas.microsoft.com/office/drawing/2014/main" id="{5DFF2174-FDCE-466A-8A4C-06AD6CAA4401}"/>
              </a:ext>
            </a:extLst>
          </p:cNvPr>
          <p:cNvSpPr>
            <a:spLocks noGrp="1"/>
          </p:cNvSpPr>
          <p:nvPr>
            <p:ph type="title" hasCustomPrompt="1"/>
          </p:nvPr>
        </p:nvSpPr>
        <p:spPr>
          <a:xfrm>
            <a:off x="6207016" y="746631"/>
            <a:ext cx="5184648" cy="466344"/>
          </a:xfrm>
        </p:spPr>
        <p:txBody>
          <a:bodyPr rtlCol="0">
            <a:noAutofit/>
          </a:bodyPr>
          <a:lstStyle>
            <a:lvl1pPr>
              <a:lnSpc>
                <a:spcPct val="100000"/>
              </a:lnSpc>
              <a:defRPr sz="2800">
                <a:ln w="19050">
                  <a:solidFill>
                    <a:schemeClr val="bg1"/>
                  </a:solidFill>
                </a:ln>
              </a:defRPr>
            </a:lvl1pPr>
          </a:lstStyle>
          <a:p>
            <a:pPr rtl="0"/>
            <a:r>
              <a:rPr lang="de-DE" noProof="0"/>
              <a:t>Titel durch Klicken hinzufügen</a:t>
            </a:r>
          </a:p>
        </p:txBody>
      </p:sp>
    </p:spTree>
    <p:extLst>
      <p:ext uri="{BB962C8B-B14F-4D97-AF65-F5344CB8AC3E}">
        <p14:creationId xmlns:p14="http://schemas.microsoft.com/office/powerpoint/2010/main" val="19462431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Unsere Wettbewerber">
    <p:bg>
      <p:bgPr>
        <a:solidFill>
          <a:schemeClr val="bg2">
            <a:lumMod val="10000"/>
          </a:schemeClr>
        </a:solidFill>
        <a:effectLst/>
      </p:bgPr>
    </p:bg>
    <p:spTree>
      <p:nvGrpSpPr>
        <p:cNvPr id="1" name=""/>
        <p:cNvGrpSpPr/>
        <p:nvPr/>
      </p:nvGrpSpPr>
      <p:grpSpPr>
        <a:xfrm>
          <a:off x="0" y="0"/>
          <a:ext cx="0" cy="0"/>
          <a:chOff x="0" y="0"/>
          <a:chExt cx="0" cy="0"/>
        </a:xfrm>
      </p:grpSpPr>
      <p:sp>
        <p:nvSpPr>
          <p:cNvPr id="21" name="Bildplatzhalter 7">
            <a:extLst>
              <a:ext uri="{FF2B5EF4-FFF2-40B4-BE49-F238E27FC236}">
                <a16:creationId xmlns:a16="http://schemas.microsoft.com/office/drawing/2014/main" id="{9216DCA9-E871-422D-B12D-3E1C39ACD2ED}"/>
              </a:ext>
            </a:extLst>
          </p:cNvPr>
          <p:cNvSpPr>
            <a:spLocks noGrp="1"/>
          </p:cNvSpPr>
          <p:nvPr>
            <p:ph type="pic" sz="quarter" idx="28" hasCustomPrompt="1"/>
          </p:nvPr>
        </p:nvSpPr>
        <p:spPr>
          <a:xfrm rot="5400000" flipH="1">
            <a:off x="-2092961" y="2092960"/>
            <a:ext cx="6858002" cy="2672081"/>
          </a:xfrm>
        </p:spPr>
        <p:txBody>
          <a:bodyPr rtlCol="0"/>
          <a:lstStyle>
            <a:lvl1pPr marL="0" indent="0" algn="ctr">
              <a:buNone/>
              <a:defRPr>
                <a:solidFill>
                  <a:schemeClr val="bg1"/>
                </a:solidFill>
              </a:defRPr>
            </a:lvl1pPr>
          </a:lstStyle>
          <a:p>
            <a:pPr rtl="0"/>
            <a:r>
              <a:rPr lang="de-DE" noProof="0"/>
              <a:t>Klicken, um ein Foto hinzuzufügen</a:t>
            </a:r>
          </a:p>
        </p:txBody>
      </p:sp>
      <p:sp>
        <p:nvSpPr>
          <p:cNvPr id="4" name="Datumsplatzhalter 3">
            <a:extLst>
              <a:ext uri="{FF2B5EF4-FFF2-40B4-BE49-F238E27FC236}">
                <a16:creationId xmlns:a16="http://schemas.microsoft.com/office/drawing/2014/main" id="{56754628-3BB3-414A-88E4-67B3809A62CD}"/>
              </a:ext>
            </a:extLst>
          </p:cNvPr>
          <p:cNvSpPr>
            <a:spLocks noGrp="1"/>
          </p:cNvSpPr>
          <p:nvPr>
            <p:ph type="dt" sz="half" idx="10"/>
          </p:nvPr>
        </p:nvSpPr>
        <p:spPr/>
        <p:txBody>
          <a:bodyPr rtlCol="0"/>
          <a:lstStyle/>
          <a:p>
            <a:pPr rtl="0"/>
            <a:r>
              <a:rPr lang="de-DE" noProof="0"/>
              <a:t>06.08.20XX</a:t>
            </a:r>
          </a:p>
        </p:txBody>
      </p:sp>
      <p:sp>
        <p:nvSpPr>
          <p:cNvPr id="5" name="Fußzeilenplatzhalter 4">
            <a:extLst>
              <a:ext uri="{FF2B5EF4-FFF2-40B4-BE49-F238E27FC236}">
                <a16:creationId xmlns:a16="http://schemas.microsoft.com/office/drawing/2014/main" id="{33D99CEA-3489-476A-9C9D-ED977FE6EA33}"/>
              </a:ext>
            </a:extLst>
          </p:cNvPr>
          <p:cNvSpPr>
            <a:spLocks noGrp="1"/>
          </p:cNvSpPr>
          <p:nvPr>
            <p:ph type="ftr" sz="quarter" idx="11"/>
          </p:nvPr>
        </p:nvSpPr>
        <p:spPr/>
        <p:txBody>
          <a:bodyPr rtlCol="0"/>
          <a:lstStyle/>
          <a:p>
            <a:pPr rtl="0"/>
            <a:r>
              <a:rPr lang="de-DE" noProof="0"/>
              <a:t>VERKAUFSPRÄSENTATION</a:t>
            </a:r>
          </a:p>
        </p:txBody>
      </p:sp>
      <p:sp>
        <p:nvSpPr>
          <p:cNvPr id="6" name="Foliennummernplatzhalter 5">
            <a:extLst>
              <a:ext uri="{FF2B5EF4-FFF2-40B4-BE49-F238E27FC236}">
                <a16:creationId xmlns:a16="http://schemas.microsoft.com/office/drawing/2014/main" id="{1DCD55B0-9BDF-49CC-B30F-96112214E7A5}"/>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17" name="Textplatzhalter 10">
            <a:extLst>
              <a:ext uri="{FF2B5EF4-FFF2-40B4-BE49-F238E27FC236}">
                <a16:creationId xmlns:a16="http://schemas.microsoft.com/office/drawing/2014/main" id="{F9CF3D99-4BB8-4944-A82E-385209DF3D61}"/>
              </a:ext>
            </a:extLst>
          </p:cNvPr>
          <p:cNvSpPr>
            <a:spLocks noGrp="1"/>
          </p:cNvSpPr>
          <p:nvPr>
            <p:ph type="body" sz="quarter" idx="27" hasCustomPrompt="1"/>
          </p:nvPr>
        </p:nvSpPr>
        <p:spPr>
          <a:xfrm>
            <a:off x="2811826" y="2881982"/>
            <a:ext cx="3975054" cy="2966740"/>
          </a:xfrm>
          <a:prstGeom prst="rect">
            <a:avLst/>
          </a:prstGeom>
        </p:spPr>
        <p:txBody>
          <a:bodyPr rtlCol="0" anchor="t">
            <a:normAutofit/>
          </a:bodyPr>
          <a:lstStyle>
            <a:lvl1pPr marL="0" indent="0" algn="l">
              <a:lnSpc>
                <a:spcPct val="125000"/>
              </a:lnSpc>
              <a:spcBef>
                <a:spcPts val="1000"/>
              </a:spcBef>
              <a:buNone/>
              <a:defRPr sz="1400" cap="none" spc="100" baseline="0">
                <a:solidFill>
                  <a:schemeClr val="bg1"/>
                </a:solidFill>
                <a:latin typeface="+mn-lt"/>
              </a:defRPr>
            </a:lvl1pPr>
          </a:lstStyle>
          <a:p>
            <a:pPr lvl="0" rtl="0"/>
            <a:r>
              <a:rPr lang="de-DE" noProof="0"/>
              <a:t>Klicken Sie, um Text hinzuzufügen.</a:t>
            </a:r>
          </a:p>
        </p:txBody>
      </p:sp>
      <p:sp>
        <p:nvSpPr>
          <p:cNvPr id="18" name="Textplatzhalter 10">
            <a:extLst>
              <a:ext uri="{FF2B5EF4-FFF2-40B4-BE49-F238E27FC236}">
                <a16:creationId xmlns:a16="http://schemas.microsoft.com/office/drawing/2014/main" id="{083CED13-2FB7-4DA4-87BD-B5AEF0C63104}"/>
              </a:ext>
            </a:extLst>
          </p:cNvPr>
          <p:cNvSpPr>
            <a:spLocks noGrp="1"/>
          </p:cNvSpPr>
          <p:nvPr>
            <p:ph type="body" sz="quarter" idx="16" hasCustomPrompt="1"/>
          </p:nvPr>
        </p:nvSpPr>
        <p:spPr>
          <a:xfrm>
            <a:off x="2811826" y="2502477"/>
            <a:ext cx="3975054" cy="426393"/>
          </a:xfrm>
          <a:prstGeom prst="rect">
            <a:avLst/>
          </a:prstGeom>
        </p:spPr>
        <p:txBody>
          <a:bodyPr rtlCol="0" anchor="b">
            <a:normAutofit/>
          </a:bodyPr>
          <a:lstStyle>
            <a:lvl1pPr marL="0" indent="0" algn="l">
              <a:buNone/>
              <a:defRPr sz="1600" b="1" cap="all" spc="100" baseline="0">
                <a:solidFill>
                  <a:schemeClr val="accent6"/>
                </a:solidFill>
                <a:latin typeface="Arial" panose="020B0604020202020204" pitchFamily="34" charset="0"/>
                <a:cs typeface="Arial" panose="020B0604020202020204" pitchFamily="34" charset="0"/>
              </a:defRPr>
            </a:lvl1pPr>
          </a:lstStyle>
          <a:p>
            <a:pPr lvl="0" rtl="0"/>
            <a:r>
              <a:rPr lang="de-DE" noProof="0"/>
              <a:t>Untertitel durch Klicken hinzufügen</a:t>
            </a:r>
          </a:p>
        </p:txBody>
      </p:sp>
      <p:sp>
        <p:nvSpPr>
          <p:cNvPr id="19" name="Textplatzhalter 10">
            <a:extLst>
              <a:ext uri="{FF2B5EF4-FFF2-40B4-BE49-F238E27FC236}">
                <a16:creationId xmlns:a16="http://schemas.microsoft.com/office/drawing/2014/main" id="{D240762F-003B-4B0E-A561-6734EA9AC853}"/>
              </a:ext>
            </a:extLst>
          </p:cNvPr>
          <p:cNvSpPr>
            <a:spLocks noGrp="1"/>
          </p:cNvSpPr>
          <p:nvPr>
            <p:ph type="body" sz="quarter" idx="17" hasCustomPrompt="1"/>
          </p:nvPr>
        </p:nvSpPr>
        <p:spPr>
          <a:xfrm>
            <a:off x="7378746" y="2881982"/>
            <a:ext cx="3695653" cy="2966740"/>
          </a:xfrm>
          <a:prstGeom prst="rect">
            <a:avLst/>
          </a:prstGeom>
        </p:spPr>
        <p:txBody>
          <a:bodyPr rtlCol="0" anchor="t">
            <a:normAutofit/>
          </a:bodyPr>
          <a:lstStyle>
            <a:lvl1pPr marL="0" indent="0" algn="l">
              <a:lnSpc>
                <a:spcPct val="125000"/>
              </a:lnSpc>
              <a:spcBef>
                <a:spcPts val="1000"/>
              </a:spcBef>
              <a:buNone/>
              <a:defRPr sz="1400" cap="none" spc="100" baseline="0">
                <a:solidFill>
                  <a:schemeClr val="bg1"/>
                </a:solidFill>
                <a:latin typeface="+mn-lt"/>
              </a:defRPr>
            </a:lvl1pPr>
          </a:lstStyle>
          <a:p>
            <a:pPr lvl="0" rtl="0"/>
            <a:r>
              <a:rPr lang="de-DE" noProof="0"/>
              <a:t>Klicken Sie, um Text hinzuzufügen.</a:t>
            </a:r>
          </a:p>
        </p:txBody>
      </p:sp>
      <p:sp>
        <p:nvSpPr>
          <p:cNvPr id="20" name="Textplatzhalter 10">
            <a:extLst>
              <a:ext uri="{FF2B5EF4-FFF2-40B4-BE49-F238E27FC236}">
                <a16:creationId xmlns:a16="http://schemas.microsoft.com/office/drawing/2014/main" id="{387E9583-831E-4863-9A96-3E583A98F28D}"/>
              </a:ext>
            </a:extLst>
          </p:cNvPr>
          <p:cNvSpPr>
            <a:spLocks noGrp="1"/>
          </p:cNvSpPr>
          <p:nvPr>
            <p:ph type="body" sz="quarter" idx="18" hasCustomPrompt="1"/>
          </p:nvPr>
        </p:nvSpPr>
        <p:spPr>
          <a:xfrm>
            <a:off x="7378746" y="2502477"/>
            <a:ext cx="3695653" cy="426393"/>
          </a:xfrm>
          <a:prstGeom prst="rect">
            <a:avLst/>
          </a:prstGeom>
        </p:spPr>
        <p:txBody>
          <a:bodyPr rtlCol="0" anchor="b">
            <a:normAutofit/>
          </a:bodyPr>
          <a:lstStyle>
            <a:lvl1pPr marL="0" indent="0" algn="l">
              <a:buNone/>
              <a:defRPr sz="1600" b="1" cap="all" spc="100" baseline="0">
                <a:solidFill>
                  <a:schemeClr val="accent6"/>
                </a:solidFill>
                <a:latin typeface="Arial" panose="020B0604020202020204" pitchFamily="34" charset="0"/>
                <a:cs typeface="Arial" panose="020B0604020202020204" pitchFamily="34" charset="0"/>
              </a:defRPr>
            </a:lvl1pPr>
          </a:lstStyle>
          <a:p>
            <a:pPr lvl="0" rtl="0"/>
            <a:r>
              <a:rPr lang="de-DE" noProof="0"/>
              <a:t>Untertitel durch Klicken hinzufügen</a:t>
            </a:r>
          </a:p>
        </p:txBody>
      </p:sp>
      <p:sp>
        <p:nvSpPr>
          <p:cNvPr id="2" name="Titel 1">
            <a:extLst>
              <a:ext uri="{FF2B5EF4-FFF2-40B4-BE49-F238E27FC236}">
                <a16:creationId xmlns:a16="http://schemas.microsoft.com/office/drawing/2014/main" id="{E96F4071-8FD4-4FF1-BA06-DD4D780FE455}"/>
              </a:ext>
            </a:extLst>
          </p:cNvPr>
          <p:cNvSpPr>
            <a:spLocks noGrp="1"/>
          </p:cNvSpPr>
          <p:nvPr>
            <p:ph type="title" hasCustomPrompt="1"/>
          </p:nvPr>
        </p:nvSpPr>
        <p:spPr>
          <a:xfrm>
            <a:off x="2796032" y="1649421"/>
            <a:ext cx="5184648" cy="466344"/>
          </a:xfrm>
        </p:spPr>
        <p:txBody>
          <a:bodyPr rtlCol="0">
            <a:noAutofit/>
          </a:bodyPr>
          <a:lstStyle>
            <a:lvl1pPr>
              <a:lnSpc>
                <a:spcPct val="100000"/>
              </a:lnSpc>
              <a:defRPr sz="2800">
                <a:ln w="19050">
                  <a:solidFill>
                    <a:schemeClr val="accent6"/>
                  </a:solidFill>
                </a:ln>
              </a:defRPr>
            </a:lvl1pPr>
          </a:lstStyle>
          <a:p>
            <a:pPr rtl="0"/>
            <a:r>
              <a:rPr lang="de-DE" noProof="0"/>
              <a:t>Titel durch Klicken hinzufügen</a:t>
            </a:r>
          </a:p>
        </p:txBody>
      </p:sp>
    </p:spTree>
    <p:extLst>
      <p:ext uri="{BB962C8B-B14F-4D97-AF65-F5344CB8AC3E}">
        <p14:creationId xmlns:p14="http://schemas.microsoft.com/office/powerpoint/2010/main" val="40957492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Unsere Wettbewerber v2">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A954AA95-575B-4060-9443-53B347664494}"/>
              </a:ext>
            </a:extLst>
          </p:cNvPr>
          <p:cNvPicPr>
            <a:picLocks noChangeAspect="1"/>
          </p:cNvPicPr>
          <p:nvPr userDrawn="1"/>
        </p:nvPicPr>
        <p:blipFill>
          <a:blip r:embed="rId2"/>
          <a:stretch>
            <a:fillRect/>
          </a:stretch>
        </p:blipFill>
        <p:spPr>
          <a:xfrm>
            <a:off x="1690" y="0"/>
            <a:ext cx="12188620" cy="6858000"/>
          </a:xfrm>
          <a:prstGeom prst="rect">
            <a:avLst/>
          </a:prstGeom>
        </p:spPr>
      </p:pic>
      <p:sp>
        <p:nvSpPr>
          <p:cNvPr id="22" name="Rechteck 21">
            <a:extLst>
              <a:ext uri="{FF2B5EF4-FFF2-40B4-BE49-F238E27FC236}">
                <a16:creationId xmlns:a16="http://schemas.microsoft.com/office/drawing/2014/main" id="{38BF2BB6-8F62-424E-B01D-F90A0DB7BFBB}"/>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accent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3" name="Datumsplatzhalter 2">
            <a:extLst>
              <a:ext uri="{FF2B5EF4-FFF2-40B4-BE49-F238E27FC236}">
                <a16:creationId xmlns:a16="http://schemas.microsoft.com/office/drawing/2014/main" id="{5822AF5C-69BC-4A87-8E5C-E473F6A73EEF}"/>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246AD827-24BF-4C7D-9F16-1E26E09A6006}"/>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CDBEEF33-0303-4BF6-8C9A-08DE4CB645AE}"/>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8" name="Textplatzhalter 14">
            <a:extLst>
              <a:ext uri="{FF2B5EF4-FFF2-40B4-BE49-F238E27FC236}">
                <a16:creationId xmlns:a16="http://schemas.microsoft.com/office/drawing/2014/main" id="{CC14BDE6-5903-4EFC-B3C7-B7B219402DAF}"/>
              </a:ext>
            </a:extLst>
          </p:cNvPr>
          <p:cNvSpPr>
            <a:spLocks noGrp="1"/>
          </p:cNvSpPr>
          <p:nvPr>
            <p:ph type="body" sz="quarter" idx="15" hasCustomPrompt="1"/>
          </p:nvPr>
        </p:nvSpPr>
        <p:spPr>
          <a:xfrm>
            <a:off x="5237839" y="1538273"/>
            <a:ext cx="1706965" cy="492025"/>
          </a:xfrm>
          <a:prstGeom prst="rect">
            <a:avLst/>
          </a:prstGeom>
        </p:spPr>
        <p:txBody>
          <a:bodyPr rtlCol="0" anchor="ctr"/>
          <a:lstStyle>
            <a:lvl1pPr marL="0" indent="0" algn="ctr">
              <a:lnSpc>
                <a:spcPct val="100000"/>
              </a:lnSpc>
              <a:buNone/>
              <a:defRPr sz="10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9" name="Textplatzhalter 14">
            <a:extLst>
              <a:ext uri="{FF2B5EF4-FFF2-40B4-BE49-F238E27FC236}">
                <a16:creationId xmlns:a16="http://schemas.microsoft.com/office/drawing/2014/main" id="{E19954FA-533A-4FF9-88B2-102C833FBD40}"/>
              </a:ext>
            </a:extLst>
          </p:cNvPr>
          <p:cNvSpPr>
            <a:spLocks noGrp="1"/>
          </p:cNvSpPr>
          <p:nvPr>
            <p:ph type="body" sz="quarter" idx="17" hasCustomPrompt="1"/>
          </p:nvPr>
        </p:nvSpPr>
        <p:spPr>
          <a:xfrm>
            <a:off x="5237839" y="5407116"/>
            <a:ext cx="1706965" cy="492025"/>
          </a:xfrm>
          <a:prstGeom prst="rect">
            <a:avLst/>
          </a:prstGeom>
        </p:spPr>
        <p:txBody>
          <a:bodyPr rtlCol="0" anchor="ctr"/>
          <a:lstStyle>
            <a:lvl1pPr marL="0" indent="0" algn="ctr">
              <a:lnSpc>
                <a:spcPct val="100000"/>
              </a:lnSpc>
              <a:buNone/>
              <a:defRPr sz="10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Klicken, um einen Namen hinzuzufügen</a:t>
            </a:r>
          </a:p>
        </p:txBody>
      </p:sp>
      <p:sp>
        <p:nvSpPr>
          <p:cNvPr id="10" name="Textplatzhalter 14">
            <a:extLst>
              <a:ext uri="{FF2B5EF4-FFF2-40B4-BE49-F238E27FC236}">
                <a16:creationId xmlns:a16="http://schemas.microsoft.com/office/drawing/2014/main" id="{E29BB699-DB47-4A35-9B5B-63C7EFC22843}"/>
              </a:ext>
            </a:extLst>
          </p:cNvPr>
          <p:cNvSpPr>
            <a:spLocks noGrp="1"/>
          </p:cNvSpPr>
          <p:nvPr>
            <p:ph type="body" sz="quarter" idx="19" hasCustomPrompt="1"/>
          </p:nvPr>
        </p:nvSpPr>
        <p:spPr>
          <a:xfrm>
            <a:off x="8441651" y="3467155"/>
            <a:ext cx="1380681" cy="492025"/>
          </a:xfrm>
          <a:prstGeom prst="rect">
            <a:avLst/>
          </a:prstGeom>
        </p:spPr>
        <p:txBody>
          <a:bodyPr rtlCol="0" anchor="ctr"/>
          <a:lstStyle>
            <a:lvl1pPr marL="0" indent="0" algn="ctr">
              <a:lnSpc>
                <a:spcPct val="100000"/>
              </a:lnSpc>
              <a:buNone/>
              <a:defRPr sz="10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1" name="Textplatzhalter 14">
            <a:extLst>
              <a:ext uri="{FF2B5EF4-FFF2-40B4-BE49-F238E27FC236}">
                <a16:creationId xmlns:a16="http://schemas.microsoft.com/office/drawing/2014/main" id="{4EFD147E-AEE9-40FA-96D5-7DBE76033490}"/>
              </a:ext>
            </a:extLst>
          </p:cNvPr>
          <p:cNvSpPr>
            <a:spLocks noGrp="1"/>
          </p:cNvSpPr>
          <p:nvPr>
            <p:ph type="body" sz="quarter" idx="20" hasCustomPrompt="1"/>
          </p:nvPr>
        </p:nvSpPr>
        <p:spPr>
          <a:xfrm>
            <a:off x="3744687" y="2307743"/>
            <a:ext cx="1183179" cy="492025"/>
          </a:xfrm>
          <a:prstGeom prst="rect">
            <a:avLst/>
          </a:prstGeom>
        </p:spPr>
        <p:txBody>
          <a:bodyPr rtlCol="0" anchor="ctr"/>
          <a:lstStyle>
            <a:lvl1pPr marL="0" indent="0" algn="ctr">
              <a:lnSpc>
                <a:spcPct val="100000"/>
              </a:lnSpc>
              <a:buNone/>
              <a:defRPr sz="1200" b="1" cap="all" spc="200" baseline="0">
                <a:solidFill>
                  <a:schemeClr val="accent2">
                    <a:lumMod val="20000"/>
                    <a:lumOff val="80000"/>
                  </a:schemeClr>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2" name="Textplatzhalter 14">
            <a:extLst>
              <a:ext uri="{FF2B5EF4-FFF2-40B4-BE49-F238E27FC236}">
                <a16:creationId xmlns:a16="http://schemas.microsoft.com/office/drawing/2014/main" id="{035518AB-0629-41B1-8670-DAE8C31C9998}"/>
              </a:ext>
            </a:extLst>
          </p:cNvPr>
          <p:cNvSpPr>
            <a:spLocks noGrp="1"/>
          </p:cNvSpPr>
          <p:nvPr>
            <p:ph type="body" sz="quarter" idx="21" hasCustomPrompt="1"/>
          </p:nvPr>
        </p:nvSpPr>
        <p:spPr>
          <a:xfrm>
            <a:off x="4181179" y="4420460"/>
            <a:ext cx="1183179" cy="492025"/>
          </a:xfrm>
          <a:prstGeom prst="rect">
            <a:avLst/>
          </a:prstGeom>
        </p:spPr>
        <p:txBody>
          <a:bodyPr rtlCol="0" anchor="ctr"/>
          <a:lstStyle>
            <a:lvl1pPr marL="0" indent="0" algn="ctr">
              <a:lnSpc>
                <a:spcPct val="100000"/>
              </a:lnSpc>
              <a:buNone/>
              <a:defRPr sz="1200" b="1" cap="all" spc="200" baseline="0">
                <a:solidFill>
                  <a:schemeClr val="accent1">
                    <a:lumMod val="20000"/>
                    <a:lumOff val="80000"/>
                  </a:schemeClr>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3" name="Textplatzhalter 14">
            <a:extLst>
              <a:ext uri="{FF2B5EF4-FFF2-40B4-BE49-F238E27FC236}">
                <a16:creationId xmlns:a16="http://schemas.microsoft.com/office/drawing/2014/main" id="{D84B55A2-EE63-46F3-80EA-C4F512388C1B}"/>
              </a:ext>
            </a:extLst>
          </p:cNvPr>
          <p:cNvSpPr>
            <a:spLocks noGrp="1"/>
          </p:cNvSpPr>
          <p:nvPr>
            <p:ph type="body" sz="quarter" idx="22" hasCustomPrompt="1"/>
          </p:nvPr>
        </p:nvSpPr>
        <p:spPr>
          <a:xfrm>
            <a:off x="2643702" y="4552190"/>
            <a:ext cx="1183179" cy="492025"/>
          </a:xfrm>
          <a:prstGeom prst="rect">
            <a:avLst/>
          </a:prstGeom>
        </p:spPr>
        <p:txBody>
          <a:bodyPr rtlCol="0" anchor="ctr"/>
          <a:lstStyle>
            <a:lvl1pPr marL="0" indent="0" algn="ctr">
              <a:lnSpc>
                <a:spcPct val="100000"/>
              </a:lnSpc>
              <a:buNone/>
              <a:defRPr sz="1200" b="1" cap="all" spc="200" baseline="0">
                <a:solidFill>
                  <a:schemeClr val="accent6">
                    <a:lumMod val="40000"/>
                    <a:lumOff val="60000"/>
                  </a:schemeClr>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4" name="Textplatzhalter 14">
            <a:extLst>
              <a:ext uri="{FF2B5EF4-FFF2-40B4-BE49-F238E27FC236}">
                <a16:creationId xmlns:a16="http://schemas.microsoft.com/office/drawing/2014/main" id="{EDED8D5C-7B18-4E79-B6B4-E59FAC3A83D5}"/>
              </a:ext>
            </a:extLst>
          </p:cNvPr>
          <p:cNvSpPr>
            <a:spLocks noGrp="1"/>
          </p:cNvSpPr>
          <p:nvPr>
            <p:ph type="body" sz="quarter" idx="23" hasCustomPrompt="1"/>
          </p:nvPr>
        </p:nvSpPr>
        <p:spPr>
          <a:xfrm>
            <a:off x="6400052" y="4120885"/>
            <a:ext cx="1183179" cy="492025"/>
          </a:xfrm>
          <a:prstGeom prst="rect">
            <a:avLst/>
          </a:prstGeom>
        </p:spPr>
        <p:txBody>
          <a:bodyPr rtlCol="0" anchor="ctr"/>
          <a:lstStyle>
            <a:lvl1pPr marL="0" indent="0" algn="ctr">
              <a:lnSpc>
                <a:spcPct val="100000"/>
              </a:lnSpc>
              <a:buNone/>
              <a:defRPr sz="1200" b="1" cap="all" spc="200" baseline="0">
                <a:solidFill>
                  <a:schemeClr val="accent1">
                    <a:lumMod val="40000"/>
                    <a:lumOff val="60000"/>
                  </a:schemeClr>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5" name="Textplatzhalter 14">
            <a:extLst>
              <a:ext uri="{FF2B5EF4-FFF2-40B4-BE49-F238E27FC236}">
                <a16:creationId xmlns:a16="http://schemas.microsoft.com/office/drawing/2014/main" id="{E8B6D903-1EAA-44AD-A3D8-6256873B7A22}"/>
              </a:ext>
            </a:extLst>
          </p:cNvPr>
          <p:cNvSpPr>
            <a:spLocks noGrp="1"/>
          </p:cNvSpPr>
          <p:nvPr>
            <p:ph type="body" sz="quarter" idx="25" hasCustomPrompt="1"/>
          </p:nvPr>
        </p:nvSpPr>
        <p:spPr>
          <a:xfrm>
            <a:off x="2545032" y="3467155"/>
            <a:ext cx="1209143" cy="492025"/>
          </a:xfrm>
          <a:prstGeom prst="rect">
            <a:avLst/>
          </a:prstGeom>
        </p:spPr>
        <p:txBody>
          <a:bodyPr rtlCol="0" anchor="ctr"/>
          <a:lstStyle>
            <a:lvl1pPr marL="0" indent="0" algn="ctr">
              <a:lnSpc>
                <a:spcPct val="100000"/>
              </a:lnSpc>
              <a:buNone/>
              <a:defRPr sz="10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Klicken, um Namen hinzuzufügen</a:t>
            </a:r>
          </a:p>
        </p:txBody>
      </p:sp>
      <p:cxnSp>
        <p:nvCxnSpPr>
          <p:cNvPr id="16" name="Gerader Verbinder 15">
            <a:extLst>
              <a:ext uri="{FF2B5EF4-FFF2-40B4-BE49-F238E27FC236}">
                <a16:creationId xmlns:a16="http://schemas.microsoft.com/office/drawing/2014/main" id="{8914974F-EEEB-4FDB-B605-14B6199844BA}"/>
              </a:ext>
            </a:extLst>
          </p:cNvPr>
          <p:cNvCxnSpPr>
            <a:cxnSpLocks/>
          </p:cNvCxnSpPr>
          <p:nvPr userDrawn="1"/>
        </p:nvCxnSpPr>
        <p:spPr>
          <a:xfrm>
            <a:off x="3758002" y="3713168"/>
            <a:ext cx="4683649"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4FCFFB4C-5408-479D-88E2-42F8897706C7}"/>
              </a:ext>
            </a:extLst>
          </p:cNvPr>
          <p:cNvCxnSpPr>
            <a:cxnSpLocks/>
          </p:cNvCxnSpPr>
          <p:nvPr userDrawn="1"/>
        </p:nvCxnSpPr>
        <p:spPr>
          <a:xfrm flipV="1">
            <a:off x="6091322" y="2030298"/>
            <a:ext cx="4678" cy="337681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Textplatzhalter 14">
            <a:extLst>
              <a:ext uri="{FF2B5EF4-FFF2-40B4-BE49-F238E27FC236}">
                <a16:creationId xmlns:a16="http://schemas.microsoft.com/office/drawing/2014/main" id="{9D316786-C25C-4139-9C9E-B55FEA3C4AC0}"/>
              </a:ext>
            </a:extLst>
          </p:cNvPr>
          <p:cNvSpPr>
            <a:spLocks noGrp="1"/>
          </p:cNvSpPr>
          <p:nvPr>
            <p:ph type="body" sz="quarter" idx="26" hasCustomPrompt="1"/>
          </p:nvPr>
        </p:nvSpPr>
        <p:spPr>
          <a:xfrm>
            <a:off x="6754219" y="2067508"/>
            <a:ext cx="1706965" cy="1048575"/>
          </a:xfrm>
          <a:prstGeom prst="rect">
            <a:avLst/>
          </a:prstGeom>
        </p:spPr>
        <p:txBody>
          <a:bodyPr rtlCol="0" anchor="ctr"/>
          <a:lstStyle>
            <a:lvl1pPr marL="0" indent="0" algn="ctr">
              <a:lnSpc>
                <a:spcPct val="100000"/>
              </a:lnSpc>
              <a:buNone/>
              <a:defRPr sz="1600" b="1" cap="all" spc="200" baseline="0">
                <a:solidFill>
                  <a:schemeClr val="bg1"/>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20" name="Textplatzhalter 14">
            <a:extLst>
              <a:ext uri="{FF2B5EF4-FFF2-40B4-BE49-F238E27FC236}">
                <a16:creationId xmlns:a16="http://schemas.microsoft.com/office/drawing/2014/main" id="{DC43FD24-D855-40FC-85C4-87ED3F64AA2C}"/>
              </a:ext>
            </a:extLst>
          </p:cNvPr>
          <p:cNvSpPr>
            <a:spLocks noGrp="1"/>
          </p:cNvSpPr>
          <p:nvPr>
            <p:ph type="body" sz="quarter" idx="24" hasCustomPrompt="1"/>
          </p:nvPr>
        </p:nvSpPr>
        <p:spPr>
          <a:xfrm>
            <a:off x="7860695" y="4820889"/>
            <a:ext cx="1183179" cy="492025"/>
          </a:xfrm>
          <a:prstGeom prst="rect">
            <a:avLst/>
          </a:prstGeom>
        </p:spPr>
        <p:txBody>
          <a:bodyPr rtlCol="0" anchor="ctr"/>
          <a:lstStyle>
            <a:lvl1pPr marL="0" indent="0" algn="ctr">
              <a:lnSpc>
                <a:spcPct val="100000"/>
              </a:lnSpc>
              <a:buNone/>
              <a:defRPr sz="1200" b="1" cap="all" spc="200" baseline="0">
                <a:solidFill>
                  <a:schemeClr val="accent4"/>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2" name="Titel 1">
            <a:extLst>
              <a:ext uri="{FF2B5EF4-FFF2-40B4-BE49-F238E27FC236}">
                <a16:creationId xmlns:a16="http://schemas.microsoft.com/office/drawing/2014/main" id="{2C07A013-A59B-4367-9832-ED55A6D25280}"/>
              </a:ext>
            </a:extLst>
          </p:cNvPr>
          <p:cNvSpPr>
            <a:spLocks noGrp="1"/>
          </p:cNvSpPr>
          <p:nvPr>
            <p:ph type="title" hasCustomPrompt="1"/>
          </p:nvPr>
        </p:nvSpPr>
        <p:spPr>
          <a:xfrm>
            <a:off x="794508" y="715939"/>
            <a:ext cx="4864608" cy="365760"/>
          </a:xfrm>
        </p:spPr>
        <p:txBody>
          <a:bodyPr rtlCol="0" anchor="t">
            <a:noAutofit/>
          </a:bodyPr>
          <a:lstStyle>
            <a:lvl1pPr>
              <a:defRPr sz="2800">
                <a:ln w="19050">
                  <a:solidFill>
                    <a:schemeClr val="bg1"/>
                  </a:solidFill>
                </a:ln>
              </a:defRPr>
            </a:lvl1pPr>
          </a:lstStyle>
          <a:p>
            <a:pPr rtl="0"/>
            <a:r>
              <a:rPr lang="de-DE" noProof="0"/>
              <a:t>Titel durch Klicken hinzufügen</a:t>
            </a:r>
          </a:p>
        </p:txBody>
      </p:sp>
    </p:spTree>
    <p:extLst>
      <p:ext uri="{BB962C8B-B14F-4D97-AF65-F5344CB8AC3E}">
        <p14:creationId xmlns:p14="http://schemas.microsoft.com/office/powerpoint/2010/main" val="38319115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achstumsstrategie">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8D1F00DA-5D59-4EDE-BA9C-D312B3FBBAFD}"/>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3" name="Datumsplatzhalter 2">
            <a:extLst>
              <a:ext uri="{FF2B5EF4-FFF2-40B4-BE49-F238E27FC236}">
                <a16:creationId xmlns:a16="http://schemas.microsoft.com/office/drawing/2014/main" id="{94C3578F-2A0F-4E30-AF4A-8F796929EE04}"/>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01F6CA51-E5DC-4FC3-92F6-D5EC783C0A8A}"/>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1A10E530-F1C5-4166-A95F-3F8D022CCD74}"/>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11" name="Textplatzhalter 14">
            <a:extLst>
              <a:ext uri="{FF2B5EF4-FFF2-40B4-BE49-F238E27FC236}">
                <a16:creationId xmlns:a16="http://schemas.microsoft.com/office/drawing/2014/main" id="{191453D1-9488-4F30-8223-1CB500BDC2F1}"/>
              </a:ext>
            </a:extLst>
          </p:cNvPr>
          <p:cNvSpPr>
            <a:spLocks noGrp="1"/>
          </p:cNvSpPr>
          <p:nvPr>
            <p:ph type="body" sz="quarter" idx="19" hasCustomPrompt="1"/>
          </p:nvPr>
        </p:nvSpPr>
        <p:spPr>
          <a:xfrm>
            <a:off x="2452699" y="1592681"/>
            <a:ext cx="7306060" cy="393427"/>
          </a:xfrm>
          <a:prstGeom prst="rect">
            <a:avLst/>
          </a:prstGeom>
        </p:spPr>
        <p:txBody>
          <a:bodyPr rtlCol="0">
            <a:normAutofit/>
          </a:bodyPr>
          <a:lstStyle>
            <a:lvl1pPr marL="0" indent="0" algn="ctr">
              <a:buNone/>
              <a:defRPr sz="1800" cap="none" spc="200" baseline="0">
                <a:solidFill>
                  <a:schemeClr val="bg1"/>
                </a:solidFill>
                <a:latin typeface="Posterama" panose="020B0504020200020000" pitchFamily="34" charset="0"/>
                <a:cs typeface="Posterama" panose="020B0504020200020000" pitchFamily="34" charset="0"/>
              </a:defRPr>
            </a:lvl1pPr>
          </a:lstStyle>
          <a:p>
            <a:pPr lvl="0" rtl="0"/>
            <a:r>
              <a:rPr lang="de-DE" noProof="0"/>
              <a:t>Untertitel hinzufügen</a:t>
            </a:r>
          </a:p>
        </p:txBody>
      </p:sp>
      <p:sp>
        <p:nvSpPr>
          <p:cNvPr id="12" name="Textplatzhalter 14">
            <a:extLst>
              <a:ext uri="{FF2B5EF4-FFF2-40B4-BE49-F238E27FC236}">
                <a16:creationId xmlns:a16="http://schemas.microsoft.com/office/drawing/2014/main" id="{4882AD8A-D4BD-4E12-8458-AC021F93B15C}"/>
              </a:ext>
            </a:extLst>
          </p:cNvPr>
          <p:cNvSpPr>
            <a:spLocks noGrp="1"/>
          </p:cNvSpPr>
          <p:nvPr>
            <p:ph type="body" sz="quarter" idx="26" hasCustomPrompt="1"/>
          </p:nvPr>
        </p:nvSpPr>
        <p:spPr>
          <a:xfrm>
            <a:off x="1973698" y="3031460"/>
            <a:ext cx="1975104" cy="868680"/>
          </a:xfrm>
          <a:prstGeom prst="rect">
            <a:avLst/>
          </a:prstGeom>
          <a:ln w="25400">
            <a:solidFill>
              <a:schemeClr val="accent6"/>
            </a:solidFill>
          </a:ln>
        </p:spPr>
        <p:txBody>
          <a:bodyPr rtlCol="0" anchor="ctr"/>
          <a:lstStyle>
            <a:lvl1pPr marL="0" indent="0" algn="ctr">
              <a:lnSpc>
                <a:spcPct val="100000"/>
              </a:lnSpc>
              <a:buNone/>
              <a:defRPr sz="1600" b="1" cap="all" spc="200" baseline="0">
                <a:solidFill>
                  <a:schemeClr val="accent6"/>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3" name="Textplatzhalter 14">
            <a:extLst>
              <a:ext uri="{FF2B5EF4-FFF2-40B4-BE49-F238E27FC236}">
                <a16:creationId xmlns:a16="http://schemas.microsoft.com/office/drawing/2014/main" id="{3DF3AAFC-DA9A-4A72-BBF9-5A097BC5950E}"/>
              </a:ext>
            </a:extLst>
          </p:cNvPr>
          <p:cNvSpPr>
            <a:spLocks noGrp="1"/>
          </p:cNvSpPr>
          <p:nvPr>
            <p:ph type="body" sz="quarter" idx="27" hasCustomPrompt="1"/>
          </p:nvPr>
        </p:nvSpPr>
        <p:spPr>
          <a:xfrm>
            <a:off x="5202976" y="3031460"/>
            <a:ext cx="1975104" cy="868680"/>
          </a:xfrm>
          <a:prstGeom prst="rect">
            <a:avLst/>
          </a:prstGeom>
          <a:ln w="25400">
            <a:solidFill>
              <a:schemeClr val="accent6"/>
            </a:solidFill>
          </a:ln>
        </p:spPr>
        <p:txBody>
          <a:bodyPr rtlCol="0" anchor="ctr"/>
          <a:lstStyle>
            <a:lvl1pPr marL="0" indent="0" algn="ctr">
              <a:lnSpc>
                <a:spcPct val="100000"/>
              </a:lnSpc>
              <a:buNone/>
              <a:defRPr sz="1600" b="1" cap="all" spc="200" baseline="0">
                <a:solidFill>
                  <a:schemeClr val="accent6"/>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4" name="Textplatzhalter 14">
            <a:extLst>
              <a:ext uri="{FF2B5EF4-FFF2-40B4-BE49-F238E27FC236}">
                <a16:creationId xmlns:a16="http://schemas.microsoft.com/office/drawing/2014/main" id="{2FF48EEE-6AEC-4E37-AD5C-EEB74BA0CEDB}"/>
              </a:ext>
            </a:extLst>
          </p:cNvPr>
          <p:cNvSpPr>
            <a:spLocks noGrp="1"/>
          </p:cNvSpPr>
          <p:nvPr>
            <p:ph type="body" sz="quarter" idx="28" hasCustomPrompt="1"/>
          </p:nvPr>
        </p:nvSpPr>
        <p:spPr>
          <a:xfrm>
            <a:off x="8346652" y="3031460"/>
            <a:ext cx="1975104" cy="868680"/>
          </a:xfrm>
          <a:prstGeom prst="rect">
            <a:avLst/>
          </a:prstGeom>
          <a:ln w="25400">
            <a:solidFill>
              <a:schemeClr val="accent6"/>
            </a:solidFill>
          </a:ln>
        </p:spPr>
        <p:txBody>
          <a:bodyPr rtlCol="0" anchor="ctr"/>
          <a:lstStyle>
            <a:lvl1pPr marL="0" indent="0" algn="ctr">
              <a:lnSpc>
                <a:spcPct val="100000"/>
              </a:lnSpc>
              <a:buNone/>
              <a:defRPr sz="1600" b="1" cap="all" spc="200" baseline="0">
                <a:solidFill>
                  <a:schemeClr val="accent6"/>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5" name="Textplatzhalter 14">
            <a:extLst>
              <a:ext uri="{FF2B5EF4-FFF2-40B4-BE49-F238E27FC236}">
                <a16:creationId xmlns:a16="http://schemas.microsoft.com/office/drawing/2014/main" id="{32066EA2-51F1-4F13-8E1B-89600E879074}"/>
              </a:ext>
            </a:extLst>
          </p:cNvPr>
          <p:cNvSpPr>
            <a:spLocks noGrp="1"/>
          </p:cNvSpPr>
          <p:nvPr>
            <p:ph type="body" sz="quarter" idx="13" hasCustomPrompt="1"/>
          </p:nvPr>
        </p:nvSpPr>
        <p:spPr>
          <a:xfrm>
            <a:off x="1591695" y="4042386"/>
            <a:ext cx="2743200" cy="1148945"/>
          </a:xfrm>
          <a:prstGeom prst="rect">
            <a:avLst/>
          </a:prstGeom>
        </p:spPr>
        <p:txBody>
          <a:bodyPr rtlCol="0"/>
          <a:lstStyle>
            <a:lvl1pPr marL="0" indent="0" algn="ctr">
              <a:lnSpc>
                <a:spcPct val="125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6" name="Textplatzhalter 14">
            <a:extLst>
              <a:ext uri="{FF2B5EF4-FFF2-40B4-BE49-F238E27FC236}">
                <a16:creationId xmlns:a16="http://schemas.microsoft.com/office/drawing/2014/main" id="{F14EBD1B-595C-4A54-92C8-3C5427E15C45}"/>
              </a:ext>
            </a:extLst>
          </p:cNvPr>
          <p:cNvSpPr>
            <a:spLocks noGrp="1"/>
          </p:cNvSpPr>
          <p:nvPr>
            <p:ph type="body" sz="quarter" idx="29" hasCustomPrompt="1"/>
          </p:nvPr>
        </p:nvSpPr>
        <p:spPr>
          <a:xfrm>
            <a:off x="4820973" y="4042387"/>
            <a:ext cx="2743200" cy="1148945"/>
          </a:xfrm>
          <a:prstGeom prst="rect">
            <a:avLst/>
          </a:prstGeom>
        </p:spPr>
        <p:txBody>
          <a:bodyPr rtlCol="0"/>
          <a:lstStyle>
            <a:lvl1pPr marL="0" indent="0" algn="ctr">
              <a:lnSpc>
                <a:spcPct val="125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7" name="Textplatzhalter 14">
            <a:extLst>
              <a:ext uri="{FF2B5EF4-FFF2-40B4-BE49-F238E27FC236}">
                <a16:creationId xmlns:a16="http://schemas.microsoft.com/office/drawing/2014/main" id="{B64F77B9-03A9-4E3E-B656-D3C0FBE25AB5}"/>
              </a:ext>
            </a:extLst>
          </p:cNvPr>
          <p:cNvSpPr>
            <a:spLocks noGrp="1"/>
          </p:cNvSpPr>
          <p:nvPr>
            <p:ph type="body" sz="quarter" idx="30" hasCustomPrompt="1"/>
          </p:nvPr>
        </p:nvSpPr>
        <p:spPr>
          <a:xfrm>
            <a:off x="7964649" y="4042386"/>
            <a:ext cx="2743200" cy="1148945"/>
          </a:xfrm>
          <a:prstGeom prst="rect">
            <a:avLst/>
          </a:prstGeom>
        </p:spPr>
        <p:txBody>
          <a:bodyPr rtlCol="0"/>
          <a:lstStyle>
            <a:lvl1pPr marL="0" indent="0" algn="ctr">
              <a:lnSpc>
                <a:spcPct val="125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2" name="Titel 1">
            <a:extLst>
              <a:ext uri="{FF2B5EF4-FFF2-40B4-BE49-F238E27FC236}">
                <a16:creationId xmlns:a16="http://schemas.microsoft.com/office/drawing/2014/main" id="{DFFECFB3-5650-476F-BB54-8A2A45F8AE7F}"/>
              </a:ext>
            </a:extLst>
          </p:cNvPr>
          <p:cNvSpPr>
            <a:spLocks noGrp="1"/>
          </p:cNvSpPr>
          <p:nvPr>
            <p:ph type="title" hasCustomPrompt="1"/>
          </p:nvPr>
        </p:nvSpPr>
        <p:spPr>
          <a:xfrm>
            <a:off x="2451534" y="989042"/>
            <a:ext cx="7287768" cy="630936"/>
          </a:xfrm>
        </p:spPr>
        <p:txBody>
          <a:bodyPr rtlCol="0" anchor="t">
            <a:noAutofit/>
          </a:bodyPr>
          <a:lstStyle>
            <a:lvl1pPr algn="ctr">
              <a:lnSpc>
                <a:spcPct val="125000"/>
              </a:lnSpc>
              <a:defRPr sz="2800">
                <a:ln w="19050">
                  <a:solidFill>
                    <a:schemeClr val="bg1"/>
                  </a:solidFill>
                </a:ln>
              </a:defRPr>
            </a:lvl1pPr>
          </a:lstStyle>
          <a:p>
            <a:pPr rtl="0"/>
            <a:r>
              <a:rPr lang="de-DE" noProof="0"/>
              <a:t>Titel durch Klicken hinzufügen</a:t>
            </a:r>
          </a:p>
        </p:txBody>
      </p:sp>
    </p:spTree>
    <p:extLst>
      <p:ext uri="{BB962C8B-B14F-4D97-AF65-F5344CB8AC3E}">
        <p14:creationId xmlns:p14="http://schemas.microsoft.com/office/powerpoint/2010/main" val="33689021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raktion">
    <p:spTree>
      <p:nvGrpSpPr>
        <p:cNvPr id="1" name=""/>
        <p:cNvGrpSpPr/>
        <p:nvPr/>
      </p:nvGrpSpPr>
      <p:grpSpPr>
        <a:xfrm>
          <a:off x="0" y="0"/>
          <a:ext cx="0" cy="0"/>
          <a:chOff x="0" y="0"/>
          <a:chExt cx="0" cy="0"/>
        </a:xfrm>
      </p:grpSpPr>
      <p:pic>
        <p:nvPicPr>
          <p:cNvPr id="2" name="Bild 1">
            <a:extLst>
              <a:ext uri="{FF2B5EF4-FFF2-40B4-BE49-F238E27FC236}">
                <a16:creationId xmlns:a16="http://schemas.microsoft.com/office/drawing/2014/main" id="{B3D91600-3E99-42F4-85C2-60F442CD5E7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22" name="Inhaltsplatzhalter 8">
            <a:extLst>
              <a:ext uri="{FF2B5EF4-FFF2-40B4-BE49-F238E27FC236}">
                <a16:creationId xmlns:a16="http://schemas.microsoft.com/office/drawing/2014/main" id="{30B4BBA3-2E4B-4AF2-8A2B-92DD019631E8}"/>
              </a:ext>
            </a:extLst>
          </p:cNvPr>
          <p:cNvSpPr>
            <a:spLocks noGrp="1"/>
          </p:cNvSpPr>
          <p:nvPr>
            <p:ph sz="quarter" idx="39" hasCustomPrompt="1"/>
          </p:nvPr>
        </p:nvSpPr>
        <p:spPr>
          <a:xfrm>
            <a:off x="6266428" y="2782888"/>
            <a:ext cx="4992567" cy="3436937"/>
          </a:xfrm>
        </p:spPr>
        <p:txBody>
          <a:bodyPr rtlCol="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rtl="0"/>
            <a:r>
              <a:rPr lang="de-DE" noProof="0"/>
              <a:t>Textmasterformat durch Klicken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8" name="Textplatzhalter 14">
            <a:extLst>
              <a:ext uri="{FF2B5EF4-FFF2-40B4-BE49-F238E27FC236}">
                <a16:creationId xmlns:a16="http://schemas.microsoft.com/office/drawing/2014/main" id="{44460CAC-F6F8-43F8-93F5-188B790DEE63}"/>
              </a:ext>
            </a:extLst>
          </p:cNvPr>
          <p:cNvSpPr>
            <a:spLocks noGrp="1"/>
          </p:cNvSpPr>
          <p:nvPr>
            <p:ph type="body" sz="quarter" idx="19" hasCustomPrompt="1"/>
          </p:nvPr>
        </p:nvSpPr>
        <p:spPr>
          <a:xfrm>
            <a:off x="2452699" y="1592681"/>
            <a:ext cx="7306060" cy="393427"/>
          </a:xfrm>
          <a:prstGeom prst="rect">
            <a:avLst/>
          </a:prstGeom>
        </p:spPr>
        <p:txBody>
          <a:bodyPr rtlCol="0">
            <a:normAutofit/>
          </a:bodyPr>
          <a:lstStyle>
            <a:lvl1pPr marL="0" indent="0" algn="ctr">
              <a:buNone/>
              <a:defRPr sz="1800" cap="none" spc="200" baseline="0">
                <a:solidFill>
                  <a:schemeClr val="bg1"/>
                </a:solidFill>
                <a:latin typeface="Posterama" panose="020B0504020200020000" pitchFamily="34" charset="0"/>
                <a:cs typeface="Posterama" panose="020B0504020200020000" pitchFamily="34" charset="0"/>
              </a:defRPr>
            </a:lvl1pPr>
          </a:lstStyle>
          <a:p>
            <a:pPr lvl="0" rtl="0"/>
            <a:r>
              <a:rPr lang="de-DE" noProof="0"/>
              <a:t>Untertitel hinzufügen</a:t>
            </a:r>
          </a:p>
        </p:txBody>
      </p:sp>
      <p:sp>
        <p:nvSpPr>
          <p:cNvPr id="3" name="Datumsplatzhalter 2">
            <a:extLst>
              <a:ext uri="{FF2B5EF4-FFF2-40B4-BE49-F238E27FC236}">
                <a16:creationId xmlns:a16="http://schemas.microsoft.com/office/drawing/2014/main" id="{6968D310-58F4-4A10-A286-9B42AECFDD18}"/>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6C868E10-EEA7-4017-B7CA-17B5EB23C4EC}"/>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C2B014CA-8BED-467C-AC80-6DC5B3DDC405}"/>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78" name="Textplatzhalter 14">
            <a:extLst>
              <a:ext uri="{FF2B5EF4-FFF2-40B4-BE49-F238E27FC236}">
                <a16:creationId xmlns:a16="http://schemas.microsoft.com/office/drawing/2014/main" id="{2C4E099A-EEE4-40B4-B9B5-32A5A981F951}"/>
              </a:ext>
            </a:extLst>
          </p:cNvPr>
          <p:cNvSpPr>
            <a:spLocks noGrp="1"/>
          </p:cNvSpPr>
          <p:nvPr>
            <p:ph type="body" sz="quarter" idx="36" hasCustomPrompt="1"/>
          </p:nvPr>
        </p:nvSpPr>
        <p:spPr>
          <a:xfrm>
            <a:off x="905410" y="2333977"/>
            <a:ext cx="5007023" cy="448769"/>
          </a:xfrm>
          <a:prstGeom prst="rect">
            <a:avLst/>
          </a:prstGeom>
        </p:spPr>
        <p:txBody>
          <a:bodyPr rtlCol="0"/>
          <a:lstStyle>
            <a:lvl1pPr marL="0" indent="0" algn="ctr">
              <a:buNone/>
              <a:defRPr sz="1600" b="1" cap="all" spc="200" baseline="0">
                <a:solidFill>
                  <a:schemeClr val="accent6"/>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79" name="Textplatzhalter 14">
            <a:extLst>
              <a:ext uri="{FF2B5EF4-FFF2-40B4-BE49-F238E27FC236}">
                <a16:creationId xmlns:a16="http://schemas.microsoft.com/office/drawing/2014/main" id="{51338F1A-6EF2-4AA5-9EE8-628C9D57C270}"/>
              </a:ext>
            </a:extLst>
          </p:cNvPr>
          <p:cNvSpPr>
            <a:spLocks noGrp="1"/>
          </p:cNvSpPr>
          <p:nvPr>
            <p:ph type="body" sz="quarter" idx="37" hasCustomPrompt="1"/>
          </p:nvPr>
        </p:nvSpPr>
        <p:spPr>
          <a:xfrm>
            <a:off x="6279569" y="2339781"/>
            <a:ext cx="4993148" cy="448769"/>
          </a:xfrm>
          <a:prstGeom prst="rect">
            <a:avLst/>
          </a:prstGeom>
        </p:spPr>
        <p:txBody>
          <a:bodyPr rtlCol="0"/>
          <a:lstStyle>
            <a:lvl1pPr marL="0" indent="0" algn="ctr">
              <a:buNone/>
              <a:defRPr sz="1600" b="1" cap="all" spc="200" baseline="0">
                <a:solidFill>
                  <a:schemeClr val="accent6"/>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19" name="Titel 1">
            <a:extLst>
              <a:ext uri="{FF2B5EF4-FFF2-40B4-BE49-F238E27FC236}">
                <a16:creationId xmlns:a16="http://schemas.microsoft.com/office/drawing/2014/main" id="{DF744EAD-73E9-49F3-9CA4-9A344EB625D9}"/>
              </a:ext>
            </a:extLst>
          </p:cNvPr>
          <p:cNvSpPr>
            <a:spLocks noGrp="1"/>
          </p:cNvSpPr>
          <p:nvPr>
            <p:ph type="title" hasCustomPrompt="1"/>
          </p:nvPr>
        </p:nvSpPr>
        <p:spPr>
          <a:xfrm>
            <a:off x="2451534" y="989042"/>
            <a:ext cx="7287768" cy="630936"/>
          </a:xfrm>
        </p:spPr>
        <p:txBody>
          <a:bodyPr rtlCol="0" anchor="t">
            <a:noAutofit/>
          </a:bodyPr>
          <a:lstStyle>
            <a:lvl1pPr algn="ctr">
              <a:lnSpc>
                <a:spcPct val="125000"/>
              </a:lnSpc>
              <a:defRPr sz="2800">
                <a:ln w="19050">
                  <a:solidFill>
                    <a:schemeClr val="bg1"/>
                  </a:solidFill>
                </a:ln>
              </a:defRPr>
            </a:lvl1pPr>
          </a:lstStyle>
          <a:p>
            <a:pPr rtl="0"/>
            <a:r>
              <a:rPr lang="de-DE" noProof="0"/>
              <a:t>Titel durch Klicken hinzufügen</a:t>
            </a:r>
          </a:p>
        </p:txBody>
      </p:sp>
      <p:sp>
        <p:nvSpPr>
          <p:cNvPr id="9" name="Inhaltsplatzhalter 8">
            <a:extLst>
              <a:ext uri="{FF2B5EF4-FFF2-40B4-BE49-F238E27FC236}">
                <a16:creationId xmlns:a16="http://schemas.microsoft.com/office/drawing/2014/main" id="{ACB4710E-545B-4940-B69A-359188335AD3}"/>
              </a:ext>
            </a:extLst>
          </p:cNvPr>
          <p:cNvSpPr>
            <a:spLocks noGrp="1"/>
          </p:cNvSpPr>
          <p:nvPr>
            <p:ph sz="quarter" idx="38" hasCustomPrompt="1"/>
          </p:nvPr>
        </p:nvSpPr>
        <p:spPr>
          <a:xfrm>
            <a:off x="919283" y="2782888"/>
            <a:ext cx="4992567" cy="3436937"/>
          </a:xfrm>
        </p:spPr>
        <p:txBody>
          <a:bodyPr rtlCol="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rtl="0"/>
            <a:r>
              <a:rPr lang="de-DE" noProof="0"/>
              <a:t>Textmasterformat durch Klicken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Tree>
    <p:extLst>
      <p:ext uri="{BB962C8B-B14F-4D97-AF65-F5344CB8AC3E}">
        <p14:creationId xmlns:p14="http://schemas.microsoft.com/office/powerpoint/2010/main" val="40063281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Jahres-Aktionsplan">
    <p:spTree>
      <p:nvGrpSpPr>
        <p:cNvPr id="1" name=""/>
        <p:cNvGrpSpPr/>
        <p:nvPr/>
      </p:nvGrpSpPr>
      <p:grpSpPr>
        <a:xfrm>
          <a:off x="0" y="0"/>
          <a:ext cx="0" cy="0"/>
          <a:chOff x="0" y="0"/>
          <a:chExt cx="0" cy="0"/>
        </a:xfrm>
      </p:grpSpPr>
      <p:pic>
        <p:nvPicPr>
          <p:cNvPr id="2" name="Bild 1">
            <a:extLst>
              <a:ext uri="{FF2B5EF4-FFF2-40B4-BE49-F238E27FC236}">
                <a16:creationId xmlns:a16="http://schemas.microsoft.com/office/drawing/2014/main" id="{79533791-52F7-40F6-B230-7BF6C505CCD6}"/>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3" name="Datumsplatzhalter 2">
            <a:extLst>
              <a:ext uri="{FF2B5EF4-FFF2-40B4-BE49-F238E27FC236}">
                <a16:creationId xmlns:a16="http://schemas.microsoft.com/office/drawing/2014/main" id="{DE68A0C5-BEED-4BC5-ACD5-3F28EDE19EE3}"/>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B35EA781-4C22-4390-A03C-CA5DCCB7A2B1}"/>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6FE694A4-07AC-48C4-A560-162C1F4ECD49}"/>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16" name="Textplatzhalter 14">
            <a:extLst>
              <a:ext uri="{FF2B5EF4-FFF2-40B4-BE49-F238E27FC236}">
                <a16:creationId xmlns:a16="http://schemas.microsoft.com/office/drawing/2014/main" id="{2A6B27A0-0449-46AE-A770-EBB281A1A953}"/>
              </a:ext>
            </a:extLst>
          </p:cNvPr>
          <p:cNvSpPr>
            <a:spLocks noGrp="1"/>
          </p:cNvSpPr>
          <p:nvPr>
            <p:ph type="body" sz="quarter" idx="17" hasCustomPrompt="1"/>
          </p:nvPr>
        </p:nvSpPr>
        <p:spPr>
          <a:xfrm>
            <a:off x="1712346"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17" name="Textplatzhalter 14">
            <a:extLst>
              <a:ext uri="{FF2B5EF4-FFF2-40B4-BE49-F238E27FC236}">
                <a16:creationId xmlns:a16="http://schemas.microsoft.com/office/drawing/2014/main" id="{1E70DE9B-2CDE-44B6-9307-FC12D873CA40}"/>
              </a:ext>
            </a:extLst>
          </p:cNvPr>
          <p:cNvSpPr>
            <a:spLocks noGrp="1"/>
          </p:cNvSpPr>
          <p:nvPr>
            <p:ph type="body" sz="quarter" idx="18" hasCustomPrompt="1"/>
          </p:nvPr>
        </p:nvSpPr>
        <p:spPr>
          <a:xfrm>
            <a:off x="2501761"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18" name="Textplatzhalter 14">
            <a:extLst>
              <a:ext uri="{FF2B5EF4-FFF2-40B4-BE49-F238E27FC236}">
                <a16:creationId xmlns:a16="http://schemas.microsoft.com/office/drawing/2014/main" id="{123B5183-98F9-43BF-BE37-2AE0A049EA8B}"/>
              </a:ext>
            </a:extLst>
          </p:cNvPr>
          <p:cNvSpPr>
            <a:spLocks noGrp="1"/>
          </p:cNvSpPr>
          <p:nvPr>
            <p:ph type="body" sz="quarter" idx="19" hasCustomPrompt="1"/>
          </p:nvPr>
        </p:nvSpPr>
        <p:spPr>
          <a:xfrm>
            <a:off x="3291176"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19" name="Textplatzhalter 14">
            <a:extLst>
              <a:ext uri="{FF2B5EF4-FFF2-40B4-BE49-F238E27FC236}">
                <a16:creationId xmlns:a16="http://schemas.microsoft.com/office/drawing/2014/main" id="{49DAB7F1-F6E7-4F92-B252-D9B81196A3A9}"/>
              </a:ext>
            </a:extLst>
          </p:cNvPr>
          <p:cNvSpPr>
            <a:spLocks noGrp="1"/>
          </p:cNvSpPr>
          <p:nvPr>
            <p:ph type="body" sz="quarter" idx="20" hasCustomPrompt="1"/>
          </p:nvPr>
        </p:nvSpPr>
        <p:spPr>
          <a:xfrm>
            <a:off x="4080591"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0" name="Textplatzhalter 14">
            <a:extLst>
              <a:ext uri="{FF2B5EF4-FFF2-40B4-BE49-F238E27FC236}">
                <a16:creationId xmlns:a16="http://schemas.microsoft.com/office/drawing/2014/main" id="{4037F0E4-C57B-4033-B973-C69A03D97024}"/>
              </a:ext>
            </a:extLst>
          </p:cNvPr>
          <p:cNvSpPr>
            <a:spLocks noGrp="1"/>
          </p:cNvSpPr>
          <p:nvPr>
            <p:ph type="body" sz="quarter" idx="21" hasCustomPrompt="1"/>
          </p:nvPr>
        </p:nvSpPr>
        <p:spPr>
          <a:xfrm>
            <a:off x="4810807" y="3170170"/>
            <a:ext cx="61531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1" name="Textplatzhalter 14">
            <a:extLst>
              <a:ext uri="{FF2B5EF4-FFF2-40B4-BE49-F238E27FC236}">
                <a16:creationId xmlns:a16="http://schemas.microsoft.com/office/drawing/2014/main" id="{85DAD742-736F-42D3-99FC-6046CF57A7A3}"/>
              </a:ext>
            </a:extLst>
          </p:cNvPr>
          <p:cNvSpPr>
            <a:spLocks noGrp="1"/>
          </p:cNvSpPr>
          <p:nvPr>
            <p:ph type="body" sz="quarter" idx="22" hasCustomPrompt="1"/>
          </p:nvPr>
        </p:nvSpPr>
        <p:spPr>
          <a:xfrm>
            <a:off x="5659421"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2" name="Textplatzhalter 14">
            <a:extLst>
              <a:ext uri="{FF2B5EF4-FFF2-40B4-BE49-F238E27FC236}">
                <a16:creationId xmlns:a16="http://schemas.microsoft.com/office/drawing/2014/main" id="{53EC6732-F61D-431C-88C9-BAA5039B6BB6}"/>
              </a:ext>
            </a:extLst>
          </p:cNvPr>
          <p:cNvSpPr>
            <a:spLocks noGrp="1"/>
          </p:cNvSpPr>
          <p:nvPr>
            <p:ph type="body" sz="quarter" idx="23" hasCustomPrompt="1"/>
          </p:nvPr>
        </p:nvSpPr>
        <p:spPr>
          <a:xfrm>
            <a:off x="6448836"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3" name="Textplatzhalter 14">
            <a:extLst>
              <a:ext uri="{FF2B5EF4-FFF2-40B4-BE49-F238E27FC236}">
                <a16:creationId xmlns:a16="http://schemas.microsoft.com/office/drawing/2014/main" id="{B8218F9A-C149-4D30-8437-B9D8C0DAF1D1}"/>
              </a:ext>
            </a:extLst>
          </p:cNvPr>
          <p:cNvSpPr>
            <a:spLocks noGrp="1"/>
          </p:cNvSpPr>
          <p:nvPr>
            <p:ph type="body" sz="quarter" idx="24" hasCustomPrompt="1"/>
          </p:nvPr>
        </p:nvSpPr>
        <p:spPr>
          <a:xfrm>
            <a:off x="7238251"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4" name="Textplatzhalter 14">
            <a:extLst>
              <a:ext uri="{FF2B5EF4-FFF2-40B4-BE49-F238E27FC236}">
                <a16:creationId xmlns:a16="http://schemas.microsoft.com/office/drawing/2014/main" id="{BCA166BB-F293-4289-B0EB-57580EC9608B}"/>
              </a:ext>
            </a:extLst>
          </p:cNvPr>
          <p:cNvSpPr>
            <a:spLocks noGrp="1"/>
          </p:cNvSpPr>
          <p:nvPr>
            <p:ph type="body" sz="quarter" idx="25" hasCustomPrompt="1"/>
          </p:nvPr>
        </p:nvSpPr>
        <p:spPr>
          <a:xfrm>
            <a:off x="8027666"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5" name="Textplatzhalter 14">
            <a:extLst>
              <a:ext uri="{FF2B5EF4-FFF2-40B4-BE49-F238E27FC236}">
                <a16:creationId xmlns:a16="http://schemas.microsoft.com/office/drawing/2014/main" id="{77397369-CCB5-450E-8FD1-46B3B54F6B89}"/>
              </a:ext>
            </a:extLst>
          </p:cNvPr>
          <p:cNvSpPr>
            <a:spLocks noGrp="1"/>
          </p:cNvSpPr>
          <p:nvPr>
            <p:ph type="body" sz="quarter" idx="26" hasCustomPrompt="1"/>
          </p:nvPr>
        </p:nvSpPr>
        <p:spPr>
          <a:xfrm>
            <a:off x="8817081"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6" name="Textplatzhalter 14">
            <a:extLst>
              <a:ext uri="{FF2B5EF4-FFF2-40B4-BE49-F238E27FC236}">
                <a16:creationId xmlns:a16="http://schemas.microsoft.com/office/drawing/2014/main" id="{78252082-BCF2-4955-B695-35F48EF76FD9}"/>
              </a:ext>
            </a:extLst>
          </p:cNvPr>
          <p:cNvSpPr>
            <a:spLocks noGrp="1"/>
          </p:cNvSpPr>
          <p:nvPr>
            <p:ph type="body" sz="quarter" idx="27" hasCustomPrompt="1"/>
          </p:nvPr>
        </p:nvSpPr>
        <p:spPr>
          <a:xfrm>
            <a:off x="9606496"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7" name="Textplatzhalter 14">
            <a:extLst>
              <a:ext uri="{FF2B5EF4-FFF2-40B4-BE49-F238E27FC236}">
                <a16:creationId xmlns:a16="http://schemas.microsoft.com/office/drawing/2014/main" id="{AF998D11-3FAA-4712-8C34-404C1BDCECBD}"/>
              </a:ext>
            </a:extLst>
          </p:cNvPr>
          <p:cNvSpPr>
            <a:spLocks noGrp="1"/>
          </p:cNvSpPr>
          <p:nvPr>
            <p:ph type="body" sz="quarter" idx="28" hasCustomPrompt="1"/>
          </p:nvPr>
        </p:nvSpPr>
        <p:spPr>
          <a:xfrm>
            <a:off x="10395907"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8" name="Textplatzhalter 14">
            <a:extLst>
              <a:ext uri="{FF2B5EF4-FFF2-40B4-BE49-F238E27FC236}">
                <a16:creationId xmlns:a16="http://schemas.microsoft.com/office/drawing/2014/main" id="{2AA33C54-3898-452E-979F-F1B5853E737C}"/>
              </a:ext>
            </a:extLst>
          </p:cNvPr>
          <p:cNvSpPr>
            <a:spLocks noGrp="1"/>
          </p:cNvSpPr>
          <p:nvPr>
            <p:ph type="body" sz="quarter" idx="29" hasCustomPrompt="1"/>
          </p:nvPr>
        </p:nvSpPr>
        <p:spPr>
          <a:xfrm>
            <a:off x="1712346"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9" name="Textplatzhalter 14">
            <a:extLst>
              <a:ext uri="{FF2B5EF4-FFF2-40B4-BE49-F238E27FC236}">
                <a16:creationId xmlns:a16="http://schemas.microsoft.com/office/drawing/2014/main" id="{0569AA0A-65D1-4456-9A14-327E6CE6DF6A}"/>
              </a:ext>
            </a:extLst>
          </p:cNvPr>
          <p:cNvSpPr>
            <a:spLocks noGrp="1"/>
          </p:cNvSpPr>
          <p:nvPr>
            <p:ph type="body" sz="quarter" idx="30" hasCustomPrompt="1"/>
          </p:nvPr>
        </p:nvSpPr>
        <p:spPr>
          <a:xfrm>
            <a:off x="2501761"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0" name="Textplatzhalter 14">
            <a:extLst>
              <a:ext uri="{FF2B5EF4-FFF2-40B4-BE49-F238E27FC236}">
                <a16:creationId xmlns:a16="http://schemas.microsoft.com/office/drawing/2014/main" id="{028EB91C-9303-4EB3-886A-E5DA884A80FD}"/>
              </a:ext>
            </a:extLst>
          </p:cNvPr>
          <p:cNvSpPr>
            <a:spLocks noGrp="1"/>
          </p:cNvSpPr>
          <p:nvPr>
            <p:ph type="body" sz="quarter" idx="31" hasCustomPrompt="1"/>
          </p:nvPr>
        </p:nvSpPr>
        <p:spPr>
          <a:xfrm>
            <a:off x="3291176"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1" name="Textplatzhalter 14">
            <a:extLst>
              <a:ext uri="{FF2B5EF4-FFF2-40B4-BE49-F238E27FC236}">
                <a16:creationId xmlns:a16="http://schemas.microsoft.com/office/drawing/2014/main" id="{4A47908B-3F69-4786-9C40-C12392133F05}"/>
              </a:ext>
            </a:extLst>
          </p:cNvPr>
          <p:cNvSpPr>
            <a:spLocks noGrp="1"/>
          </p:cNvSpPr>
          <p:nvPr>
            <p:ph type="body" sz="quarter" idx="32" hasCustomPrompt="1"/>
          </p:nvPr>
        </p:nvSpPr>
        <p:spPr>
          <a:xfrm>
            <a:off x="4080591"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2" name="Textplatzhalter 14">
            <a:extLst>
              <a:ext uri="{FF2B5EF4-FFF2-40B4-BE49-F238E27FC236}">
                <a16:creationId xmlns:a16="http://schemas.microsoft.com/office/drawing/2014/main" id="{378EEBEC-FDBD-4D14-ADCA-4C72B269E993}"/>
              </a:ext>
            </a:extLst>
          </p:cNvPr>
          <p:cNvSpPr>
            <a:spLocks noGrp="1"/>
          </p:cNvSpPr>
          <p:nvPr>
            <p:ph type="body" sz="quarter" idx="33" hasCustomPrompt="1"/>
          </p:nvPr>
        </p:nvSpPr>
        <p:spPr>
          <a:xfrm>
            <a:off x="4810807" y="4871997"/>
            <a:ext cx="61531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3" name="Textplatzhalter 14">
            <a:extLst>
              <a:ext uri="{FF2B5EF4-FFF2-40B4-BE49-F238E27FC236}">
                <a16:creationId xmlns:a16="http://schemas.microsoft.com/office/drawing/2014/main" id="{044989A5-8040-43C0-BE05-6A79C3BE6378}"/>
              </a:ext>
            </a:extLst>
          </p:cNvPr>
          <p:cNvSpPr>
            <a:spLocks noGrp="1"/>
          </p:cNvSpPr>
          <p:nvPr>
            <p:ph type="body" sz="quarter" idx="34" hasCustomPrompt="1"/>
          </p:nvPr>
        </p:nvSpPr>
        <p:spPr>
          <a:xfrm>
            <a:off x="5659421"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4" name="Textplatzhalter 14">
            <a:extLst>
              <a:ext uri="{FF2B5EF4-FFF2-40B4-BE49-F238E27FC236}">
                <a16:creationId xmlns:a16="http://schemas.microsoft.com/office/drawing/2014/main" id="{52581A3A-F479-4780-81BE-CCBCF398141A}"/>
              </a:ext>
            </a:extLst>
          </p:cNvPr>
          <p:cNvSpPr>
            <a:spLocks noGrp="1"/>
          </p:cNvSpPr>
          <p:nvPr>
            <p:ph type="body" sz="quarter" idx="35" hasCustomPrompt="1"/>
          </p:nvPr>
        </p:nvSpPr>
        <p:spPr>
          <a:xfrm>
            <a:off x="6448836"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5" name="Textplatzhalter 14">
            <a:extLst>
              <a:ext uri="{FF2B5EF4-FFF2-40B4-BE49-F238E27FC236}">
                <a16:creationId xmlns:a16="http://schemas.microsoft.com/office/drawing/2014/main" id="{3D361DBA-153A-4846-BDA4-CC63FF94744D}"/>
              </a:ext>
            </a:extLst>
          </p:cNvPr>
          <p:cNvSpPr>
            <a:spLocks noGrp="1"/>
          </p:cNvSpPr>
          <p:nvPr>
            <p:ph type="body" sz="quarter" idx="36" hasCustomPrompt="1"/>
          </p:nvPr>
        </p:nvSpPr>
        <p:spPr>
          <a:xfrm>
            <a:off x="7238251"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6" name="Textplatzhalter 14">
            <a:extLst>
              <a:ext uri="{FF2B5EF4-FFF2-40B4-BE49-F238E27FC236}">
                <a16:creationId xmlns:a16="http://schemas.microsoft.com/office/drawing/2014/main" id="{78FB324E-EE00-4CC5-9F81-5EF71F305031}"/>
              </a:ext>
            </a:extLst>
          </p:cNvPr>
          <p:cNvSpPr>
            <a:spLocks noGrp="1"/>
          </p:cNvSpPr>
          <p:nvPr>
            <p:ph type="body" sz="quarter" idx="37" hasCustomPrompt="1"/>
          </p:nvPr>
        </p:nvSpPr>
        <p:spPr>
          <a:xfrm>
            <a:off x="8027666"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7" name="Textplatzhalter 14">
            <a:extLst>
              <a:ext uri="{FF2B5EF4-FFF2-40B4-BE49-F238E27FC236}">
                <a16:creationId xmlns:a16="http://schemas.microsoft.com/office/drawing/2014/main" id="{78AA454F-F92D-4844-92A6-A3FEDD88B302}"/>
              </a:ext>
            </a:extLst>
          </p:cNvPr>
          <p:cNvSpPr>
            <a:spLocks noGrp="1"/>
          </p:cNvSpPr>
          <p:nvPr>
            <p:ph type="body" sz="quarter" idx="38" hasCustomPrompt="1"/>
          </p:nvPr>
        </p:nvSpPr>
        <p:spPr>
          <a:xfrm>
            <a:off x="8817081"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8" name="Textplatzhalter 14">
            <a:extLst>
              <a:ext uri="{FF2B5EF4-FFF2-40B4-BE49-F238E27FC236}">
                <a16:creationId xmlns:a16="http://schemas.microsoft.com/office/drawing/2014/main" id="{651BCA7B-5BF4-4A0F-95C1-2014315E80B1}"/>
              </a:ext>
            </a:extLst>
          </p:cNvPr>
          <p:cNvSpPr>
            <a:spLocks noGrp="1"/>
          </p:cNvSpPr>
          <p:nvPr>
            <p:ph type="body" sz="quarter" idx="39" hasCustomPrompt="1"/>
          </p:nvPr>
        </p:nvSpPr>
        <p:spPr>
          <a:xfrm>
            <a:off x="9606496"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9" name="Textplatzhalter 14">
            <a:extLst>
              <a:ext uri="{FF2B5EF4-FFF2-40B4-BE49-F238E27FC236}">
                <a16:creationId xmlns:a16="http://schemas.microsoft.com/office/drawing/2014/main" id="{7E3F41F1-0E06-45ED-894F-7F38510C2728}"/>
              </a:ext>
            </a:extLst>
          </p:cNvPr>
          <p:cNvSpPr>
            <a:spLocks noGrp="1"/>
          </p:cNvSpPr>
          <p:nvPr>
            <p:ph type="body" sz="quarter" idx="40" hasCustomPrompt="1"/>
          </p:nvPr>
        </p:nvSpPr>
        <p:spPr>
          <a:xfrm>
            <a:off x="10395907"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52" name="Textplatzhalter 14">
            <a:extLst>
              <a:ext uri="{FF2B5EF4-FFF2-40B4-BE49-F238E27FC236}">
                <a16:creationId xmlns:a16="http://schemas.microsoft.com/office/drawing/2014/main" id="{C02572F8-1812-49D5-B24A-088659DE9FC7}"/>
              </a:ext>
            </a:extLst>
          </p:cNvPr>
          <p:cNvSpPr>
            <a:spLocks noGrp="1"/>
          </p:cNvSpPr>
          <p:nvPr>
            <p:ph type="body" sz="quarter" idx="41" hasCustomPrompt="1"/>
          </p:nvPr>
        </p:nvSpPr>
        <p:spPr>
          <a:xfrm>
            <a:off x="653772" y="2763180"/>
            <a:ext cx="1021001" cy="501726"/>
          </a:xfrm>
          <a:prstGeom prst="rect">
            <a:avLst/>
          </a:prstGeom>
        </p:spPr>
        <p:txBody>
          <a:bodyPr rtlCol="0" anchor="ctr">
            <a:noAutofit/>
          </a:bodyPr>
          <a:lstStyle>
            <a:lvl1pPr marL="0" indent="0" algn="ctr">
              <a:buNone/>
              <a:defRPr sz="1600" b="1" cap="all" spc="100" baseline="0">
                <a:solidFill>
                  <a:schemeClr val="bg1"/>
                </a:solidFill>
                <a:latin typeface="Arial" panose="020B0604020202020204" pitchFamily="34" charset="0"/>
                <a:cs typeface="Arial" panose="020B0604020202020204" pitchFamily="34" charset="0"/>
              </a:defRPr>
            </a:lvl1pPr>
          </a:lstStyle>
          <a:p>
            <a:pPr lvl="0" rtl="0"/>
            <a:r>
              <a:rPr lang="de-DE" noProof="0"/>
              <a:t>Jahr hinzufügen</a:t>
            </a:r>
          </a:p>
        </p:txBody>
      </p:sp>
      <p:sp>
        <p:nvSpPr>
          <p:cNvPr id="53" name="Textplatzhalter 14">
            <a:extLst>
              <a:ext uri="{FF2B5EF4-FFF2-40B4-BE49-F238E27FC236}">
                <a16:creationId xmlns:a16="http://schemas.microsoft.com/office/drawing/2014/main" id="{453EA1A1-A67D-4132-9EA0-584E8FA796C3}"/>
              </a:ext>
            </a:extLst>
          </p:cNvPr>
          <p:cNvSpPr>
            <a:spLocks noGrp="1"/>
          </p:cNvSpPr>
          <p:nvPr>
            <p:ph type="body" sz="quarter" idx="42" hasCustomPrompt="1"/>
          </p:nvPr>
        </p:nvSpPr>
        <p:spPr>
          <a:xfrm>
            <a:off x="653772" y="4449967"/>
            <a:ext cx="1021001" cy="501726"/>
          </a:xfrm>
          <a:prstGeom prst="rect">
            <a:avLst/>
          </a:prstGeom>
        </p:spPr>
        <p:txBody>
          <a:bodyPr rtlCol="0" anchor="ctr">
            <a:noAutofit/>
          </a:bodyPr>
          <a:lstStyle>
            <a:lvl1pPr marL="0" indent="0" algn="ctr">
              <a:buNone/>
              <a:defRPr sz="1600" b="1" cap="all" spc="100" baseline="0">
                <a:solidFill>
                  <a:schemeClr val="bg1"/>
                </a:solidFill>
                <a:latin typeface="Arial" panose="020B0604020202020204" pitchFamily="34" charset="0"/>
                <a:cs typeface="Arial" panose="020B0604020202020204" pitchFamily="34" charset="0"/>
              </a:defRPr>
            </a:lvl1pPr>
          </a:lstStyle>
          <a:p>
            <a:pPr lvl="0" rtl="0"/>
            <a:r>
              <a:rPr lang="de-DE" noProof="0"/>
              <a:t>Jahr hinzufügen</a:t>
            </a:r>
          </a:p>
        </p:txBody>
      </p:sp>
      <p:sp>
        <p:nvSpPr>
          <p:cNvPr id="54" name="Textplatzhalter 14">
            <a:extLst>
              <a:ext uri="{FF2B5EF4-FFF2-40B4-BE49-F238E27FC236}">
                <a16:creationId xmlns:a16="http://schemas.microsoft.com/office/drawing/2014/main" id="{658BFCC4-C261-4874-8195-FDA3C5001E05}"/>
              </a:ext>
            </a:extLst>
          </p:cNvPr>
          <p:cNvSpPr>
            <a:spLocks noGrp="1"/>
          </p:cNvSpPr>
          <p:nvPr>
            <p:ph type="body" sz="quarter" idx="43" hasCustomPrompt="1"/>
          </p:nvPr>
        </p:nvSpPr>
        <p:spPr>
          <a:xfrm>
            <a:off x="2029367" y="2071320"/>
            <a:ext cx="1440088" cy="598827"/>
          </a:xfrm>
          <a:prstGeom prst="rect">
            <a:avLst/>
          </a:prstGeom>
        </p:spPr>
        <p:txBody>
          <a:bodyPr rtlCol="0" anchor="b"/>
          <a:lstStyle>
            <a:lvl1pPr marL="0" indent="0" algn="ctr">
              <a:lnSpc>
                <a:spcPct val="100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55" name="Textplatzhalter 14">
            <a:extLst>
              <a:ext uri="{FF2B5EF4-FFF2-40B4-BE49-F238E27FC236}">
                <a16:creationId xmlns:a16="http://schemas.microsoft.com/office/drawing/2014/main" id="{158708C7-ABA0-43E5-BB89-A1B7B2C45233}"/>
              </a:ext>
            </a:extLst>
          </p:cNvPr>
          <p:cNvSpPr>
            <a:spLocks noGrp="1"/>
          </p:cNvSpPr>
          <p:nvPr>
            <p:ph type="body" sz="quarter" idx="44" hasCustomPrompt="1"/>
          </p:nvPr>
        </p:nvSpPr>
        <p:spPr>
          <a:xfrm>
            <a:off x="4397612" y="2071320"/>
            <a:ext cx="1440088" cy="598827"/>
          </a:xfrm>
          <a:prstGeom prst="rect">
            <a:avLst/>
          </a:prstGeom>
        </p:spPr>
        <p:txBody>
          <a:bodyPr rtlCol="0" anchor="b"/>
          <a:lstStyle>
            <a:lvl1pPr marL="0" indent="0" algn="ctr">
              <a:lnSpc>
                <a:spcPct val="100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56" name="Textplatzhalter 14">
            <a:extLst>
              <a:ext uri="{FF2B5EF4-FFF2-40B4-BE49-F238E27FC236}">
                <a16:creationId xmlns:a16="http://schemas.microsoft.com/office/drawing/2014/main" id="{2AE59213-95B1-4597-AD8C-D55D96D561EA}"/>
              </a:ext>
            </a:extLst>
          </p:cNvPr>
          <p:cNvSpPr>
            <a:spLocks noGrp="1"/>
          </p:cNvSpPr>
          <p:nvPr>
            <p:ph type="body" sz="quarter" idx="45" hasCustomPrompt="1"/>
          </p:nvPr>
        </p:nvSpPr>
        <p:spPr>
          <a:xfrm>
            <a:off x="8344687" y="2071320"/>
            <a:ext cx="1440088" cy="598827"/>
          </a:xfrm>
          <a:prstGeom prst="rect">
            <a:avLst/>
          </a:prstGeom>
        </p:spPr>
        <p:txBody>
          <a:bodyPr rtlCol="0" anchor="b"/>
          <a:lstStyle>
            <a:lvl1pPr marL="0" indent="0" algn="ctr">
              <a:lnSpc>
                <a:spcPct val="100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57" name="Textplatzhalter 14">
            <a:extLst>
              <a:ext uri="{FF2B5EF4-FFF2-40B4-BE49-F238E27FC236}">
                <a16:creationId xmlns:a16="http://schemas.microsoft.com/office/drawing/2014/main" id="{2B9A460E-592F-41EA-9F9C-8953AFAC2236}"/>
              </a:ext>
            </a:extLst>
          </p:cNvPr>
          <p:cNvSpPr>
            <a:spLocks noGrp="1"/>
          </p:cNvSpPr>
          <p:nvPr>
            <p:ph type="body" sz="quarter" idx="46" hasCustomPrompt="1"/>
          </p:nvPr>
        </p:nvSpPr>
        <p:spPr>
          <a:xfrm>
            <a:off x="2029367" y="3862599"/>
            <a:ext cx="1440088" cy="549318"/>
          </a:xfrm>
          <a:prstGeom prst="rect">
            <a:avLst/>
          </a:prstGeom>
        </p:spPr>
        <p:txBody>
          <a:bodyPr rtlCol="0" anchor="b"/>
          <a:lstStyle>
            <a:lvl1pPr marL="0" indent="0" algn="ctr">
              <a:lnSpc>
                <a:spcPct val="100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58" name="Textplatzhalter 14">
            <a:extLst>
              <a:ext uri="{FF2B5EF4-FFF2-40B4-BE49-F238E27FC236}">
                <a16:creationId xmlns:a16="http://schemas.microsoft.com/office/drawing/2014/main" id="{3065B3A8-F99B-47E6-B517-D93AC0FC4501}"/>
              </a:ext>
            </a:extLst>
          </p:cNvPr>
          <p:cNvSpPr>
            <a:spLocks noGrp="1"/>
          </p:cNvSpPr>
          <p:nvPr>
            <p:ph type="body" sz="quarter" idx="47" hasCustomPrompt="1"/>
          </p:nvPr>
        </p:nvSpPr>
        <p:spPr>
          <a:xfrm>
            <a:off x="5976442" y="3862599"/>
            <a:ext cx="1440088" cy="549318"/>
          </a:xfrm>
          <a:prstGeom prst="rect">
            <a:avLst/>
          </a:prstGeom>
        </p:spPr>
        <p:txBody>
          <a:bodyPr rtlCol="0" anchor="b"/>
          <a:lstStyle>
            <a:lvl1pPr marL="0" indent="0" algn="ctr">
              <a:lnSpc>
                <a:spcPct val="100000"/>
              </a:lnSpc>
              <a:spcBef>
                <a:spcPts val="0"/>
              </a:spcBef>
              <a:buNone/>
              <a:defRPr sz="1400" b="1" cap="none" spc="100" baseline="0">
                <a:solidFill>
                  <a:schemeClr val="accent6"/>
                </a:solidFill>
                <a:latin typeface="+mn-lt"/>
              </a:defRPr>
            </a:lvl1pPr>
          </a:lstStyle>
          <a:p>
            <a:pPr lvl="0" rtl="0"/>
            <a:r>
              <a:rPr lang="de-DE" noProof="0"/>
              <a:t>Klicken Sie, um Text hinzuzufügen.</a:t>
            </a:r>
          </a:p>
        </p:txBody>
      </p:sp>
      <p:sp>
        <p:nvSpPr>
          <p:cNvPr id="59" name="Textplatzhalter 14">
            <a:extLst>
              <a:ext uri="{FF2B5EF4-FFF2-40B4-BE49-F238E27FC236}">
                <a16:creationId xmlns:a16="http://schemas.microsoft.com/office/drawing/2014/main" id="{B2187073-BC0A-4137-A204-D35C44CD7F87}"/>
              </a:ext>
            </a:extLst>
          </p:cNvPr>
          <p:cNvSpPr>
            <a:spLocks noGrp="1"/>
          </p:cNvSpPr>
          <p:nvPr>
            <p:ph type="body" sz="quarter" idx="48" hasCustomPrompt="1"/>
          </p:nvPr>
        </p:nvSpPr>
        <p:spPr>
          <a:xfrm>
            <a:off x="9923517" y="3862599"/>
            <a:ext cx="1440088" cy="549318"/>
          </a:xfrm>
          <a:prstGeom prst="rect">
            <a:avLst/>
          </a:prstGeom>
        </p:spPr>
        <p:txBody>
          <a:bodyPr rtlCol="0" anchor="b"/>
          <a:lstStyle>
            <a:lvl1pPr marL="0" indent="0" algn="ctr">
              <a:lnSpc>
                <a:spcPct val="100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40" name="Titel 1">
            <a:extLst>
              <a:ext uri="{FF2B5EF4-FFF2-40B4-BE49-F238E27FC236}">
                <a16:creationId xmlns:a16="http://schemas.microsoft.com/office/drawing/2014/main" id="{35F35AF6-FBA2-4CA2-8A1F-2C977E6C9754}"/>
              </a:ext>
            </a:extLst>
          </p:cNvPr>
          <p:cNvSpPr>
            <a:spLocks noGrp="1"/>
          </p:cNvSpPr>
          <p:nvPr>
            <p:ph type="title" hasCustomPrompt="1"/>
          </p:nvPr>
        </p:nvSpPr>
        <p:spPr>
          <a:xfrm>
            <a:off x="2451534" y="989042"/>
            <a:ext cx="7287768" cy="630936"/>
          </a:xfrm>
        </p:spPr>
        <p:txBody>
          <a:bodyPr rtlCol="0" anchor="t">
            <a:noAutofit/>
          </a:bodyPr>
          <a:lstStyle>
            <a:lvl1pPr algn="ctr">
              <a:lnSpc>
                <a:spcPct val="125000"/>
              </a:lnSpc>
              <a:defRPr sz="2800">
                <a:ln w="19050">
                  <a:solidFill>
                    <a:schemeClr val="bg1"/>
                  </a:solidFill>
                </a:ln>
              </a:defRPr>
            </a:lvl1pPr>
          </a:lstStyle>
          <a:p>
            <a:pPr rtl="0"/>
            <a:r>
              <a:rPr lang="de-DE" noProof="0"/>
              <a:t>Titel durch Klicken hinzufügen</a:t>
            </a:r>
          </a:p>
        </p:txBody>
      </p:sp>
    </p:spTree>
    <p:extLst>
      <p:ext uri="{BB962C8B-B14F-4D97-AF65-F5344CB8AC3E}">
        <p14:creationId xmlns:p14="http://schemas.microsoft.com/office/powerpoint/2010/main" val="35944575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Warna Defaul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2048920-9721-4E24-87C4-896214D56757}"/>
              </a:ext>
            </a:extLst>
          </p:cNvPr>
          <p:cNvSpPr>
            <a:spLocks noGrp="1"/>
          </p:cNvSpPr>
          <p:nvPr>
            <p:ph type="ftr" sz="quarter" idx="11"/>
          </p:nvPr>
        </p:nvSpPr>
        <p:spPr/>
        <p:txBody>
          <a:bodyPr/>
          <a:lstStyle>
            <a:lvl1pPr>
              <a:defRPr/>
            </a:lvl1pPr>
          </a:lstStyle>
          <a:p>
            <a:r>
              <a:rPr lang="en-US"/>
              <a:t>Designed by WarnaSlides.com</a:t>
            </a:r>
            <a:endParaRPr lang="en-US" dirty="0"/>
          </a:p>
        </p:txBody>
      </p:sp>
      <p:sp>
        <p:nvSpPr>
          <p:cNvPr id="4" name="Date Placeholder 3">
            <a:extLst>
              <a:ext uri="{FF2B5EF4-FFF2-40B4-BE49-F238E27FC236}">
                <a16:creationId xmlns:a16="http://schemas.microsoft.com/office/drawing/2014/main" id="{27DBD66A-2458-429A-A421-DEA49854D7A1}"/>
              </a:ext>
            </a:extLst>
          </p:cNvPr>
          <p:cNvSpPr>
            <a:spLocks noGrp="1"/>
          </p:cNvSpPr>
          <p:nvPr>
            <p:ph type="dt" sz="half" idx="10"/>
          </p:nvPr>
        </p:nvSpPr>
        <p:spPr/>
        <p:txBody>
          <a:bodyPr/>
          <a:lstStyle/>
          <a:p>
            <a:fld id="{C4C21EA5-ED9F-4B82-BE5F-B9C572151DC0}" type="datetime2">
              <a:rPr lang="en-US" smtClean="0"/>
              <a:t>Sunday, October 1, 2023</a:t>
            </a:fld>
            <a:endParaRPr lang="en-US"/>
          </a:p>
        </p:txBody>
      </p:sp>
      <p:sp>
        <p:nvSpPr>
          <p:cNvPr id="6" name="Slide Number Placeholder 5">
            <a:extLst>
              <a:ext uri="{FF2B5EF4-FFF2-40B4-BE49-F238E27FC236}">
                <a16:creationId xmlns:a16="http://schemas.microsoft.com/office/drawing/2014/main" id="{7EA2695B-1744-40B1-AE08-2DE2CA22CF4B}"/>
              </a:ext>
            </a:extLst>
          </p:cNvPr>
          <p:cNvSpPr>
            <a:spLocks noGrp="1"/>
          </p:cNvSpPr>
          <p:nvPr>
            <p:ph type="sldNum" sz="quarter" idx="12"/>
          </p:nvPr>
        </p:nvSpPr>
        <p:spPr/>
        <p:txBody>
          <a:bodyPr/>
          <a:lstStyle/>
          <a:p>
            <a:fld id="{5C538340-CA81-42BB-8122-3AF8BFD3329A}" type="slidenum">
              <a:rPr lang="en-US" smtClean="0"/>
              <a:t>‹Nr.›</a:t>
            </a:fld>
            <a:endParaRPr lang="en-US"/>
          </a:p>
        </p:txBody>
      </p:sp>
    </p:spTree>
    <p:extLst>
      <p:ext uri="{BB962C8B-B14F-4D97-AF65-F5344CB8AC3E}">
        <p14:creationId xmlns:p14="http://schemas.microsoft.com/office/powerpoint/2010/main" val="34475184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inanzen">
    <p:spTree>
      <p:nvGrpSpPr>
        <p:cNvPr id="1" name=""/>
        <p:cNvGrpSpPr/>
        <p:nvPr/>
      </p:nvGrpSpPr>
      <p:grpSpPr>
        <a:xfrm>
          <a:off x="0" y="0"/>
          <a:ext cx="0" cy="0"/>
          <a:chOff x="0" y="0"/>
          <a:chExt cx="0" cy="0"/>
        </a:xfrm>
      </p:grpSpPr>
      <p:pic>
        <p:nvPicPr>
          <p:cNvPr id="2" name="Bild 1">
            <a:extLst>
              <a:ext uri="{FF2B5EF4-FFF2-40B4-BE49-F238E27FC236}">
                <a16:creationId xmlns:a16="http://schemas.microsoft.com/office/drawing/2014/main" id="{75C89BE0-E34D-48FA-8ED2-CA69BFBC4FB6}"/>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3" name="Bildplatzhalter 7">
            <a:extLst>
              <a:ext uri="{FF2B5EF4-FFF2-40B4-BE49-F238E27FC236}">
                <a16:creationId xmlns:a16="http://schemas.microsoft.com/office/drawing/2014/main" id="{AB20A778-FBFD-4ED2-8E9B-6645F59A4D16}"/>
              </a:ext>
            </a:extLst>
          </p:cNvPr>
          <p:cNvSpPr>
            <a:spLocks noGrp="1"/>
          </p:cNvSpPr>
          <p:nvPr>
            <p:ph type="pic" sz="quarter" idx="14" hasCustomPrompt="1"/>
          </p:nvPr>
        </p:nvSpPr>
        <p:spPr>
          <a:xfrm>
            <a:off x="7179732" y="0"/>
            <a:ext cx="5012268" cy="6867376"/>
          </a:xfrm>
        </p:spPr>
        <p:txBody>
          <a:bodyPr rtlCol="0"/>
          <a:lstStyle>
            <a:lvl1pPr marL="0" indent="0" algn="ctr">
              <a:buNone/>
              <a:defRPr>
                <a:solidFill>
                  <a:schemeClr val="bg1"/>
                </a:solidFill>
              </a:defRPr>
            </a:lvl1pPr>
          </a:lstStyle>
          <a:p>
            <a:pPr rtl="0"/>
            <a:r>
              <a:rPr lang="de-DE" noProof="0"/>
              <a:t>Zum Hinzufügen eines Fotos klicken</a:t>
            </a:r>
          </a:p>
        </p:txBody>
      </p:sp>
      <p:sp>
        <p:nvSpPr>
          <p:cNvPr id="8" name="Bildplatzhalter 7">
            <a:extLst>
              <a:ext uri="{FF2B5EF4-FFF2-40B4-BE49-F238E27FC236}">
                <a16:creationId xmlns:a16="http://schemas.microsoft.com/office/drawing/2014/main" id="{3B12CF59-4802-4969-8645-8E2014DF0AB6}"/>
              </a:ext>
            </a:extLst>
          </p:cNvPr>
          <p:cNvSpPr>
            <a:spLocks noGrp="1"/>
          </p:cNvSpPr>
          <p:nvPr>
            <p:ph type="pic" sz="quarter" idx="13" hasCustomPrompt="1"/>
          </p:nvPr>
        </p:nvSpPr>
        <p:spPr>
          <a:xfrm>
            <a:off x="7179732" y="0"/>
            <a:ext cx="5012267" cy="6867376"/>
          </a:xfrm>
        </p:spPr>
        <p:txBody>
          <a:bodyPr rtlCol="0"/>
          <a:lstStyle>
            <a:lvl1pPr marL="0" indent="0" algn="ctr">
              <a:buNone/>
              <a:defRPr>
                <a:solidFill>
                  <a:schemeClr val="bg1"/>
                </a:solidFill>
              </a:defRPr>
            </a:lvl1pPr>
          </a:lstStyle>
          <a:p>
            <a:pPr rtl="0"/>
            <a:r>
              <a:rPr lang="de-DE" noProof="0"/>
              <a:t>Zum Hinzufügen eines Fotos klicken</a:t>
            </a:r>
          </a:p>
        </p:txBody>
      </p:sp>
      <p:sp>
        <p:nvSpPr>
          <p:cNvPr id="3" name="Datumsplatzhalter 2">
            <a:extLst>
              <a:ext uri="{FF2B5EF4-FFF2-40B4-BE49-F238E27FC236}">
                <a16:creationId xmlns:a16="http://schemas.microsoft.com/office/drawing/2014/main" id="{523CB959-A5D6-4887-9B77-916F0EA10660}"/>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E8C0AFFF-66EA-44D7-828D-244A190B13B2}"/>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4D589006-A738-42A2-B328-34F70A778A89}"/>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11" name="Titel 1">
            <a:extLst>
              <a:ext uri="{FF2B5EF4-FFF2-40B4-BE49-F238E27FC236}">
                <a16:creationId xmlns:a16="http://schemas.microsoft.com/office/drawing/2014/main" id="{473E75D8-7274-49D2-8CF2-0E990C29CCA7}"/>
              </a:ext>
            </a:extLst>
          </p:cNvPr>
          <p:cNvSpPr>
            <a:spLocks noGrp="1"/>
          </p:cNvSpPr>
          <p:nvPr>
            <p:ph type="title" hasCustomPrompt="1"/>
          </p:nvPr>
        </p:nvSpPr>
        <p:spPr>
          <a:xfrm>
            <a:off x="793750" y="715939"/>
            <a:ext cx="4864608" cy="365760"/>
          </a:xfrm>
        </p:spPr>
        <p:txBody>
          <a:bodyPr rtlCol="0" anchor="t">
            <a:noAutofit/>
          </a:bodyPr>
          <a:lstStyle>
            <a:lvl1pPr>
              <a:defRPr sz="2800">
                <a:ln w="19050">
                  <a:solidFill>
                    <a:schemeClr val="bg1"/>
                  </a:solidFill>
                </a:ln>
              </a:defRPr>
            </a:lvl1pPr>
          </a:lstStyle>
          <a:p>
            <a:pPr rtl="0"/>
            <a:r>
              <a:rPr lang="de-DE" noProof="0"/>
              <a:t>Titel durch Klicken hinzufügen</a:t>
            </a:r>
          </a:p>
        </p:txBody>
      </p:sp>
      <p:sp>
        <p:nvSpPr>
          <p:cNvPr id="6" name="Inhaltsplatzhalter 5">
            <a:extLst>
              <a:ext uri="{FF2B5EF4-FFF2-40B4-BE49-F238E27FC236}">
                <a16:creationId xmlns:a16="http://schemas.microsoft.com/office/drawing/2014/main" id="{28591683-9C5C-45D2-A241-FC48B66B50DB}"/>
              </a:ext>
            </a:extLst>
          </p:cNvPr>
          <p:cNvSpPr>
            <a:spLocks noGrp="1"/>
          </p:cNvSpPr>
          <p:nvPr>
            <p:ph sz="quarter" idx="15" hasCustomPrompt="1"/>
          </p:nvPr>
        </p:nvSpPr>
        <p:spPr>
          <a:xfrm>
            <a:off x="793750" y="1238250"/>
            <a:ext cx="5422392" cy="4590288"/>
          </a:xfrm>
        </p:spPr>
        <p:txBody>
          <a:bodyPr rtlCol="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rtl="0"/>
            <a:r>
              <a:rPr lang="de-DE" noProof="0"/>
              <a:t>Textmasterformat durch Klicken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Tree>
    <p:extLst>
      <p:ext uri="{BB962C8B-B14F-4D97-AF65-F5344CB8AC3E}">
        <p14:creationId xmlns:p14="http://schemas.microsoft.com/office/powerpoint/2010/main" val="3445693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as Team in Person">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39293AB-35CB-4344-A710-9C0BF396AEA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3" name="Datumsplatzhalter 2">
            <a:extLst>
              <a:ext uri="{FF2B5EF4-FFF2-40B4-BE49-F238E27FC236}">
                <a16:creationId xmlns:a16="http://schemas.microsoft.com/office/drawing/2014/main" id="{AE5B5434-FC37-4DD2-AA81-6499AA6FB246}"/>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E8DC474A-5DF9-4EA3-A273-CA3941061639}"/>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DF6B1742-3B51-4EFC-8A04-CD872DE4EC37}"/>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9" name="Rechteck 8">
            <a:extLst>
              <a:ext uri="{FF2B5EF4-FFF2-40B4-BE49-F238E27FC236}">
                <a16:creationId xmlns:a16="http://schemas.microsoft.com/office/drawing/2014/main" id="{425C06A4-0C2D-4746-83C3-410A9B469E89}"/>
              </a:ext>
            </a:extLst>
          </p:cNvPr>
          <p:cNvSpPr/>
          <p:nvPr userDrawn="1"/>
        </p:nvSpPr>
        <p:spPr>
          <a:xfrm>
            <a:off x="739302" y="739302"/>
            <a:ext cx="10713396" cy="5379396"/>
          </a:xfrm>
          <a:prstGeom prst="rect">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13" name="Bildplatzhalter 9">
            <a:extLst>
              <a:ext uri="{FF2B5EF4-FFF2-40B4-BE49-F238E27FC236}">
                <a16:creationId xmlns:a16="http://schemas.microsoft.com/office/drawing/2014/main" id="{890CF5DC-D21B-4DF3-8248-1F809124AD98}"/>
              </a:ext>
            </a:extLst>
          </p:cNvPr>
          <p:cNvSpPr>
            <a:spLocks noGrp="1"/>
          </p:cNvSpPr>
          <p:nvPr>
            <p:ph type="pic" sz="quarter" idx="15" hasCustomPrompt="1"/>
          </p:nvPr>
        </p:nvSpPr>
        <p:spPr>
          <a:xfrm>
            <a:off x="1803737" y="2804053"/>
            <a:ext cx="1487419" cy="1498417"/>
          </a:xfrm>
          <a:prstGeom prst="rect">
            <a:avLst/>
          </a:prstGeom>
        </p:spPr>
        <p:txBody>
          <a:bodyPr rtlCol="0"/>
          <a:lstStyle>
            <a:lvl1pPr marL="0" indent="0" algn="ctr">
              <a:buNone/>
              <a:defRPr/>
            </a:lvl1pPr>
          </a:lstStyle>
          <a:p>
            <a:pPr rtl="0"/>
            <a:r>
              <a:rPr lang="de-DE" noProof="0"/>
              <a:t>Zum Hinzufügen eines Fotos klicken</a:t>
            </a:r>
          </a:p>
        </p:txBody>
      </p:sp>
      <p:sp>
        <p:nvSpPr>
          <p:cNvPr id="14" name="Textplatzhalter 10">
            <a:extLst>
              <a:ext uri="{FF2B5EF4-FFF2-40B4-BE49-F238E27FC236}">
                <a16:creationId xmlns:a16="http://schemas.microsoft.com/office/drawing/2014/main" id="{BEE26967-C0C7-4310-90FC-F1914D2403E8}"/>
              </a:ext>
            </a:extLst>
          </p:cNvPr>
          <p:cNvSpPr>
            <a:spLocks noGrp="1"/>
          </p:cNvSpPr>
          <p:nvPr>
            <p:ph type="body" sz="quarter" idx="18" hasCustomPrompt="1"/>
          </p:nvPr>
        </p:nvSpPr>
        <p:spPr>
          <a:xfrm>
            <a:off x="1488239" y="4570546"/>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15" name="Textplatzhalter 10">
            <a:extLst>
              <a:ext uri="{FF2B5EF4-FFF2-40B4-BE49-F238E27FC236}">
                <a16:creationId xmlns:a16="http://schemas.microsoft.com/office/drawing/2014/main" id="{3CA187B6-5AE8-4D11-8E79-63677F474D26}"/>
              </a:ext>
            </a:extLst>
          </p:cNvPr>
          <p:cNvSpPr>
            <a:spLocks noGrp="1"/>
          </p:cNvSpPr>
          <p:nvPr>
            <p:ph type="body" sz="quarter" idx="19" hasCustomPrompt="1"/>
          </p:nvPr>
        </p:nvSpPr>
        <p:spPr>
          <a:xfrm>
            <a:off x="1488239" y="4886780"/>
            <a:ext cx="2118414" cy="53139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16" name="Bildplatzhalter 9">
            <a:extLst>
              <a:ext uri="{FF2B5EF4-FFF2-40B4-BE49-F238E27FC236}">
                <a16:creationId xmlns:a16="http://schemas.microsoft.com/office/drawing/2014/main" id="{A72BAC04-D935-470E-B6B5-E9CCE70D11F4}"/>
              </a:ext>
            </a:extLst>
          </p:cNvPr>
          <p:cNvSpPr>
            <a:spLocks noGrp="1"/>
          </p:cNvSpPr>
          <p:nvPr>
            <p:ph type="pic" sz="quarter" idx="20" hasCustomPrompt="1"/>
          </p:nvPr>
        </p:nvSpPr>
        <p:spPr>
          <a:xfrm>
            <a:off x="4175961" y="2804053"/>
            <a:ext cx="1487419" cy="1498417"/>
          </a:xfrm>
          <a:prstGeom prst="rect">
            <a:avLst/>
          </a:prstGeom>
        </p:spPr>
        <p:txBody>
          <a:bodyPr rtlCol="0"/>
          <a:lstStyle>
            <a:lvl1pPr marL="0" indent="0" algn="ctr">
              <a:buNone/>
              <a:defRPr/>
            </a:lvl1pPr>
          </a:lstStyle>
          <a:p>
            <a:pPr rtl="0"/>
            <a:r>
              <a:rPr lang="de-DE" noProof="0"/>
              <a:t>Zum Hinzufügen eines Fotos klicken</a:t>
            </a:r>
          </a:p>
        </p:txBody>
      </p:sp>
      <p:sp>
        <p:nvSpPr>
          <p:cNvPr id="17" name="Bildplatzhalter 9">
            <a:extLst>
              <a:ext uri="{FF2B5EF4-FFF2-40B4-BE49-F238E27FC236}">
                <a16:creationId xmlns:a16="http://schemas.microsoft.com/office/drawing/2014/main" id="{456256DC-B113-4559-8D0B-3F8B4A7CAB2B}"/>
              </a:ext>
            </a:extLst>
          </p:cNvPr>
          <p:cNvSpPr>
            <a:spLocks noGrp="1"/>
          </p:cNvSpPr>
          <p:nvPr>
            <p:ph type="pic" sz="quarter" idx="21" hasCustomPrompt="1"/>
          </p:nvPr>
        </p:nvSpPr>
        <p:spPr>
          <a:xfrm>
            <a:off x="6548185" y="2804053"/>
            <a:ext cx="1487419" cy="1498417"/>
          </a:xfrm>
          <a:prstGeom prst="rect">
            <a:avLst/>
          </a:prstGeom>
        </p:spPr>
        <p:txBody>
          <a:bodyPr rtlCol="0"/>
          <a:lstStyle>
            <a:lvl1pPr marL="0" indent="0" algn="ctr">
              <a:buNone/>
              <a:defRPr/>
            </a:lvl1pPr>
          </a:lstStyle>
          <a:p>
            <a:pPr rtl="0"/>
            <a:r>
              <a:rPr lang="de-DE" noProof="0"/>
              <a:t>Zum Hinzufügen eines Fotos klicken</a:t>
            </a:r>
          </a:p>
        </p:txBody>
      </p:sp>
      <p:sp>
        <p:nvSpPr>
          <p:cNvPr id="18" name="Bildplatzhalter 9">
            <a:extLst>
              <a:ext uri="{FF2B5EF4-FFF2-40B4-BE49-F238E27FC236}">
                <a16:creationId xmlns:a16="http://schemas.microsoft.com/office/drawing/2014/main" id="{E60A063A-DD07-4E82-9217-A8AD06D7C94F}"/>
              </a:ext>
            </a:extLst>
          </p:cNvPr>
          <p:cNvSpPr>
            <a:spLocks noGrp="1"/>
          </p:cNvSpPr>
          <p:nvPr>
            <p:ph type="pic" sz="quarter" idx="22" hasCustomPrompt="1"/>
          </p:nvPr>
        </p:nvSpPr>
        <p:spPr>
          <a:xfrm>
            <a:off x="8920409" y="2804053"/>
            <a:ext cx="1487419" cy="1498417"/>
          </a:xfrm>
          <a:prstGeom prst="rect">
            <a:avLst/>
          </a:prstGeom>
        </p:spPr>
        <p:txBody>
          <a:bodyPr rtlCol="0"/>
          <a:lstStyle>
            <a:lvl1pPr marL="0" indent="0" algn="ctr">
              <a:buNone/>
              <a:defRPr/>
            </a:lvl1pPr>
          </a:lstStyle>
          <a:p>
            <a:pPr rtl="0"/>
            <a:r>
              <a:rPr lang="de-DE" noProof="0"/>
              <a:t>Zum Hinzufügen eines Fotos klicken</a:t>
            </a:r>
          </a:p>
        </p:txBody>
      </p:sp>
      <p:sp>
        <p:nvSpPr>
          <p:cNvPr id="19" name="Textplatzhalter 10">
            <a:extLst>
              <a:ext uri="{FF2B5EF4-FFF2-40B4-BE49-F238E27FC236}">
                <a16:creationId xmlns:a16="http://schemas.microsoft.com/office/drawing/2014/main" id="{4194B9ED-C9B7-4850-B875-B179F9A6ADC4}"/>
              </a:ext>
            </a:extLst>
          </p:cNvPr>
          <p:cNvSpPr>
            <a:spLocks noGrp="1"/>
          </p:cNvSpPr>
          <p:nvPr>
            <p:ph type="body" sz="quarter" idx="23" hasCustomPrompt="1"/>
          </p:nvPr>
        </p:nvSpPr>
        <p:spPr>
          <a:xfrm>
            <a:off x="3860463" y="4570546"/>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20" name="Textplatzhalter 10">
            <a:extLst>
              <a:ext uri="{FF2B5EF4-FFF2-40B4-BE49-F238E27FC236}">
                <a16:creationId xmlns:a16="http://schemas.microsoft.com/office/drawing/2014/main" id="{DBB00C57-7DE2-436D-8748-527515EE4A6A}"/>
              </a:ext>
            </a:extLst>
          </p:cNvPr>
          <p:cNvSpPr>
            <a:spLocks noGrp="1"/>
          </p:cNvSpPr>
          <p:nvPr>
            <p:ph type="body" sz="quarter" idx="24" hasCustomPrompt="1"/>
          </p:nvPr>
        </p:nvSpPr>
        <p:spPr>
          <a:xfrm>
            <a:off x="3860463" y="4886780"/>
            <a:ext cx="2118414" cy="53139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21" name="Textplatzhalter 10">
            <a:extLst>
              <a:ext uri="{FF2B5EF4-FFF2-40B4-BE49-F238E27FC236}">
                <a16:creationId xmlns:a16="http://schemas.microsoft.com/office/drawing/2014/main" id="{D6503F18-AEB2-4183-8F37-6BE4BBD66EE2}"/>
              </a:ext>
            </a:extLst>
          </p:cNvPr>
          <p:cNvSpPr>
            <a:spLocks noGrp="1"/>
          </p:cNvSpPr>
          <p:nvPr>
            <p:ph type="body" sz="quarter" idx="25" hasCustomPrompt="1"/>
          </p:nvPr>
        </p:nvSpPr>
        <p:spPr>
          <a:xfrm>
            <a:off x="6232687" y="4570546"/>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22" name="Textplatzhalter 10">
            <a:extLst>
              <a:ext uri="{FF2B5EF4-FFF2-40B4-BE49-F238E27FC236}">
                <a16:creationId xmlns:a16="http://schemas.microsoft.com/office/drawing/2014/main" id="{D01AC31E-901A-4C34-A8AE-71C303E07F53}"/>
              </a:ext>
            </a:extLst>
          </p:cNvPr>
          <p:cNvSpPr>
            <a:spLocks noGrp="1"/>
          </p:cNvSpPr>
          <p:nvPr>
            <p:ph type="body" sz="quarter" idx="26" hasCustomPrompt="1"/>
          </p:nvPr>
        </p:nvSpPr>
        <p:spPr>
          <a:xfrm>
            <a:off x="6232687" y="4886780"/>
            <a:ext cx="2118414" cy="53139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23" name="Textplatzhalter 10">
            <a:extLst>
              <a:ext uri="{FF2B5EF4-FFF2-40B4-BE49-F238E27FC236}">
                <a16:creationId xmlns:a16="http://schemas.microsoft.com/office/drawing/2014/main" id="{F113CB6D-E397-418B-8738-D96E553ADD2F}"/>
              </a:ext>
            </a:extLst>
          </p:cNvPr>
          <p:cNvSpPr>
            <a:spLocks noGrp="1"/>
          </p:cNvSpPr>
          <p:nvPr>
            <p:ph type="body" sz="quarter" idx="27" hasCustomPrompt="1"/>
          </p:nvPr>
        </p:nvSpPr>
        <p:spPr>
          <a:xfrm>
            <a:off x="8604911" y="4570546"/>
            <a:ext cx="2118415"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24" name="Textplatzhalter 10">
            <a:extLst>
              <a:ext uri="{FF2B5EF4-FFF2-40B4-BE49-F238E27FC236}">
                <a16:creationId xmlns:a16="http://schemas.microsoft.com/office/drawing/2014/main" id="{63EA5C1A-BB92-4C5E-BB99-A85B0B0FC499}"/>
              </a:ext>
            </a:extLst>
          </p:cNvPr>
          <p:cNvSpPr>
            <a:spLocks noGrp="1"/>
          </p:cNvSpPr>
          <p:nvPr>
            <p:ph type="body" sz="quarter" idx="28" hasCustomPrompt="1"/>
          </p:nvPr>
        </p:nvSpPr>
        <p:spPr>
          <a:xfrm>
            <a:off x="8604911" y="4886780"/>
            <a:ext cx="2118415" cy="53139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26" name="Rechteck 25">
            <a:extLst>
              <a:ext uri="{FF2B5EF4-FFF2-40B4-BE49-F238E27FC236}">
                <a16:creationId xmlns:a16="http://schemas.microsoft.com/office/drawing/2014/main" id="{90E93D6C-0CD6-42A7-A2D2-C8582F7B353C}"/>
              </a:ext>
            </a:extLst>
          </p:cNvPr>
          <p:cNvSpPr/>
          <p:nvPr userDrawn="1"/>
        </p:nvSpPr>
        <p:spPr>
          <a:xfrm>
            <a:off x="1686323" y="2684612"/>
            <a:ext cx="1722246" cy="1737299"/>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28" name="Rechteck 27">
            <a:extLst>
              <a:ext uri="{FF2B5EF4-FFF2-40B4-BE49-F238E27FC236}">
                <a16:creationId xmlns:a16="http://schemas.microsoft.com/office/drawing/2014/main" id="{B7D0FDBA-5294-4730-92D6-440AA8DE35AE}"/>
              </a:ext>
            </a:extLst>
          </p:cNvPr>
          <p:cNvSpPr/>
          <p:nvPr userDrawn="1"/>
        </p:nvSpPr>
        <p:spPr>
          <a:xfrm>
            <a:off x="4058547" y="2684612"/>
            <a:ext cx="1722246" cy="1737299"/>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30" name="Rechteck 29">
            <a:extLst>
              <a:ext uri="{FF2B5EF4-FFF2-40B4-BE49-F238E27FC236}">
                <a16:creationId xmlns:a16="http://schemas.microsoft.com/office/drawing/2014/main" id="{E8E75564-AD04-4406-979E-AC0A8BE2AEFD}"/>
              </a:ext>
            </a:extLst>
          </p:cNvPr>
          <p:cNvSpPr/>
          <p:nvPr userDrawn="1"/>
        </p:nvSpPr>
        <p:spPr>
          <a:xfrm>
            <a:off x="6430771" y="2684612"/>
            <a:ext cx="1722246" cy="1737299"/>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32" name="Rechteck 31">
            <a:extLst>
              <a:ext uri="{FF2B5EF4-FFF2-40B4-BE49-F238E27FC236}">
                <a16:creationId xmlns:a16="http://schemas.microsoft.com/office/drawing/2014/main" id="{0E7899F8-DBAB-4DCC-857C-94A3CF0FE542}"/>
              </a:ext>
            </a:extLst>
          </p:cNvPr>
          <p:cNvSpPr/>
          <p:nvPr userDrawn="1"/>
        </p:nvSpPr>
        <p:spPr>
          <a:xfrm>
            <a:off x="8802995" y="2684612"/>
            <a:ext cx="1722246" cy="1737299"/>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2" name="Titel 1">
            <a:extLst>
              <a:ext uri="{FF2B5EF4-FFF2-40B4-BE49-F238E27FC236}">
                <a16:creationId xmlns:a16="http://schemas.microsoft.com/office/drawing/2014/main" id="{8B41C8F6-B68C-4B34-A1EC-848B6301BE02}"/>
              </a:ext>
            </a:extLst>
          </p:cNvPr>
          <p:cNvSpPr>
            <a:spLocks noGrp="1"/>
          </p:cNvSpPr>
          <p:nvPr>
            <p:ph type="title" hasCustomPrompt="1"/>
          </p:nvPr>
        </p:nvSpPr>
        <p:spPr>
          <a:xfrm>
            <a:off x="2452698" y="1566777"/>
            <a:ext cx="7286604" cy="634323"/>
          </a:xfrm>
        </p:spPr>
        <p:txBody>
          <a:bodyPr rtlCol="0" anchor="t">
            <a:normAutofit/>
          </a:bodyPr>
          <a:lstStyle>
            <a:lvl1pPr algn="ctr">
              <a:lnSpc>
                <a:spcPct val="125000"/>
              </a:lnSpc>
              <a:defRPr sz="2800"/>
            </a:lvl1pPr>
          </a:lstStyle>
          <a:p>
            <a:pPr rtl="0"/>
            <a:r>
              <a:rPr lang="de-DE" noProof="0"/>
              <a:t>Titel durch Klicken hinzufügen</a:t>
            </a:r>
          </a:p>
        </p:txBody>
      </p:sp>
    </p:spTree>
    <p:extLst>
      <p:ext uri="{BB962C8B-B14F-4D97-AF65-F5344CB8AC3E}">
        <p14:creationId xmlns:p14="http://schemas.microsoft.com/office/powerpoint/2010/main" val="24135115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as gesamte Team">
    <p:spTree>
      <p:nvGrpSpPr>
        <p:cNvPr id="1" name=""/>
        <p:cNvGrpSpPr/>
        <p:nvPr/>
      </p:nvGrpSpPr>
      <p:grpSpPr>
        <a:xfrm>
          <a:off x="0" y="0"/>
          <a:ext cx="0" cy="0"/>
          <a:chOff x="0" y="0"/>
          <a:chExt cx="0" cy="0"/>
        </a:xfrm>
      </p:grpSpPr>
      <p:pic>
        <p:nvPicPr>
          <p:cNvPr id="2" name="Bild 1">
            <a:extLst>
              <a:ext uri="{FF2B5EF4-FFF2-40B4-BE49-F238E27FC236}">
                <a16:creationId xmlns:a16="http://schemas.microsoft.com/office/drawing/2014/main" id="{B6B7C369-B3B1-47DB-AFB5-4A2FA0A0469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3" name="Datumsplatzhalter 2">
            <a:extLst>
              <a:ext uri="{FF2B5EF4-FFF2-40B4-BE49-F238E27FC236}">
                <a16:creationId xmlns:a16="http://schemas.microsoft.com/office/drawing/2014/main" id="{26EDB6E9-4285-4C1C-9752-2D43D60780B6}"/>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B52EDB06-237E-4E77-B217-FD0E19A41086}"/>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A0BACDA0-CD42-4B14-A524-FF6FF7E28A6A}"/>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11" name="Rechteck 10">
            <a:extLst>
              <a:ext uri="{FF2B5EF4-FFF2-40B4-BE49-F238E27FC236}">
                <a16:creationId xmlns:a16="http://schemas.microsoft.com/office/drawing/2014/main" id="{C8C5DE79-8AB4-425F-A9CB-B17901806732}"/>
              </a:ext>
            </a:extLst>
          </p:cNvPr>
          <p:cNvSpPr/>
          <p:nvPr userDrawn="1"/>
        </p:nvSpPr>
        <p:spPr>
          <a:xfrm>
            <a:off x="739302" y="739302"/>
            <a:ext cx="10713396" cy="5379396"/>
          </a:xfrm>
          <a:prstGeom prst="rect">
            <a:avLst/>
          </a:prstGeom>
          <a:solidFill>
            <a:schemeClr val="bg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31" name="Textplatzhalter 10">
            <a:extLst>
              <a:ext uri="{FF2B5EF4-FFF2-40B4-BE49-F238E27FC236}">
                <a16:creationId xmlns:a16="http://schemas.microsoft.com/office/drawing/2014/main" id="{A8FDD580-B69C-4AF1-9C0C-1CF94ECEB278}"/>
              </a:ext>
            </a:extLst>
          </p:cNvPr>
          <p:cNvSpPr>
            <a:spLocks noGrp="1"/>
          </p:cNvSpPr>
          <p:nvPr>
            <p:ph type="body" sz="quarter" idx="18" hasCustomPrompt="1"/>
          </p:nvPr>
        </p:nvSpPr>
        <p:spPr>
          <a:xfrm>
            <a:off x="1418477" y="5098599"/>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32" name="Textplatzhalter 10">
            <a:extLst>
              <a:ext uri="{FF2B5EF4-FFF2-40B4-BE49-F238E27FC236}">
                <a16:creationId xmlns:a16="http://schemas.microsoft.com/office/drawing/2014/main" id="{7A72E08F-5B05-415B-A503-4CED86D11FE1}"/>
              </a:ext>
            </a:extLst>
          </p:cNvPr>
          <p:cNvSpPr>
            <a:spLocks noGrp="1"/>
          </p:cNvSpPr>
          <p:nvPr>
            <p:ph type="body" sz="quarter" idx="19" hasCustomPrompt="1"/>
          </p:nvPr>
        </p:nvSpPr>
        <p:spPr>
          <a:xfrm>
            <a:off x="1418477" y="5414833"/>
            <a:ext cx="2118414" cy="33211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36" name="Textplatzhalter 10">
            <a:extLst>
              <a:ext uri="{FF2B5EF4-FFF2-40B4-BE49-F238E27FC236}">
                <a16:creationId xmlns:a16="http://schemas.microsoft.com/office/drawing/2014/main" id="{02D7BE41-1227-4D94-AC6E-F4D007491740}"/>
              </a:ext>
            </a:extLst>
          </p:cNvPr>
          <p:cNvSpPr>
            <a:spLocks noGrp="1"/>
          </p:cNvSpPr>
          <p:nvPr>
            <p:ph type="body" sz="quarter" idx="23" hasCustomPrompt="1"/>
          </p:nvPr>
        </p:nvSpPr>
        <p:spPr>
          <a:xfrm>
            <a:off x="3839016" y="5098599"/>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37" name="Textplatzhalter 10">
            <a:extLst>
              <a:ext uri="{FF2B5EF4-FFF2-40B4-BE49-F238E27FC236}">
                <a16:creationId xmlns:a16="http://schemas.microsoft.com/office/drawing/2014/main" id="{C7E8138A-A795-4EF2-B1FF-1A36693A3593}"/>
              </a:ext>
            </a:extLst>
          </p:cNvPr>
          <p:cNvSpPr>
            <a:spLocks noGrp="1"/>
          </p:cNvSpPr>
          <p:nvPr>
            <p:ph type="body" sz="quarter" idx="24" hasCustomPrompt="1"/>
          </p:nvPr>
        </p:nvSpPr>
        <p:spPr>
          <a:xfrm>
            <a:off x="3839016" y="5414833"/>
            <a:ext cx="2118414" cy="33211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38" name="Textplatzhalter 10">
            <a:extLst>
              <a:ext uri="{FF2B5EF4-FFF2-40B4-BE49-F238E27FC236}">
                <a16:creationId xmlns:a16="http://schemas.microsoft.com/office/drawing/2014/main" id="{77F66B66-F2E4-439A-A7DF-A9A64B0DF7BB}"/>
              </a:ext>
            </a:extLst>
          </p:cNvPr>
          <p:cNvSpPr>
            <a:spLocks noGrp="1"/>
          </p:cNvSpPr>
          <p:nvPr>
            <p:ph type="body" sz="quarter" idx="25" hasCustomPrompt="1"/>
          </p:nvPr>
        </p:nvSpPr>
        <p:spPr>
          <a:xfrm>
            <a:off x="6259555" y="5098599"/>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39" name="Textplatzhalter 10">
            <a:extLst>
              <a:ext uri="{FF2B5EF4-FFF2-40B4-BE49-F238E27FC236}">
                <a16:creationId xmlns:a16="http://schemas.microsoft.com/office/drawing/2014/main" id="{13CDFA66-0739-48E3-97B6-F63F13A0A838}"/>
              </a:ext>
            </a:extLst>
          </p:cNvPr>
          <p:cNvSpPr>
            <a:spLocks noGrp="1"/>
          </p:cNvSpPr>
          <p:nvPr>
            <p:ph type="body" sz="quarter" idx="26" hasCustomPrompt="1"/>
          </p:nvPr>
        </p:nvSpPr>
        <p:spPr>
          <a:xfrm>
            <a:off x="6259555" y="5414833"/>
            <a:ext cx="2118414" cy="33211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40" name="Textplatzhalter 10">
            <a:extLst>
              <a:ext uri="{FF2B5EF4-FFF2-40B4-BE49-F238E27FC236}">
                <a16:creationId xmlns:a16="http://schemas.microsoft.com/office/drawing/2014/main" id="{B4EE4B66-F80E-45BB-B2FE-CC11E1FBAF24}"/>
              </a:ext>
            </a:extLst>
          </p:cNvPr>
          <p:cNvSpPr>
            <a:spLocks noGrp="1"/>
          </p:cNvSpPr>
          <p:nvPr>
            <p:ph type="body" sz="quarter" idx="27" hasCustomPrompt="1"/>
          </p:nvPr>
        </p:nvSpPr>
        <p:spPr>
          <a:xfrm>
            <a:off x="8680094" y="5098599"/>
            <a:ext cx="2118415"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41" name="Textplatzhalter 10">
            <a:extLst>
              <a:ext uri="{FF2B5EF4-FFF2-40B4-BE49-F238E27FC236}">
                <a16:creationId xmlns:a16="http://schemas.microsoft.com/office/drawing/2014/main" id="{51F734C1-F867-4FB6-A239-D99ED9E4C54D}"/>
              </a:ext>
            </a:extLst>
          </p:cNvPr>
          <p:cNvSpPr>
            <a:spLocks noGrp="1"/>
          </p:cNvSpPr>
          <p:nvPr>
            <p:ph type="body" sz="quarter" idx="28" hasCustomPrompt="1"/>
          </p:nvPr>
        </p:nvSpPr>
        <p:spPr>
          <a:xfrm>
            <a:off x="8680094" y="5414833"/>
            <a:ext cx="2118415" cy="33211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62" name="Bildplatzhalter 9">
            <a:extLst>
              <a:ext uri="{FF2B5EF4-FFF2-40B4-BE49-F238E27FC236}">
                <a16:creationId xmlns:a16="http://schemas.microsoft.com/office/drawing/2014/main" id="{11E88FD1-69BB-4254-81B8-7B383CE8D2D0}"/>
              </a:ext>
            </a:extLst>
          </p:cNvPr>
          <p:cNvSpPr>
            <a:spLocks noGrp="1"/>
          </p:cNvSpPr>
          <p:nvPr>
            <p:ph type="pic" sz="quarter" idx="29" hasCustomPrompt="1"/>
          </p:nvPr>
        </p:nvSpPr>
        <p:spPr>
          <a:xfrm>
            <a:off x="2002390" y="2327255"/>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63" name="Textplatzhalter 10">
            <a:extLst>
              <a:ext uri="{FF2B5EF4-FFF2-40B4-BE49-F238E27FC236}">
                <a16:creationId xmlns:a16="http://schemas.microsoft.com/office/drawing/2014/main" id="{E6EBB7F2-ABDB-41F2-8A6B-93196276ABF5}"/>
              </a:ext>
            </a:extLst>
          </p:cNvPr>
          <p:cNvSpPr>
            <a:spLocks noGrp="1"/>
          </p:cNvSpPr>
          <p:nvPr>
            <p:ph type="body" sz="quarter" idx="30" hasCustomPrompt="1"/>
          </p:nvPr>
        </p:nvSpPr>
        <p:spPr>
          <a:xfrm>
            <a:off x="1418477" y="3263610"/>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64" name="Textplatzhalter 10">
            <a:extLst>
              <a:ext uri="{FF2B5EF4-FFF2-40B4-BE49-F238E27FC236}">
                <a16:creationId xmlns:a16="http://schemas.microsoft.com/office/drawing/2014/main" id="{4D66759F-DBAD-46B4-929C-18F2FB541B00}"/>
              </a:ext>
            </a:extLst>
          </p:cNvPr>
          <p:cNvSpPr>
            <a:spLocks noGrp="1"/>
          </p:cNvSpPr>
          <p:nvPr>
            <p:ph type="body" sz="quarter" idx="31" hasCustomPrompt="1"/>
          </p:nvPr>
        </p:nvSpPr>
        <p:spPr>
          <a:xfrm>
            <a:off x="1418477" y="3579845"/>
            <a:ext cx="2118414" cy="390545"/>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68" name="Textplatzhalter 10">
            <a:extLst>
              <a:ext uri="{FF2B5EF4-FFF2-40B4-BE49-F238E27FC236}">
                <a16:creationId xmlns:a16="http://schemas.microsoft.com/office/drawing/2014/main" id="{07D90C20-BFF7-4D04-AD95-1861DF74509F}"/>
              </a:ext>
            </a:extLst>
          </p:cNvPr>
          <p:cNvSpPr>
            <a:spLocks noGrp="1"/>
          </p:cNvSpPr>
          <p:nvPr>
            <p:ph type="body" sz="quarter" idx="35" hasCustomPrompt="1"/>
          </p:nvPr>
        </p:nvSpPr>
        <p:spPr>
          <a:xfrm>
            <a:off x="3839016" y="3263610"/>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69" name="Textplatzhalter 10">
            <a:extLst>
              <a:ext uri="{FF2B5EF4-FFF2-40B4-BE49-F238E27FC236}">
                <a16:creationId xmlns:a16="http://schemas.microsoft.com/office/drawing/2014/main" id="{EF54F366-5FD7-4707-A0E3-FAFA53156C29}"/>
              </a:ext>
            </a:extLst>
          </p:cNvPr>
          <p:cNvSpPr>
            <a:spLocks noGrp="1"/>
          </p:cNvSpPr>
          <p:nvPr>
            <p:ph type="body" sz="quarter" idx="36" hasCustomPrompt="1"/>
          </p:nvPr>
        </p:nvSpPr>
        <p:spPr>
          <a:xfrm>
            <a:off x="3839016" y="3579845"/>
            <a:ext cx="2118414" cy="390545"/>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70" name="Textplatzhalter 10">
            <a:extLst>
              <a:ext uri="{FF2B5EF4-FFF2-40B4-BE49-F238E27FC236}">
                <a16:creationId xmlns:a16="http://schemas.microsoft.com/office/drawing/2014/main" id="{A51158F4-509A-44E4-A601-2CD7AEDE7380}"/>
              </a:ext>
            </a:extLst>
          </p:cNvPr>
          <p:cNvSpPr>
            <a:spLocks noGrp="1"/>
          </p:cNvSpPr>
          <p:nvPr>
            <p:ph type="body" sz="quarter" idx="37" hasCustomPrompt="1"/>
          </p:nvPr>
        </p:nvSpPr>
        <p:spPr>
          <a:xfrm>
            <a:off x="6259555" y="3263610"/>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71" name="Textplatzhalter 10">
            <a:extLst>
              <a:ext uri="{FF2B5EF4-FFF2-40B4-BE49-F238E27FC236}">
                <a16:creationId xmlns:a16="http://schemas.microsoft.com/office/drawing/2014/main" id="{DA9AC8DA-4C66-4D66-9075-59DC95E2AC33}"/>
              </a:ext>
            </a:extLst>
          </p:cNvPr>
          <p:cNvSpPr>
            <a:spLocks noGrp="1"/>
          </p:cNvSpPr>
          <p:nvPr>
            <p:ph type="body" sz="quarter" idx="38" hasCustomPrompt="1"/>
          </p:nvPr>
        </p:nvSpPr>
        <p:spPr>
          <a:xfrm>
            <a:off x="6259555" y="3579845"/>
            <a:ext cx="2118414" cy="390545"/>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72" name="Textplatzhalter 10">
            <a:extLst>
              <a:ext uri="{FF2B5EF4-FFF2-40B4-BE49-F238E27FC236}">
                <a16:creationId xmlns:a16="http://schemas.microsoft.com/office/drawing/2014/main" id="{F3A598D9-D412-4C15-A31C-3A4842B32E1F}"/>
              </a:ext>
            </a:extLst>
          </p:cNvPr>
          <p:cNvSpPr>
            <a:spLocks noGrp="1"/>
          </p:cNvSpPr>
          <p:nvPr>
            <p:ph type="body" sz="quarter" idx="39" hasCustomPrompt="1"/>
          </p:nvPr>
        </p:nvSpPr>
        <p:spPr>
          <a:xfrm>
            <a:off x="8680094" y="3263610"/>
            <a:ext cx="2118415"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73" name="Textplatzhalter 10">
            <a:extLst>
              <a:ext uri="{FF2B5EF4-FFF2-40B4-BE49-F238E27FC236}">
                <a16:creationId xmlns:a16="http://schemas.microsoft.com/office/drawing/2014/main" id="{14A0A9AD-40F7-4203-917C-8BFBF4FCF2C0}"/>
              </a:ext>
            </a:extLst>
          </p:cNvPr>
          <p:cNvSpPr>
            <a:spLocks noGrp="1"/>
          </p:cNvSpPr>
          <p:nvPr>
            <p:ph type="body" sz="quarter" idx="40" hasCustomPrompt="1"/>
          </p:nvPr>
        </p:nvSpPr>
        <p:spPr>
          <a:xfrm>
            <a:off x="8680094" y="3579845"/>
            <a:ext cx="2118415" cy="390545"/>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74" name="Rechteck 73">
            <a:extLst>
              <a:ext uri="{FF2B5EF4-FFF2-40B4-BE49-F238E27FC236}">
                <a16:creationId xmlns:a16="http://schemas.microsoft.com/office/drawing/2014/main" id="{129E220D-4268-4E0B-B292-D87F92DF6ED3}"/>
              </a:ext>
            </a:extLst>
          </p:cNvPr>
          <p:cNvSpPr/>
          <p:nvPr userDrawn="1"/>
        </p:nvSpPr>
        <p:spPr>
          <a:xfrm>
            <a:off x="1947081" y="2272648"/>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78" name="Bildplatzhalter 9">
            <a:extLst>
              <a:ext uri="{FF2B5EF4-FFF2-40B4-BE49-F238E27FC236}">
                <a16:creationId xmlns:a16="http://schemas.microsoft.com/office/drawing/2014/main" id="{2DB6BDC2-D18B-4AF7-9B33-2FB86D67A64A}"/>
              </a:ext>
            </a:extLst>
          </p:cNvPr>
          <p:cNvSpPr>
            <a:spLocks noGrp="1"/>
          </p:cNvSpPr>
          <p:nvPr>
            <p:ph type="pic" sz="quarter" idx="41" hasCustomPrompt="1"/>
          </p:nvPr>
        </p:nvSpPr>
        <p:spPr>
          <a:xfrm>
            <a:off x="2002390" y="4154796"/>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79" name="Rechteck 78">
            <a:extLst>
              <a:ext uri="{FF2B5EF4-FFF2-40B4-BE49-F238E27FC236}">
                <a16:creationId xmlns:a16="http://schemas.microsoft.com/office/drawing/2014/main" id="{CB9D855A-B11D-44DC-BBE1-7BA68BD18E68}"/>
              </a:ext>
            </a:extLst>
          </p:cNvPr>
          <p:cNvSpPr/>
          <p:nvPr userDrawn="1"/>
        </p:nvSpPr>
        <p:spPr>
          <a:xfrm>
            <a:off x="1947081" y="4100189"/>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80" name="Bildplatzhalter 9">
            <a:extLst>
              <a:ext uri="{FF2B5EF4-FFF2-40B4-BE49-F238E27FC236}">
                <a16:creationId xmlns:a16="http://schemas.microsoft.com/office/drawing/2014/main" id="{D12B69C6-4468-4017-A141-0864B9065E88}"/>
              </a:ext>
            </a:extLst>
          </p:cNvPr>
          <p:cNvSpPr>
            <a:spLocks noGrp="1"/>
          </p:cNvSpPr>
          <p:nvPr>
            <p:ph type="pic" sz="quarter" idx="42" hasCustomPrompt="1"/>
          </p:nvPr>
        </p:nvSpPr>
        <p:spPr>
          <a:xfrm>
            <a:off x="4422929" y="2319234"/>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81" name="Rechteck 80">
            <a:extLst>
              <a:ext uri="{FF2B5EF4-FFF2-40B4-BE49-F238E27FC236}">
                <a16:creationId xmlns:a16="http://schemas.microsoft.com/office/drawing/2014/main" id="{E874C203-B833-4D0D-9674-D25DFA3F9606}"/>
              </a:ext>
            </a:extLst>
          </p:cNvPr>
          <p:cNvSpPr/>
          <p:nvPr userDrawn="1"/>
        </p:nvSpPr>
        <p:spPr>
          <a:xfrm>
            <a:off x="4367620" y="2264627"/>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82" name="Bildplatzhalter 9">
            <a:extLst>
              <a:ext uri="{FF2B5EF4-FFF2-40B4-BE49-F238E27FC236}">
                <a16:creationId xmlns:a16="http://schemas.microsoft.com/office/drawing/2014/main" id="{0B83E94D-7A2E-4F82-9F6F-414BB1EE1F9D}"/>
              </a:ext>
            </a:extLst>
          </p:cNvPr>
          <p:cNvSpPr>
            <a:spLocks noGrp="1"/>
          </p:cNvSpPr>
          <p:nvPr>
            <p:ph type="pic" sz="quarter" idx="43" hasCustomPrompt="1"/>
          </p:nvPr>
        </p:nvSpPr>
        <p:spPr>
          <a:xfrm>
            <a:off x="4422929" y="4146775"/>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83" name="Rechteck 82">
            <a:extLst>
              <a:ext uri="{FF2B5EF4-FFF2-40B4-BE49-F238E27FC236}">
                <a16:creationId xmlns:a16="http://schemas.microsoft.com/office/drawing/2014/main" id="{454DE692-CD53-4D36-9E21-EDBFA9779183}"/>
              </a:ext>
            </a:extLst>
          </p:cNvPr>
          <p:cNvSpPr/>
          <p:nvPr userDrawn="1"/>
        </p:nvSpPr>
        <p:spPr>
          <a:xfrm>
            <a:off x="4367620" y="4092168"/>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84" name="Bildplatzhalter 9">
            <a:extLst>
              <a:ext uri="{FF2B5EF4-FFF2-40B4-BE49-F238E27FC236}">
                <a16:creationId xmlns:a16="http://schemas.microsoft.com/office/drawing/2014/main" id="{722A2533-C7FE-4FF8-88EA-CC5A72E587E0}"/>
              </a:ext>
            </a:extLst>
          </p:cNvPr>
          <p:cNvSpPr>
            <a:spLocks noGrp="1"/>
          </p:cNvSpPr>
          <p:nvPr>
            <p:ph type="pic" sz="quarter" idx="44" hasCustomPrompt="1"/>
          </p:nvPr>
        </p:nvSpPr>
        <p:spPr>
          <a:xfrm>
            <a:off x="6843468" y="2323944"/>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85" name="Rechteck 84">
            <a:extLst>
              <a:ext uri="{FF2B5EF4-FFF2-40B4-BE49-F238E27FC236}">
                <a16:creationId xmlns:a16="http://schemas.microsoft.com/office/drawing/2014/main" id="{60564730-564F-4992-974D-020B105689EE}"/>
              </a:ext>
            </a:extLst>
          </p:cNvPr>
          <p:cNvSpPr/>
          <p:nvPr userDrawn="1"/>
        </p:nvSpPr>
        <p:spPr>
          <a:xfrm>
            <a:off x="6788159" y="2269337"/>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86" name="Bildplatzhalter 9">
            <a:extLst>
              <a:ext uri="{FF2B5EF4-FFF2-40B4-BE49-F238E27FC236}">
                <a16:creationId xmlns:a16="http://schemas.microsoft.com/office/drawing/2014/main" id="{3FF1C129-85E6-40AA-8026-14C47F0F038C}"/>
              </a:ext>
            </a:extLst>
          </p:cNvPr>
          <p:cNvSpPr>
            <a:spLocks noGrp="1"/>
          </p:cNvSpPr>
          <p:nvPr>
            <p:ph type="pic" sz="quarter" idx="45" hasCustomPrompt="1"/>
          </p:nvPr>
        </p:nvSpPr>
        <p:spPr>
          <a:xfrm>
            <a:off x="6843468" y="4151485"/>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87" name="Rechteck 86">
            <a:extLst>
              <a:ext uri="{FF2B5EF4-FFF2-40B4-BE49-F238E27FC236}">
                <a16:creationId xmlns:a16="http://schemas.microsoft.com/office/drawing/2014/main" id="{3E7D63A3-3C58-4F80-B353-C26650B97F55}"/>
              </a:ext>
            </a:extLst>
          </p:cNvPr>
          <p:cNvSpPr/>
          <p:nvPr userDrawn="1"/>
        </p:nvSpPr>
        <p:spPr>
          <a:xfrm>
            <a:off x="6788159" y="4096878"/>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88" name="Bildplatzhalter 9">
            <a:extLst>
              <a:ext uri="{FF2B5EF4-FFF2-40B4-BE49-F238E27FC236}">
                <a16:creationId xmlns:a16="http://schemas.microsoft.com/office/drawing/2014/main" id="{C78943C0-07AD-428D-A010-64CDDC815654}"/>
              </a:ext>
            </a:extLst>
          </p:cNvPr>
          <p:cNvSpPr>
            <a:spLocks noGrp="1"/>
          </p:cNvSpPr>
          <p:nvPr>
            <p:ph type="pic" sz="quarter" idx="46" hasCustomPrompt="1"/>
          </p:nvPr>
        </p:nvSpPr>
        <p:spPr>
          <a:xfrm>
            <a:off x="9264007" y="2315923"/>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89" name="Rechteck 88">
            <a:extLst>
              <a:ext uri="{FF2B5EF4-FFF2-40B4-BE49-F238E27FC236}">
                <a16:creationId xmlns:a16="http://schemas.microsoft.com/office/drawing/2014/main" id="{44D0D2B8-EB2F-407A-A7DF-29BF878D0C97}"/>
              </a:ext>
            </a:extLst>
          </p:cNvPr>
          <p:cNvSpPr/>
          <p:nvPr userDrawn="1"/>
        </p:nvSpPr>
        <p:spPr>
          <a:xfrm>
            <a:off x="9208698" y="2261316"/>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90" name="Bildplatzhalter 9">
            <a:extLst>
              <a:ext uri="{FF2B5EF4-FFF2-40B4-BE49-F238E27FC236}">
                <a16:creationId xmlns:a16="http://schemas.microsoft.com/office/drawing/2014/main" id="{9F5D0399-2186-4D0F-B2B6-FB29536013E2}"/>
              </a:ext>
            </a:extLst>
          </p:cNvPr>
          <p:cNvSpPr>
            <a:spLocks noGrp="1"/>
          </p:cNvSpPr>
          <p:nvPr>
            <p:ph type="pic" sz="quarter" idx="47" hasCustomPrompt="1"/>
          </p:nvPr>
        </p:nvSpPr>
        <p:spPr>
          <a:xfrm>
            <a:off x="9264007" y="4143464"/>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91" name="Rechteck 90">
            <a:extLst>
              <a:ext uri="{FF2B5EF4-FFF2-40B4-BE49-F238E27FC236}">
                <a16:creationId xmlns:a16="http://schemas.microsoft.com/office/drawing/2014/main" id="{A161A1AC-702C-4209-BE7C-E51F7434B5B5}"/>
              </a:ext>
            </a:extLst>
          </p:cNvPr>
          <p:cNvSpPr/>
          <p:nvPr userDrawn="1"/>
        </p:nvSpPr>
        <p:spPr>
          <a:xfrm>
            <a:off x="9208698" y="4088857"/>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42" name="Titel 1">
            <a:extLst>
              <a:ext uri="{FF2B5EF4-FFF2-40B4-BE49-F238E27FC236}">
                <a16:creationId xmlns:a16="http://schemas.microsoft.com/office/drawing/2014/main" id="{8ADA00ED-298B-444A-A7F5-508EDBA56FC5}"/>
              </a:ext>
            </a:extLst>
          </p:cNvPr>
          <p:cNvSpPr>
            <a:spLocks noGrp="1"/>
          </p:cNvSpPr>
          <p:nvPr>
            <p:ph type="title" hasCustomPrompt="1"/>
          </p:nvPr>
        </p:nvSpPr>
        <p:spPr>
          <a:xfrm>
            <a:off x="2452698" y="1187753"/>
            <a:ext cx="7286604" cy="634323"/>
          </a:xfrm>
        </p:spPr>
        <p:txBody>
          <a:bodyPr rtlCol="0" anchor="t">
            <a:normAutofit/>
          </a:bodyPr>
          <a:lstStyle>
            <a:lvl1pPr algn="ctr">
              <a:lnSpc>
                <a:spcPct val="125000"/>
              </a:lnSpc>
              <a:defRPr sz="2800"/>
            </a:lvl1pPr>
          </a:lstStyle>
          <a:p>
            <a:pPr rtl="0"/>
            <a:r>
              <a:rPr lang="de-DE" noProof="0"/>
              <a:t>Titel durch Klicken hinzufügen</a:t>
            </a:r>
          </a:p>
        </p:txBody>
      </p:sp>
    </p:spTree>
    <p:extLst>
      <p:ext uri="{BB962C8B-B14F-4D97-AF65-F5344CB8AC3E}">
        <p14:creationId xmlns:p14="http://schemas.microsoft.com/office/powerpoint/2010/main" val="34409491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nanzierung">
    <p:spTree>
      <p:nvGrpSpPr>
        <p:cNvPr id="1" name=""/>
        <p:cNvGrpSpPr/>
        <p:nvPr/>
      </p:nvGrpSpPr>
      <p:grpSpPr>
        <a:xfrm>
          <a:off x="0" y="0"/>
          <a:ext cx="0" cy="0"/>
          <a:chOff x="0" y="0"/>
          <a:chExt cx="0" cy="0"/>
        </a:xfrm>
      </p:grpSpPr>
      <p:pic>
        <p:nvPicPr>
          <p:cNvPr id="2" name="Bild 1">
            <a:extLst>
              <a:ext uri="{FF2B5EF4-FFF2-40B4-BE49-F238E27FC236}">
                <a16:creationId xmlns:a16="http://schemas.microsoft.com/office/drawing/2014/main" id="{DFBC2989-2CED-47FB-8D23-FF60F2561EAD}"/>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3" name="Datumsplatzhalter 2">
            <a:extLst>
              <a:ext uri="{FF2B5EF4-FFF2-40B4-BE49-F238E27FC236}">
                <a16:creationId xmlns:a16="http://schemas.microsoft.com/office/drawing/2014/main" id="{BA429704-4AB7-47AB-8C1F-4C2E4C99A10E}"/>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B0348280-3106-454C-9D69-9BD1267B1811}"/>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09426433-6916-408B-BE80-EB35C693077C}"/>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34" name="Rechteck 33">
            <a:extLst>
              <a:ext uri="{FF2B5EF4-FFF2-40B4-BE49-F238E27FC236}">
                <a16:creationId xmlns:a16="http://schemas.microsoft.com/office/drawing/2014/main" id="{137D1BF6-CA32-48D3-B8AE-5D5C621A7EB5}"/>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accent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19" name="Textplatzhalter 14">
            <a:extLst>
              <a:ext uri="{FF2B5EF4-FFF2-40B4-BE49-F238E27FC236}">
                <a16:creationId xmlns:a16="http://schemas.microsoft.com/office/drawing/2014/main" id="{F57E488F-AD89-4213-9093-5646DF323A25}"/>
              </a:ext>
            </a:extLst>
          </p:cNvPr>
          <p:cNvSpPr>
            <a:spLocks noGrp="1"/>
          </p:cNvSpPr>
          <p:nvPr>
            <p:ph type="body" sz="quarter" idx="13" hasCustomPrompt="1"/>
          </p:nvPr>
        </p:nvSpPr>
        <p:spPr>
          <a:xfrm>
            <a:off x="900511" y="4114240"/>
            <a:ext cx="2382386" cy="613702"/>
          </a:xfrm>
          <a:prstGeom prst="rect">
            <a:avLst/>
          </a:prstGeom>
        </p:spPr>
        <p:txBody>
          <a:bodyPr rtlCol="0" anchor="b">
            <a:normAutofit/>
          </a:bodyPr>
          <a:lstStyle>
            <a:lvl1pPr marL="0" indent="0" algn="ctr">
              <a:lnSpc>
                <a:spcPct val="100000"/>
              </a:lnSpc>
              <a:spcBef>
                <a:spcPts val="0"/>
              </a:spcBef>
              <a:spcAft>
                <a:spcPts val="0"/>
              </a:spcAft>
              <a:buNone/>
              <a:defRPr sz="1600" b="1" cap="all" spc="200" baseline="0">
                <a:solidFill>
                  <a:schemeClr val="accent4"/>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0" name="Textplatzhalter 14">
            <a:extLst>
              <a:ext uri="{FF2B5EF4-FFF2-40B4-BE49-F238E27FC236}">
                <a16:creationId xmlns:a16="http://schemas.microsoft.com/office/drawing/2014/main" id="{E31C9DEB-43A3-4514-9EB8-2CE147497B96}"/>
              </a:ext>
            </a:extLst>
          </p:cNvPr>
          <p:cNvSpPr>
            <a:spLocks noGrp="1"/>
          </p:cNvSpPr>
          <p:nvPr>
            <p:ph type="body" sz="quarter" idx="15" hasCustomPrompt="1"/>
          </p:nvPr>
        </p:nvSpPr>
        <p:spPr>
          <a:xfrm>
            <a:off x="900511" y="4733168"/>
            <a:ext cx="2382386" cy="857935"/>
          </a:xfrm>
          <a:prstGeom prst="rect">
            <a:avLst/>
          </a:prstGeom>
        </p:spPr>
        <p:txBody>
          <a:bodyPr rtlCol="0">
            <a:normAutofit/>
          </a:bodyPr>
          <a:lstStyle>
            <a:lvl1pPr marL="0" indent="0" algn="ctr">
              <a:lnSpc>
                <a:spcPct val="125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21" name="Textplatzhalter 14">
            <a:extLst>
              <a:ext uri="{FF2B5EF4-FFF2-40B4-BE49-F238E27FC236}">
                <a16:creationId xmlns:a16="http://schemas.microsoft.com/office/drawing/2014/main" id="{254EC399-E62D-401A-936C-2B26F8265F17}"/>
              </a:ext>
            </a:extLst>
          </p:cNvPr>
          <p:cNvSpPr>
            <a:spLocks noGrp="1"/>
          </p:cNvSpPr>
          <p:nvPr>
            <p:ph type="body" sz="quarter" idx="16" hasCustomPrompt="1"/>
          </p:nvPr>
        </p:nvSpPr>
        <p:spPr>
          <a:xfrm>
            <a:off x="3584039" y="4114240"/>
            <a:ext cx="2382386" cy="613702"/>
          </a:xfrm>
          <a:prstGeom prst="rect">
            <a:avLst/>
          </a:prstGeom>
        </p:spPr>
        <p:txBody>
          <a:bodyPr rtlCol="0" anchor="b">
            <a:normAutofit/>
          </a:bodyPr>
          <a:lstStyle>
            <a:lvl1pPr marL="0" indent="0" algn="ctr">
              <a:lnSpc>
                <a:spcPct val="100000"/>
              </a:lnSpc>
              <a:spcBef>
                <a:spcPts val="0"/>
              </a:spcBef>
              <a:spcAft>
                <a:spcPts val="0"/>
              </a:spcAft>
              <a:buNone/>
              <a:defRPr sz="1600" b="1" cap="all" spc="200" baseline="0">
                <a:solidFill>
                  <a:schemeClr val="accent3">
                    <a:lumMod val="60000"/>
                    <a:lumOff val="40000"/>
                  </a:schemeClr>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2" name="Textplatzhalter 14">
            <a:extLst>
              <a:ext uri="{FF2B5EF4-FFF2-40B4-BE49-F238E27FC236}">
                <a16:creationId xmlns:a16="http://schemas.microsoft.com/office/drawing/2014/main" id="{4F49DC18-7C09-4FFC-98BF-DC17FCE6223B}"/>
              </a:ext>
            </a:extLst>
          </p:cNvPr>
          <p:cNvSpPr>
            <a:spLocks noGrp="1"/>
          </p:cNvSpPr>
          <p:nvPr>
            <p:ph type="body" sz="quarter" idx="17" hasCustomPrompt="1"/>
          </p:nvPr>
        </p:nvSpPr>
        <p:spPr>
          <a:xfrm>
            <a:off x="3584039" y="4733168"/>
            <a:ext cx="2382386" cy="857935"/>
          </a:xfrm>
          <a:prstGeom prst="rect">
            <a:avLst/>
          </a:prstGeom>
        </p:spPr>
        <p:txBody>
          <a:bodyPr rtlCol="0">
            <a:normAutofit/>
          </a:bodyPr>
          <a:lstStyle>
            <a:lvl1pPr marL="0" indent="0" algn="ctr">
              <a:lnSpc>
                <a:spcPct val="125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23" name="Textplatzhalter 14">
            <a:extLst>
              <a:ext uri="{FF2B5EF4-FFF2-40B4-BE49-F238E27FC236}">
                <a16:creationId xmlns:a16="http://schemas.microsoft.com/office/drawing/2014/main" id="{9D21F281-5009-4E28-B34E-218C36B33ABD}"/>
              </a:ext>
            </a:extLst>
          </p:cNvPr>
          <p:cNvSpPr>
            <a:spLocks noGrp="1"/>
          </p:cNvSpPr>
          <p:nvPr>
            <p:ph type="body" sz="quarter" idx="18" hasCustomPrompt="1"/>
          </p:nvPr>
        </p:nvSpPr>
        <p:spPr>
          <a:xfrm>
            <a:off x="6267567" y="4114240"/>
            <a:ext cx="2382386" cy="613702"/>
          </a:xfrm>
          <a:prstGeom prst="rect">
            <a:avLst/>
          </a:prstGeom>
        </p:spPr>
        <p:txBody>
          <a:bodyPr rtlCol="0" anchor="b">
            <a:normAutofit/>
          </a:bodyPr>
          <a:lstStyle>
            <a:lvl1pPr marL="0" indent="0" algn="ctr">
              <a:lnSpc>
                <a:spcPct val="100000"/>
              </a:lnSpc>
              <a:spcBef>
                <a:spcPts val="0"/>
              </a:spcBef>
              <a:spcAft>
                <a:spcPts val="0"/>
              </a:spcAft>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4" name="Textplatzhalter 14">
            <a:extLst>
              <a:ext uri="{FF2B5EF4-FFF2-40B4-BE49-F238E27FC236}">
                <a16:creationId xmlns:a16="http://schemas.microsoft.com/office/drawing/2014/main" id="{75C2A3FB-F206-4ED3-A8BF-712D66D52D29}"/>
              </a:ext>
            </a:extLst>
          </p:cNvPr>
          <p:cNvSpPr>
            <a:spLocks noGrp="1"/>
          </p:cNvSpPr>
          <p:nvPr>
            <p:ph type="body" sz="quarter" idx="19" hasCustomPrompt="1"/>
          </p:nvPr>
        </p:nvSpPr>
        <p:spPr>
          <a:xfrm>
            <a:off x="6267567" y="4733168"/>
            <a:ext cx="2382386" cy="857935"/>
          </a:xfrm>
          <a:prstGeom prst="rect">
            <a:avLst/>
          </a:prstGeom>
        </p:spPr>
        <p:txBody>
          <a:bodyPr rtlCol="0">
            <a:normAutofit/>
          </a:bodyPr>
          <a:lstStyle>
            <a:lvl1pPr marL="0" indent="0" algn="ctr">
              <a:lnSpc>
                <a:spcPct val="125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25" name="Textplatzhalter 14">
            <a:extLst>
              <a:ext uri="{FF2B5EF4-FFF2-40B4-BE49-F238E27FC236}">
                <a16:creationId xmlns:a16="http://schemas.microsoft.com/office/drawing/2014/main" id="{433D1544-1248-444D-B0AC-C5B22E1D2638}"/>
              </a:ext>
            </a:extLst>
          </p:cNvPr>
          <p:cNvSpPr>
            <a:spLocks noGrp="1"/>
          </p:cNvSpPr>
          <p:nvPr>
            <p:ph type="body" sz="quarter" idx="20" hasCustomPrompt="1"/>
          </p:nvPr>
        </p:nvSpPr>
        <p:spPr>
          <a:xfrm>
            <a:off x="8951094" y="4114240"/>
            <a:ext cx="2382386" cy="613702"/>
          </a:xfrm>
          <a:prstGeom prst="rect">
            <a:avLst/>
          </a:prstGeom>
        </p:spPr>
        <p:txBody>
          <a:bodyPr rtlCol="0" anchor="b">
            <a:normAutofit/>
          </a:bodyPr>
          <a:lstStyle>
            <a:lvl1pPr marL="0" indent="0" algn="ctr">
              <a:lnSpc>
                <a:spcPct val="100000"/>
              </a:lnSpc>
              <a:spcBef>
                <a:spcPts val="0"/>
              </a:spcBef>
              <a:spcAft>
                <a:spcPts val="0"/>
              </a:spcAft>
              <a:buNone/>
              <a:defRPr sz="1600" b="1" cap="all" spc="200" baseline="0">
                <a:solidFill>
                  <a:schemeClr val="accent2">
                    <a:lumMod val="20000"/>
                    <a:lumOff val="80000"/>
                  </a:schemeClr>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6" name="Textplatzhalter 14">
            <a:extLst>
              <a:ext uri="{FF2B5EF4-FFF2-40B4-BE49-F238E27FC236}">
                <a16:creationId xmlns:a16="http://schemas.microsoft.com/office/drawing/2014/main" id="{9F4FDF38-0969-49B5-BE15-AB7D41B68D28}"/>
              </a:ext>
            </a:extLst>
          </p:cNvPr>
          <p:cNvSpPr>
            <a:spLocks noGrp="1"/>
          </p:cNvSpPr>
          <p:nvPr>
            <p:ph type="body" sz="quarter" idx="21" hasCustomPrompt="1"/>
          </p:nvPr>
        </p:nvSpPr>
        <p:spPr>
          <a:xfrm>
            <a:off x="8951094" y="4733168"/>
            <a:ext cx="2382386" cy="857935"/>
          </a:xfrm>
          <a:prstGeom prst="rect">
            <a:avLst/>
          </a:prstGeom>
        </p:spPr>
        <p:txBody>
          <a:bodyPr rtlCol="0">
            <a:normAutofit/>
          </a:bodyPr>
          <a:lstStyle>
            <a:lvl1pPr marL="0" indent="0" algn="ctr">
              <a:lnSpc>
                <a:spcPct val="125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27" name="Textplatzhalter 10">
            <a:extLst>
              <a:ext uri="{FF2B5EF4-FFF2-40B4-BE49-F238E27FC236}">
                <a16:creationId xmlns:a16="http://schemas.microsoft.com/office/drawing/2014/main" id="{A749E3E6-EB0F-4108-9196-2A2DDD63E220}"/>
              </a:ext>
            </a:extLst>
          </p:cNvPr>
          <p:cNvSpPr>
            <a:spLocks noGrp="1"/>
          </p:cNvSpPr>
          <p:nvPr>
            <p:ph type="body" sz="quarter" idx="22" hasCustomPrompt="1"/>
          </p:nvPr>
        </p:nvSpPr>
        <p:spPr>
          <a:xfrm>
            <a:off x="1285758" y="2399173"/>
            <a:ext cx="1611892" cy="1151632"/>
          </a:xfrm>
          <a:prstGeom prst="rect">
            <a:avLst/>
          </a:prstGeom>
        </p:spPr>
        <p:txBody>
          <a:bodyPr rtlCol="0" anchor="ctr"/>
          <a:lstStyle>
            <a:lvl1pPr marL="0" indent="0" algn="ctr">
              <a:lnSpc>
                <a:spcPct val="80000"/>
              </a:lnSpc>
              <a:spcBef>
                <a:spcPts val="1000"/>
              </a:spcBef>
              <a:spcAft>
                <a:spcPts val="0"/>
              </a:spcAft>
              <a:buNone/>
              <a:defRPr sz="2800" b="1" cap="all" spc="100" baseline="0">
                <a:solidFill>
                  <a:schemeClr val="accent4"/>
                </a:solidFill>
                <a:latin typeface="Arial" panose="020B0604020202020204" pitchFamily="34" charset="0"/>
                <a:cs typeface="Arial" panose="020B0604020202020204" pitchFamily="34" charset="0"/>
              </a:defRPr>
            </a:lvl1pPr>
          </a:lstStyle>
          <a:p>
            <a:pPr lvl="0" rtl="0"/>
            <a:r>
              <a:rPr lang="de-DE" noProof="0"/>
              <a:t>Titel hinzufügen</a:t>
            </a:r>
          </a:p>
        </p:txBody>
      </p:sp>
      <p:sp>
        <p:nvSpPr>
          <p:cNvPr id="28" name="Textplatzhalter 10">
            <a:extLst>
              <a:ext uri="{FF2B5EF4-FFF2-40B4-BE49-F238E27FC236}">
                <a16:creationId xmlns:a16="http://schemas.microsoft.com/office/drawing/2014/main" id="{CA8E4A5D-4A2C-4FCA-9886-11A6692866A6}"/>
              </a:ext>
            </a:extLst>
          </p:cNvPr>
          <p:cNvSpPr>
            <a:spLocks noGrp="1"/>
          </p:cNvSpPr>
          <p:nvPr>
            <p:ph type="body" sz="quarter" idx="23" hasCustomPrompt="1"/>
          </p:nvPr>
        </p:nvSpPr>
        <p:spPr>
          <a:xfrm>
            <a:off x="6652814" y="2399173"/>
            <a:ext cx="1611892" cy="1151632"/>
          </a:xfrm>
          <a:prstGeom prst="rect">
            <a:avLst/>
          </a:prstGeom>
        </p:spPr>
        <p:txBody>
          <a:bodyPr rtlCol="0" anchor="ctr"/>
          <a:lstStyle>
            <a:lvl1pPr marL="0" indent="0" algn="ctr">
              <a:lnSpc>
                <a:spcPct val="80000"/>
              </a:lnSpc>
              <a:spcBef>
                <a:spcPts val="1000"/>
              </a:spcBef>
              <a:buNone/>
              <a:defRPr sz="2800" b="1" cap="all" spc="100" baseline="0">
                <a:solidFill>
                  <a:schemeClr val="accent5"/>
                </a:solidFill>
                <a:latin typeface="Arial" panose="020B0604020202020204" pitchFamily="34" charset="0"/>
                <a:cs typeface="Arial" panose="020B0604020202020204" pitchFamily="34" charset="0"/>
              </a:defRPr>
            </a:lvl1pPr>
          </a:lstStyle>
          <a:p>
            <a:pPr lvl="0" rtl="0"/>
            <a:r>
              <a:rPr lang="de-DE" noProof="0"/>
              <a:t>Titel hinzufügen</a:t>
            </a:r>
          </a:p>
        </p:txBody>
      </p:sp>
      <p:sp>
        <p:nvSpPr>
          <p:cNvPr id="29" name="Textplatzhalter 10">
            <a:extLst>
              <a:ext uri="{FF2B5EF4-FFF2-40B4-BE49-F238E27FC236}">
                <a16:creationId xmlns:a16="http://schemas.microsoft.com/office/drawing/2014/main" id="{D12F1290-6B4C-49B8-BC26-3B433534C3F7}"/>
              </a:ext>
            </a:extLst>
          </p:cNvPr>
          <p:cNvSpPr>
            <a:spLocks noGrp="1"/>
          </p:cNvSpPr>
          <p:nvPr>
            <p:ph type="body" sz="quarter" idx="24" hasCustomPrompt="1"/>
          </p:nvPr>
        </p:nvSpPr>
        <p:spPr>
          <a:xfrm>
            <a:off x="9336341" y="2399173"/>
            <a:ext cx="1611892" cy="1151632"/>
          </a:xfrm>
          <a:prstGeom prst="rect">
            <a:avLst/>
          </a:prstGeom>
        </p:spPr>
        <p:txBody>
          <a:bodyPr rtlCol="0" anchor="ctr"/>
          <a:lstStyle>
            <a:lvl1pPr marL="0" indent="0" algn="ctr">
              <a:lnSpc>
                <a:spcPct val="80000"/>
              </a:lnSpc>
              <a:spcBef>
                <a:spcPts val="1000"/>
              </a:spcBef>
              <a:buNone/>
              <a:defRPr sz="2800" b="1" cap="all" spc="100" baseline="0">
                <a:solidFill>
                  <a:schemeClr val="accent2">
                    <a:lumMod val="20000"/>
                    <a:lumOff val="80000"/>
                  </a:schemeClr>
                </a:solidFill>
                <a:latin typeface="Arial" panose="020B0604020202020204" pitchFamily="34" charset="0"/>
                <a:cs typeface="Arial" panose="020B0604020202020204" pitchFamily="34" charset="0"/>
              </a:defRPr>
            </a:lvl1pPr>
          </a:lstStyle>
          <a:p>
            <a:pPr lvl="0" rtl="0"/>
            <a:r>
              <a:rPr lang="de-DE" noProof="0"/>
              <a:t>Titel hinzufügen</a:t>
            </a:r>
          </a:p>
        </p:txBody>
      </p:sp>
      <p:sp>
        <p:nvSpPr>
          <p:cNvPr id="30" name="Textplatzhalter 10">
            <a:extLst>
              <a:ext uri="{FF2B5EF4-FFF2-40B4-BE49-F238E27FC236}">
                <a16:creationId xmlns:a16="http://schemas.microsoft.com/office/drawing/2014/main" id="{0E60E704-AD01-4048-8D70-3F4CA25DA632}"/>
              </a:ext>
            </a:extLst>
          </p:cNvPr>
          <p:cNvSpPr>
            <a:spLocks noGrp="1"/>
          </p:cNvSpPr>
          <p:nvPr>
            <p:ph type="body" sz="quarter" idx="25" hasCustomPrompt="1"/>
          </p:nvPr>
        </p:nvSpPr>
        <p:spPr>
          <a:xfrm>
            <a:off x="3969286" y="2399173"/>
            <a:ext cx="1611892" cy="1151632"/>
          </a:xfrm>
          <a:prstGeom prst="rect">
            <a:avLst/>
          </a:prstGeom>
        </p:spPr>
        <p:txBody>
          <a:bodyPr rtlCol="0" anchor="ctr"/>
          <a:lstStyle>
            <a:lvl1pPr marL="0" indent="0" algn="ctr">
              <a:lnSpc>
                <a:spcPct val="80000"/>
              </a:lnSpc>
              <a:spcBef>
                <a:spcPts val="1000"/>
              </a:spcBef>
              <a:buNone/>
              <a:defRPr sz="2800" b="1" cap="all" spc="100" baseline="0">
                <a:solidFill>
                  <a:schemeClr val="accent3">
                    <a:lumMod val="60000"/>
                    <a:lumOff val="40000"/>
                  </a:schemeClr>
                </a:solidFill>
                <a:latin typeface="Arial" panose="020B0604020202020204" pitchFamily="34" charset="0"/>
                <a:cs typeface="Arial" panose="020B0604020202020204" pitchFamily="34" charset="0"/>
              </a:defRPr>
            </a:lvl1pPr>
          </a:lstStyle>
          <a:p>
            <a:pPr lvl="0" rtl="0"/>
            <a:r>
              <a:rPr lang="de-DE" noProof="0"/>
              <a:t>Titel hinzufügen</a:t>
            </a:r>
          </a:p>
        </p:txBody>
      </p:sp>
      <p:sp>
        <p:nvSpPr>
          <p:cNvPr id="31" name="Titel 1">
            <a:extLst>
              <a:ext uri="{FF2B5EF4-FFF2-40B4-BE49-F238E27FC236}">
                <a16:creationId xmlns:a16="http://schemas.microsoft.com/office/drawing/2014/main" id="{4CB251EF-EB2B-4D32-A321-FEC37EAB8D87}"/>
              </a:ext>
            </a:extLst>
          </p:cNvPr>
          <p:cNvSpPr>
            <a:spLocks noGrp="1"/>
          </p:cNvSpPr>
          <p:nvPr>
            <p:ph type="title" hasCustomPrompt="1"/>
          </p:nvPr>
        </p:nvSpPr>
        <p:spPr>
          <a:xfrm>
            <a:off x="793750" y="715939"/>
            <a:ext cx="4864608" cy="365760"/>
          </a:xfrm>
        </p:spPr>
        <p:txBody>
          <a:bodyPr rtlCol="0" anchor="t">
            <a:noAutofit/>
          </a:bodyPr>
          <a:lstStyle>
            <a:lvl1pPr>
              <a:defRPr sz="2800">
                <a:ln w="19050">
                  <a:solidFill>
                    <a:schemeClr val="bg1"/>
                  </a:solidFill>
                </a:ln>
              </a:defRPr>
            </a:lvl1pPr>
          </a:lstStyle>
          <a:p>
            <a:pPr rtl="0"/>
            <a:r>
              <a:rPr lang="de-DE" noProof="0"/>
              <a:t>Titel durch Klicken hinzufügen</a:t>
            </a:r>
          </a:p>
        </p:txBody>
      </p:sp>
    </p:spTree>
    <p:extLst>
      <p:ext uri="{BB962C8B-B14F-4D97-AF65-F5344CB8AC3E}">
        <p14:creationId xmlns:p14="http://schemas.microsoft.com/office/powerpoint/2010/main" val="17102559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usammenfassung">
    <p:spTree>
      <p:nvGrpSpPr>
        <p:cNvPr id="1" name=""/>
        <p:cNvGrpSpPr/>
        <p:nvPr/>
      </p:nvGrpSpPr>
      <p:grpSpPr>
        <a:xfrm>
          <a:off x="0" y="0"/>
          <a:ext cx="0" cy="0"/>
          <a:chOff x="0" y="0"/>
          <a:chExt cx="0" cy="0"/>
        </a:xfrm>
      </p:grpSpPr>
      <p:sp>
        <p:nvSpPr>
          <p:cNvPr id="6" name="Bildplatzhalter 7">
            <a:extLst>
              <a:ext uri="{FF2B5EF4-FFF2-40B4-BE49-F238E27FC236}">
                <a16:creationId xmlns:a16="http://schemas.microsoft.com/office/drawing/2014/main" id="{D2CF4D42-6C74-47FD-8195-943D55ADA87D}"/>
              </a:ext>
            </a:extLst>
          </p:cNvPr>
          <p:cNvSpPr>
            <a:spLocks noGrp="1"/>
          </p:cNvSpPr>
          <p:nvPr>
            <p:ph type="pic" sz="quarter" idx="13" hasCustomPrompt="1"/>
          </p:nvPr>
        </p:nvSpPr>
        <p:spPr>
          <a:xfrm>
            <a:off x="0" y="0"/>
            <a:ext cx="12192000" cy="6858000"/>
          </a:xfrm>
        </p:spPr>
        <p:txBody>
          <a:bodyPr rtlCol="0"/>
          <a:lstStyle>
            <a:lvl1pPr marL="0" indent="0" algn="ctr">
              <a:buNone/>
              <a:defRPr>
                <a:solidFill>
                  <a:schemeClr val="tx1"/>
                </a:solidFill>
              </a:defRPr>
            </a:lvl1pPr>
          </a:lstStyle>
          <a:p>
            <a:pPr rtl="0"/>
            <a:r>
              <a:rPr lang="de-DE" noProof="0"/>
              <a:t>Zum Hinzufügen eines Fotos klicken</a:t>
            </a:r>
          </a:p>
        </p:txBody>
      </p:sp>
      <p:sp>
        <p:nvSpPr>
          <p:cNvPr id="3" name="Datumsplatzhalter 2">
            <a:extLst>
              <a:ext uri="{FF2B5EF4-FFF2-40B4-BE49-F238E27FC236}">
                <a16:creationId xmlns:a16="http://schemas.microsoft.com/office/drawing/2014/main" id="{59275658-2C01-4217-AE99-DF0FDFFE43C5}"/>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3F913D93-CECF-4647-8DC2-8F7DD04E742B}"/>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03C60507-1EAA-4632-9D67-1BD599F4F549}"/>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11" name="Titel 1">
            <a:extLst>
              <a:ext uri="{FF2B5EF4-FFF2-40B4-BE49-F238E27FC236}">
                <a16:creationId xmlns:a16="http://schemas.microsoft.com/office/drawing/2014/main" id="{2754639B-AD71-425C-BF07-356C0F14C96B}"/>
              </a:ext>
            </a:extLst>
          </p:cNvPr>
          <p:cNvSpPr>
            <a:spLocks noGrp="1"/>
          </p:cNvSpPr>
          <p:nvPr>
            <p:ph type="title" hasCustomPrompt="1"/>
          </p:nvPr>
        </p:nvSpPr>
        <p:spPr>
          <a:xfrm>
            <a:off x="0" y="1353381"/>
            <a:ext cx="5622878" cy="4151236"/>
          </a:xfrm>
          <a:solidFill>
            <a:schemeClr val="accent3">
              <a:alpha val="90000"/>
            </a:schemeClr>
          </a:solidFill>
        </p:spPr>
        <p:txBody>
          <a:bodyPr vert="horz" lIns="649224" tIns="749808" rIns="91440" bIns="45720" rtlCol="0" anchor="t">
            <a:noAutofit/>
          </a:bodyPr>
          <a:lstStyle>
            <a:lvl1pPr>
              <a:defRPr lang="en-US" sz="2800">
                <a:ln w="19050">
                  <a:solidFill>
                    <a:schemeClr val="bg1"/>
                  </a:solidFill>
                </a:ln>
                <a:ea typeface="+mn-ea"/>
                <a:cs typeface="+mn-cs"/>
              </a:defRPr>
            </a:lvl1pPr>
          </a:lstStyle>
          <a:p>
            <a:pPr marL="0" lvl="0" indent="0" rtl="0">
              <a:spcBef>
                <a:spcPts val="0"/>
              </a:spcBef>
              <a:buFont typeface="Arial" panose="020B0604020202020204" pitchFamily="34" charset="0"/>
            </a:pPr>
            <a:r>
              <a:rPr lang="de-DE" noProof="0"/>
              <a:t>Titel durch Klicken hinzufügen</a:t>
            </a:r>
          </a:p>
        </p:txBody>
      </p:sp>
      <p:sp>
        <p:nvSpPr>
          <p:cNvPr id="8" name="Textplatzhalter 17">
            <a:extLst>
              <a:ext uri="{FF2B5EF4-FFF2-40B4-BE49-F238E27FC236}">
                <a16:creationId xmlns:a16="http://schemas.microsoft.com/office/drawing/2014/main" id="{64CF3C46-90B8-467D-9D50-086B9135701F}"/>
              </a:ext>
            </a:extLst>
          </p:cNvPr>
          <p:cNvSpPr>
            <a:spLocks noGrp="1"/>
          </p:cNvSpPr>
          <p:nvPr>
            <p:ph type="body" sz="quarter" idx="15" hasCustomPrompt="1"/>
          </p:nvPr>
        </p:nvSpPr>
        <p:spPr>
          <a:xfrm>
            <a:off x="577993" y="2689071"/>
            <a:ext cx="4567209" cy="2212496"/>
          </a:xfrm>
        </p:spPr>
        <p:txBody>
          <a:bodyPr rtlCol="0">
            <a:noAutofit/>
          </a:bodyPr>
          <a:lstStyle>
            <a:lvl1pPr marL="0" indent="0" algn="l">
              <a:lnSpc>
                <a:spcPct val="125000"/>
              </a:lnSpc>
              <a:buNone/>
              <a:defRPr sz="1400" spc="100" baseline="0">
                <a:solidFill>
                  <a:schemeClr val="bg1"/>
                </a:solidFill>
              </a:defRPr>
            </a:lvl1pPr>
          </a:lstStyle>
          <a:p>
            <a:pPr lvl="0" rtl="0"/>
            <a:r>
              <a:rPr lang="de-DE" noProof="0"/>
              <a:t>Klicken Sie, um Text hinzuzufügen.</a:t>
            </a:r>
          </a:p>
        </p:txBody>
      </p:sp>
    </p:spTree>
    <p:extLst>
      <p:ext uri="{BB962C8B-B14F-4D97-AF65-F5344CB8AC3E}">
        <p14:creationId xmlns:p14="http://schemas.microsoft.com/office/powerpoint/2010/main" val="368261912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ielen Dank">
    <p:bg>
      <p:bgPr>
        <a:solidFill>
          <a:schemeClr val="tx1"/>
        </a:solidFill>
        <a:effectLst/>
      </p:bgPr>
    </p:bg>
    <p:spTree>
      <p:nvGrpSpPr>
        <p:cNvPr id="1" name=""/>
        <p:cNvGrpSpPr/>
        <p:nvPr/>
      </p:nvGrpSpPr>
      <p:grpSpPr>
        <a:xfrm>
          <a:off x="0" y="0"/>
          <a:ext cx="0" cy="0"/>
          <a:chOff x="0" y="0"/>
          <a:chExt cx="0" cy="0"/>
        </a:xfrm>
      </p:grpSpPr>
      <p:sp>
        <p:nvSpPr>
          <p:cNvPr id="6" name="Bildplatzhalter 7">
            <a:extLst>
              <a:ext uri="{FF2B5EF4-FFF2-40B4-BE49-F238E27FC236}">
                <a16:creationId xmlns:a16="http://schemas.microsoft.com/office/drawing/2014/main" id="{10B86B2D-56E1-4FB2-8CC9-DBC6C0B6EB09}"/>
              </a:ext>
            </a:extLst>
          </p:cNvPr>
          <p:cNvSpPr>
            <a:spLocks noGrp="1"/>
          </p:cNvSpPr>
          <p:nvPr>
            <p:ph type="pic" sz="quarter" idx="13" hasCustomPrompt="1"/>
          </p:nvPr>
        </p:nvSpPr>
        <p:spPr>
          <a:xfrm flipH="1">
            <a:off x="0" y="0"/>
            <a:ext cx="8153400" cy="6858000"/>
          </a:xfrm>
        </p:spPr>
        <p:txBody>
          <a:bodyPr rtlCol="0"/>
          <a:lstStyle>
            <a:lvl1pPr marL="0" indent="0" algn="ctr">
              <a:buNone/>
              <a:defRPr>
                <a:solidFill>
                  <a:schemeClr val="bg1"/>
                </a:solidFill>
              </a:defRPr>
            </a:lvl1pPr>
          </a:lstStyle>
          <a:p>
            <a:pPr rtl="0"/>
            <a:r>
              <a:rPr lang="de-DE" noProof="0"/>
              <a:t>Zum Hinzufügen eines Fotos klicken</a:t>
            </a:r>
          </a:p>
        </p:txBody>
      </p:sp>
      <p:sp>
        <p:nvSpPr>
          <p:cNvPr id="8" name="Textplatzhalter 17">
            <a:extLst>
              <a:ext uri="{FF2B5EF4-FFF2-40B4-BE49-F238E27FC236}">
                <a16:creationId xmlns:a16="http://schemas.microsoft.com/office/drawing/2014/main" id="{1D70C38F-1ABB-4C86-972A-E388226700C8}"/>
              </a:ext>
            </a:extLst>
          </p:cNvPr>
          <p:cNvSpPr>
            <a:spLocks noGrp="1"/>
          </p:cNvSpPr>
          <p:nvPr>
            <p:ph type="body" sz="quarter" idx="15" hasCustomPrompt="1"/>
          </p:nvPr>
        </p:nvSpPr>
        <p:spPr>
          <a:xfrm>
            <a:off x="7465112" y="2326705"/>
            <a:ext cx="4114592" cy="2212496"/>
          </a:xfrm>
        </p:spPr>
        <p:txBody>
          <a:bodyPr rtlCol="0">
            <a:noAutofit/>
          </a:bodyPr>
          <a:lstStyle>
            <a:lvl1pPr marL="0" indent="0" algn="l">
              <a:lnSpc>
                <a:spcPct val="125000"/>
              </a:lnSpc>
              <a:buNone/>
              <a:defRPr sz="1400" spc="100" baseline="0">
                <a:solidFill>
                  <a:schemeClr val="bg1"/>
                </a:solidFill>
              </a:defRPr>
            </a:lvl1pPr>
          </a:lstStyle>
          <a:p>
            <a:pPr lvl="0" rtl="0"/>
            <a:r>
              <a:rPr lang="de-DE" noProof="0"/>
              <a:t>Klicken Sie, um Text hinzuzufügen.</a:t>
            </a:r>
          </a:p>
        </p:txBody>
      </p:sp>
      <p:sp>
        <p:nvSpPr>
          <p:cNvPr id="3" name="Datumsplatzhalter 2">
            <a:extLst>
              <a:ext uri="{FF2B5EF4-FFF2-40B4-BE49-F238E27FC236}">
                <a16:creationId xmlns:a16="http://schemas.microsoft.com/office/drawing/2014/main" id="{319B0AE4-4C17-4975-A59C-4D9EFE584062}"/>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D5FC9023-3371-40C0-A618-BF8AA20FFE56}"/>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C8221E28-544B-4D00-A151-341F3D7EC99A}"/>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2" name="Titel 1">
            <a:extLst>
              <a:ext uri="{FF2B5EF4-FFF2-40B4-BE49-F238E27FC236}">
                <a16:creationId xmlns:a16="http://schemas.microsoft.com/office/drawing/2014/main" id="{0E907CF0-318A-401D-9F77-B63C65D2968E}"/>
              </a:ext>
            </a:extLst>
          </p:cNvPr>
          <p:cNvSpPr>
            <a:spLocks noGrp="1"/>
          </p:cNvSpPr>
          <p:nvPr>
            <p:ph type="title" hasCustomPrompt="1"/>
          </p:nvPr>
        </p:nvSpPr>
        <p:spPr>
          <a:xfrm>
            <a:off x="7452360" y="1728566"/>
            <a:ext cx="4127344" cy="724702"/>
          </a:xfrm>
        </p:spPr>
        <p:txBody>
          <a:bodyPr rtlCol="0" anchor="t">
            <a:noAutofit/>
          </a:bodyPr>
          <a:lstStyle>
            <a:lvl1pPr>
              <a:defRPr sz="2800">
                <a:ln w="19050">
                  <a:solidFill>
                    <a:schemeClr val="bg1"/>
                  </a:solidFill>
                </a:ln>
              </a:defRPr>
            </a:lvl1pPr>
          </a:lstStyle>
          <a:p>
            <a:pPr rtl="0"/>
            <a:r>
              <a:rPr lang="de-DE" noProof="0"/>
              <a:t>Titel durch Klicken hinzufügen</a:t>
            </a:r>
          </a:p>
        </p:txBody>
      </p:sp>
    </p:spTree>
    <p:extLst>
      <p:ext uri="{BB962C8B-B14F-4D97-AF65-F5344CB8AC3E}">
        <p14:creationId xmlns:p14="http://schemas.microsoft.com/office/powerpoint/2010/main" val="5770077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WB - Blank 0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2048920-9721-4E24-87C4-896214D56757}"/>
              </a:ext>
            </a:extLst>
          </p:cNvPr>
          <p:cNvSpPr>
            <a:spLocks noGrp="1"/>
          </p:cNvSpPr>
          <p:nvPr>
            <p:ph type="ftr" sz="quarter" idx="11"/>
          </p:nvPr>
        </p:nvSpPr>
        <p:spPr/>
        <p:txBody>
          <a:bodyPr/>
          <a:lstStyle>
            <a:lvl1pPr>
              <a:defRPr/>
            </a:lvl1pPr>
          </a:lstStyle>
          <a:p>
            <a:r>
              <a:rPr lang="en-US"/>
              <a:t>Designed by WarnaSlides.com</a:t>
            </a:r>
            <a:endParaRPr lang="en-US" dirty="0"/>
          </a:p>
        </p:txBody>
      </p:sp>
      <p:sp>
        <p:nvSpPr>
          <p:cNvPr id="4" name="Date Placeholder 3">
            <a:extLst>
              <a:ext uri="{FF2B5EF4-FFF2-40B4-BE49-F238E27FC236}">
                <a16:creationId xmlns:a16="http://schemas.microsoft.com/office/drawing/2014/main" id="{27DBD66A-2458-429A-A421-DEA49854D7A1}"/>
              </a:ext>
            </a:extLst>
          </p:cNvPr>
          <p:cNvSpPr>
            <a:spLocks noGrp="1"/>
          </p:cNvSpPr>
          <p:nvPr>
            <p:ph type="dt" sz="half" idx="10"/>
          </p:nvPr>
        </p:nvSpPr>
        <p:spPr/>
        <p:txBody>
          <a:bodyPr/>
          <a:lstStyle/>
          <a:p>
            <a:fld id="{F2947409-8958-43D2-904F-CC431AC7EBAC}" type="datetime2">
              <a:rPr lang="en-US" smtClean="0"/>
              <a:t>Sunday, October 1, 2023</a:t>
            </a:fld>
            <a:endParaRPr lang="en-US"/>
          </a:p>
        </p:txBody>
      </p:sp>
      <p:sp>
        <p:nvSpPr>
          <p:cNvPr id="6" name="Slide Number Placeholder 5">
            <a:extLst>
              <a:ext uri="{FF2B5EF4-FFF2-40B4-BE49-F238E27FC236}">
                <a16:creationId xmlns:a16="http://schemas.microsoft.com/office/drawing/2014/main" id="{7EA2695B-1744-40B1-AE08-2DE2CA22CF4B}"/>
              </a:ext>
            </a:extLst>
          </p:cNvPr>
          <p:cNvSpPr>
            <a:spLocks noGrp="1"/>
          </p:cNvSpPr>
          <p:nvPr>
            <p:ph type="sldNum" sz="quarter" idx="12"/>
          </p:nvPr>
        </p:nvSpPr>
        <p:spPr/>
        <p:txBody>
          <a:bodyPr/>
          <a:lstStyle/>
          <a:p>
            <a:fld id="{5C538340-CA81-42BB-8122-3AF8BFD3329A}" type="slidenum">
              <a:rPr lang="en-US" smtClean="0"/>
              <a:t>‹Nr.›</a:t>
            </a:fld>
            <a:endParaRPr lang="en-US"/>
          </a:p>
        </p:txBody>
      </p:sp>
    </p:spTree>
    <p:extLst>
      <p:ext uri="{BB962C8B-B14F-4D97-AF65-F5344CB8AC3E}">
        <p14:creationId xmlns:p14="http://schemas.microsoft.com/office/powerpoint/2010/main" val="12743380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Пустой">
    <p:spTree>
      <p:nvGrpSpPr>
        <p:cNvPr id="1" name=""/>
        <p:cNvGrpSpPr/>
        <p:nvPr/>
      </p:nvGrpSpPr>
      <p:grpSpPr>
        <a:xfrm>
          <a:off x="0" y="0"/>
          <a:ext cx="0" cy="0"/>
          <a:chOff x="0" y="0"/>
          <a:chExt cx="0" cy="0"/>
        </a:xfrm>
      </p:grpSpPr>
      <p:sp>
        <p:nvSpPr>
          <p:cNvPr id="20" name="Slide Number"/>
          <p:cNvSpPr txBox="1">
            <a:spLocks noGrp="1"/>
          </p:cNvSpPr>
          <p:nvPr>
            <p:ph type="sldNum" sz="quarter" idx="2"/>
          </p:nvPr>
        </p:nvSpPr>
        <p:spPr>
          <a:prstGeom prst="rect">
            <a:avLst/>
          </a:prstGeom>
        </p:spPr>
        <p:txBody>
          <a:bodyPr/>
          <a:lstStyle/>
          <a:p>
            <a:fld id="{86CB4B4D-7CA3-9044-876B-883B54F8677D}" type="slidenum">
              <a:t>‹Nr.›</a:t>
            </a:fld>
            <a:endParaRPr/>
          </a:p>
        </p:txBody>
      </p:sp>
    </p:spTree>
    <p:extLst>
      <p:ext uri="{BB962C8B-B14F-4D97-AF65-F5344CB8AC3E}">
        <p14:creationId xmlns:p14="http://schemas.microsoft.com/office/powerpoint/2010/main" val="2438133453"/>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pic>
        <p:nvPicPr>
          <p:cNvPr id="3" name="Bild 2">
            <a:extLst>
              <a:ext uri="{FF2B5EF4-FFF2-40B4-BE49-F238E27FC236}">
                <a16:creationId xmlns:a16="http://schemas.microsoft.com/office/drawing/2014/main" id="{8E7FFE5B-C2CA-473D-8FCA-B26579CCBAAF}"/>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8" name="Bildplatzhalter 7">
            <a:extLst>
              <a:ext uri="{FF2B5EF4-FFF2-40B4-BE49-F238E27FC236}">
                <a16:creationId xmlns:a16="http://schemas.microsoft.com/office/drawing/2014/main" id="{5FF4BA3E-4135-4F80-B1C8-C84CDF7C54AB}"/>
              </a:ext>
            </a:extLst>
          </p:cNvPr>
          <p:cNvSpPr>
            <a:spLocks noGrp="1"/>
          </p:cNvSpPr>
          <p:nvPr>
            <p:ph type="pic" sz="quarter" idx="13" hasCustomPrompt="1"/>
          </p:nvPr>
        </p:nvSpPr>
        <p:spPr>
          <a:xfrm flipH="1">
            <a:off x="752100" y="739303"/>
            <a:ext cx="6825035" cy="5379395"/>
          </a:xfrm>
        </p:spPr>
        <p:txBody>
          <a:bodyPr rtlCol="0"/>
          <a:lstStyle>
            <a:lvl1pPr marL="0" indent="0" algn="ctr">
              <a:buNone/>
              <a:defRPr>
                <a:solidFill>
                  <a:schemeClr val="bg1"/>
                </a:solidFill>
              </a:defRPr>
            </a:lvl1pPr>
          </a:lstStyle>
          <a:p>
            <a:pPr rtl="0"/>
            <a:r>
              <a:rPr lang="de-DE" noProof="0"/>
              <a:t>Zum Hinzufügen eines Fotos klicken</a:t>
            </a:r>
          </a:p>
        </p:txBody>
      </p:sp>
      <p:sp>
        <p:nvSpPr>
          <p:cNvPr id="2" name="Titel 1">
            <a:extLst>
              <a:ext uri="{FF2B5EF4-FFF2-40B4-BE49-F238E27FC236}">
                <a16:creationId xmlns:a16="http://schemas.microsoft.com/office/drawing/2014/main" id="{D5CAABB7-A562-4A3F-9DDF-2CE3D13726D1}"/>
              </a:ext>
            </a:extLst>
          </p:cNvPr>
          <p:cNvSpPr>
            <a:spLocks noGrp="1"/>
          </p:cNvSpPr>
          <p:nvPr>
            <p:ph type="title" hasCustomPrompt="1"/>
          </p:nvPr>
        </p:nvSpPr>
        <p:spPr>
          <a:xfrm>
            <a:off x="6322977" y="1663435"/>
            <a:ext cx="5869021" cy="2003898"/>
          </a:xfrm>
          <a:solidFill>
            <a:schemeClr val="accent2">
              <a:alpha val="80000"/>
            </a:schemeClr>
          </a:solidFill>
        </p:spPr>
        <p:txBody>
          <a:bodyPr lIns="557784" tIns="530352" rtlCol="0" anchor="t">
            <a:noAutofit/>
          </a:bodyPr>
          <a:lstStyle>
            <a:lvl1pPr algn="l">
              <a:lnSpc>
                <a:spcPct val="80000"/>
              </a:lnSpc>
              <a:defRPr sz="5400" cap="all" spc="400" baseline="0">
                <a:ln w="19050">
                  <a:solidFill>
                    <a:schemeClr val="accent5"/>
                  </a:solidFill>
                </a:ln>
              </a:defRPr>
            </a:lvl1pPr>
          </a:lstStyle>
          <a:p>
            <a:pPr rtl="0"/>
            <a:r>
              <a:rPr lang="de-DE" noProof="0"/>
              <a:t>Titel durch Klicken hinzufügen</a:t>
            </a:r>
          </a:p>
        </p:txBody>
      </p:sp>
      <p:sp>
        <p:nvSpPr>
          <p:cNvPr id="14" name="Textplatzhalter 17">
            <a:extLst>
              <a:ext uri="{FF2B5EF4-FFF2-40B4-BE49-F238E27FC236}">
                <a16:creationId xmlns:a16="http://schemas.microsoft.com/office/drawing/2014/main" id="{D15807FE-36E0-49EF-93A4-5B9AD83871B6}"/>
              </a:ext>
            </a:extLst>
          </p:cNvPr>
          <p:cNvSpPr>
            <a:spLocks noGrp="1"/>
          </p:cNvSpPr>
          <p:nvPr>
            <p:ph type="body" sz="quarter" idx="15" hasCustomPrompt="1"/>
          </p:nvPr>
        </p:nvSpPr>
        <p:spPr>
          <a:xfrm>
            <a:off x="6822159" y="2878246"/>
            <a:ext cx="4925188" cy="339247"/>
          </a:xfrm>
        </p:spPr>
        <p:txBody>
          <a:bodyPr rtlCol="0">
            <a:noAutofit/>
          </a:bodyPr>
          <a:lstStyle>
            <a:lvl1pPr marL="0" indent="0" algn="l">
              <a:buNone/>
              <a:defRPr sz="2400" spc="100" baseline="0">
                <a:solidFill>
                  <a:schemeClr val="accent5"/>
                </a:solidFill>
              </a:defRPr>
            </a:lvl1pPr>
          </a:lstStyle>
          <a:p>
            <a:pPr lvl="0" rtl="0"/>
            <a:r>
              <a:rPr lang="de-DE" noProof="0"/>
              <a:t>Klicken, um einen Namen hinzuzufügen</a:t>
            </a:r>
          </a:p>
        </p:txBody>
      </p:sp>
    </p:spTree>
    <p:extLst>
      <p:ext uri="{BB962C8B-B14F-4D97-AF65-F5344CB8AC3E}">
        <p14:creationId xmlns:p14="http://schemas.microsoft.com/office/powerpoint/2010/main" val="29085613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Über uns">
    <p:spTree>
      <p:nvGrpSpPr>
        <p:cNvPr id="1" name=""/>
        <p:cNvGrpSpPr/>
        <p:nvPr/>
      </p:nvGrpSpPr>
      <p:grpSpPr>
        <a:xfrm>
          <a:off x="0" y="0"/>
          <a:ext cx="0" cy="0"/>
          <a:chOff x="0" y="0"/>
          <a:chExt cx="0" cy="0"/>
        </a:xfrm>
      </p:grpSpPr>
      <p:pic>
        <p:nvPicPr>
          <p:cNvPr id="2" name="Bild 1">
            <a:extLst>
              <a:ext uri="{FF2B5EF4-FFF2-40B4-BE49-F238E27FC236}">
                <a16:creationId xmlns:a16="http://schemas.microsoft.com/office/drawing/2014/main" id="{C99B8705-C027-4E12-892E-C32FF13296F1}"/>
              </a:ext>
            </a:extLst>
          </p:cNvPr>
          <p:cNvPicPr>
            <a:picLocks noChangeAspect="1"/>
          </p:cNvPicPr>
          <p:nvPr userDrawn="1"/>
        </p:nvPicPr>
        <p:blipFill>
          <a:blip r:embed="rId2"/>
          <a:stretch>
            <a:fillRect/>
          </a:stretch>
        </p:blipFill>
        <p:spPr>
          <a:xfrm>
            <a:off x="1690" y="0"/>
            <a:ext cx="12188620" cy="6858000"/>
          </a:xfrm>
          <a:prstGeom prst="rect">
            <a:avLst/>
          </a:prstGeom>
        </p:spPr>
      </p:pic>
      <p:sp>
        <p:nvSpPr>
          <p:cNvPr id="7" name="Bildplatzhalter 7">
            <a:extLst>
              <a:ext uri="{FF2B5EF4-FFF2-40B4-BE49-F238E27FC236}">
                <a16:creationId xmlns:a16="http://schemas.microsoft.com/office/drawing/2014/main" id="{ED685DB5-FA77-4C19-88B8-5A8D733B42BC}"/>
              </a:ext>
            </a:extLst>
          </p:cNvPr>
          <p:cNvSpPr>
            <a:spLocks noGrp="1"/>
          </p:cNvSpPr>
          <p:nvPr>
            <p:ph type="pic" sz="quarter" idx="13" hasCustomPrompt="1"/>
          </p:nvPr>
        </p:nvSpPr>
        <p:spPr>
          <a:xfrm flipH="1">
            <a:off x="5012530" y="0"/>
            <a:ext cx="7196138" cy="6867376"/>
          </a:xfrm>
        </p:spPr>
        <p:txBody>
          <a:bodyPr rtlCol="0"/>
          <a:lstStyle>
            <a:lvl1pPr marL="0" indent="0" algn="ctr">
              <a:buNone/>
              <a:defRPr>
                <a:solidFill>
                  <a:schemeClr val="bg1"/>
                </a:solidFill>
              </a:defRPr>
            </a:lvl1pPr>
          </a:lstStyle>
          <a:p>
            <a:pPr rtl="0"/>
            <a:r>
              <a:rPr lang="de-DE" noProof="0"/>
              <a:t>Zum Hinzufügen eines Fotos klicken</a:t>
            </a:r>
          </a:p>
        </p:txBody>
      </p:sp>
      <p:sp>
        <p:nvSpPr>
          <p:cNvPr id="4" name="Datumsplatzhalter 3">
            <a:extLst>
              <a:ext uri="{FF2B5EF4-FFF2-40B4-BE49-F238E27FC236}">
                <a16:creationId xmlns:a16="http://schemas.microsoft.com/office/drawing/2014/main" id="{6346919B-FFF8-4FED-8A44-48A7E600EB60}"/>
              </a:ext>
            </a:extLst>
          </p:cNvPr>
          <p:cNvSpPr>
            <a:spLocks noGrp="1"/>
          </p:cNvSpPr>
          <p:nvPr>
            <p:ph type="dt" sz="half" idx="10"/>
          </p:nvPr>
        </p:nvSpPr>
        <p:spPr/>
        <p:txBody>
          <a:bodyPr rtlCol="0"/>
          <a:lstStyle/>
          <a:p>
            <a:pPr rtl="0"/>
            <a:r>
              <a:rPr lang="de-DE" noProof="0"/>
              <a:t>06.08.20XX</a:t>
            </a:r>
          </a:p>
        </p:txBody>
      </p:sp>
      <p:sp>
        <p:nvSpPr>
          <p:cNvPr id="5" name="Fußzeilenplatzhalter 4">
            <a:extLst>
              <a:ext uri="{FF2B5EF4-FFF2-40B4-BE49-F238E27FC236}">
                <a16:creationId xmlns:a16="http://schemas.microsoft.com/office/drawing/2014/main" id="{C6DF28B0-8A34-4E86-9FE3-20BD880CD9C3}"/>
              </a:ext>
            </a:extLst>
          </p:cNvPr>
          <p:cNvSpPr>
            <a:spLocks noGrp="1"/>
          </p:cNvSpPr>
          <p:nvPr>
            <p:ph type="ftr" sz="quarter" idx="11"/>
          </p:nvPr>
        </p:nvSpPr>
        <p:spPr/>
        <p:txBody>
          <a:bodyPr rtlCol="0"/>
          <a:lstStyle/>
          <a:p>
            <a:pPr rtl="0"/>
            <a:r>
              <a:rPr lang="de-DE" noProof="0"/>
              <a:t>VERKAUFSPRÄSENTATION</a:t>
            </a:r>
          </a:p>
        </p:txBody>
      </p:sp>
      <p:sp>
        <p:nvSpPr>
          <p:cNvPr id="6" name="Foliennummernplatzhalter 5">
            <a:extLst>
              <a:ext uri="{FF2B5EF4-FFF2-40B4-BE49-F238E27FC236}">
                <a16:creationId xmlns:a16="http://schemas.microsoft.com/office/drawing/2014/main" id="{D4BE1CCB-96B6-4D9F-A932-D0EBDBD7DA45}"/>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3" name="Titel 2">
            <a:extLst>
              <a:ext uri="{FF2B5EF4-FFF2-40B4-BE49-F238E27FC236}">
                <a16:creationId xmlns:a16="http://schemas.microsoft.com/office/drawing/2014/main" id="{1F7CB735-9F66-41A8-8F1D-4B66FE1D1153}"/>
              </a:ext>
            </a:extLst>
          </p:cNvPr>
          <p:cNvSpPr>
            <a:spLocks noGrp="1"/>
          </p:cNvSpPr>
          <p:nvPr>
            <p:ph type="title" hasCustomPrompt="1"/>
          </p:nvPr>
        </p:nvSpPr>
        <p:spPr>
          <a:xfrm>
            <a:off x="-2" y="1672143"/>
            <a:ext cx="6019802" cy="3513714"/>
          </a:xfrm>
          <a:solidFill>
            <a:schemeClr val="accent6">
              <a:alpha val="80000"/>
            </a:schemeClr>
          </a:solidFill>
        </p:spPr>
        <p:txBody>
          <a:bodyPr lIns="676656" tIns="795528" rtlCol="0" anchor="t">
            <a:normAutofit/>
          </a:bodyPr>
          <a:lstStyle>
            <a:lvl1pPr>
              <a:defRPr sz="2800"/>
            </a:lvl1pPr>
          </a:lstStyle>
          <a:p>
            <a:pPr rtl="0"/>
            <a:r>
              <a:rPr lang="de-DE" noProof="0"/>
              <a:t>Titel durch Klicken hinzufügen</a:t>
            </a:r>
          </a:p>
        </p:txBody>
      </p:sp>
      <p:sp>
        <p:nvSpPr>
          <p:cNvPr id="11" name="Textplatzhalter 17">
            <a:extLst>
              <a:ext uri="{FF2B5EF4-FFF2-40B4-BE49-F238E27FC236}">
                <a16:creationId xmlns:a16="http://schemas.microsoft.com/office/drawing/2014/main" id="{4A51F916-D1A0-40B2-A894-1C597A7AAFBF}"/>
              </a:ext>
            </a:extLst>
          </p:cNvPr>
          <p:cNvSpPr>
            <a:spLocks noGrp="1"/>
          </p:cNvSpPr>
          <p:nvPr>
            <p:ph type="body" sz="quarter" idx="15" hasCustomPrompt="1"/>
          </p:nvPr>
        </p:nvSpPr>
        <p:spPr>
          <a:xfrm>
            <a:off x="594575" y="3007594"/>
            <a:ext cx="4850550" cy="1731145"/>
          </a:xfrm>
        </p:spPr>
        <p:txBody>
          <a:bodyPr rtlCol="0">
            <a:noAutofit/>
          </a:bodyPr>
          <a:lstStyle>
            <a:lvl1pPr marL="0" indent="0" algn="l">
              <a:lnSpc>
                <a:spcPct val="125000"/>
              </a:lnSpc>
              <a:buNone/>
              <a:defRPr sz="1400" spc="100" baseline="0">
                <a:solidFill>
                  <a:schemeClr val="accent2"/>
                </a:solidFill>
              </a:defRPr>
            </a:lvl1pPr>
          </a:lstStyle>
          <a:p>
            <a:pPr lvl="0" rtl="0"/>
            <a:r>
              <a:rPr lang="de-DE" noProof="0"/>
              <a:t>Klicken Sie, um Text hinzuzufügen.</a:t>
            </a:r>
          </a:p>
        </p:txBody>
      </p:sp>
    </p:spTree>
    <p:extLst>
      <p:ext uri="{BB962C8B-B14F-4D97-AF65-F5344CB8AC3E}">
        <p14:creationId xmlns:p14="http://schemas.microsoft.com/office/powerpoint/2010/main" val="24650628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roblem">
    <p:spTree>
      <p:nvGrpSpPr>
        <p:cNvPr id="1" name=""/>
        <p:cNvGrpSpPr/>
        <p:nvPr/>
      </p:nvGrpSpPr>
      <p:grpSpPr>
        <a:xfrm>
          <a:off x="0" y="0"/>
          <a:ext cx="0" cy="0"/>
          <a:chOff x="0" y="0"/>
          <a:chExt cx="0" cy="0"/>
        </a:xfrm>
      </p:grpSpPr>
      <p:pic>
        <p:nvPicPr>
          <p:cNvPr id="3" name="Bild 2">
            <a:extLst>
              <a:ext uri="{FF2B5EF4-FFF2-40B4-BE49-F238E27FC236}">
                <a16:creationId xmlns:a16="http://schemas.microsoft.com/office/drawing/2014/main" id="{6B95BA1F-6B83-4358-A202-FD15470976A9}"/>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4" name="Datumsplatzhalter 3">
            <a:extLst>
              <a:ext uri="{FF2B5EF4-FFF2-40B4-BE49-F238E27FC236}">
                <a16:creationId xmlns:a16="http://schemas.microsoft.com/office/drawing/2014/main" id="{A35C10F8-CB40-4BDD-AA21-7DDC300FE73E}"/>
              </a:ext>
            </a:extLst>
          </p:cNvPr>
          <p:cNvSpPr>
            <a:spLocks noGrp="1"/>
          </p:cNvSpPr>
          <p:nvPr>
            <p:ph type="dt" sz="half" idx="10"/>
          </p:nvPr>
        </p:nvSpPr>
        <p:spPr/>
        <p:txBody>
          <a:bodyPr rtlCol="0"/>
          <a:lstStyle/>
          <a:p>
            <a:pPr rtl="0"/>
            <a:r>
              <a:rPr lang="de-DE" noProof="0"/>
              <a:t>06.08.20XX</a:t>
            </a:r>
          </a:p>
        </p:txBody>
      </p:sp>
      <p:sp>
        <p:nvSpPr>
          <p:cNvPr id="5" name="Fußzeilenplatzhalter 4">
            <a:extLst>
              <a:ext uri="{FF2B5EF4-FFF2-40B4-BE49-F238E27FC236}">
                <a16:creationId xmlns:a16="http://schemas.microsoft.com/office/drawing/2014/main" id="{434969F5-F9D0-4A38-8C6C-86005388F51D}"/>
              </a:ext>
            </a:extLst>
          </p:cNvPr>
          <p:cNvSpPr>
            <a:spLocks noGrp="1"/>
          </p:cNvSpPr>
          <p:nvPr>
            <p:ph type="ftr" sz="quarter" idx="11"/>
          </p:nvPr>
        </p:nvSpPr>
        <p:spPr/>
        <p:txBody>
          <a:bodyPr rtlCol="0"/>
          <a:lstStyle/>
          <a:p>
            <a:pPr rtl="0"/>
            <a:r>
              <a:rPr lang="de-DE" noProof="0"/>
              <a:t>VERKAUFSPRÄSENTATION</a:t>
            </a:r>
          </a:p>
        </p:txBody>
      </p:sp>
      <p:sp>
        <p:nvSpPr>
          <p:cNvPr id="6" name="Foliennummernplatzhalter 5">
            <a:extLst>
              <a:ext uri="{FF2B5EF4-FFF2-40B4-BE49-F238E27FC236}">
                <a16:creationId xmlns:a16="http://schemas.microsoft.com/office/drawing/2014/main" id="{7CC33B3F-10CE-4363-805C-361CA49414B4}"/>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13" name="Bildplatzhalter 7">
            <a:extLst>
              <a:ext uri="{FF2B5EF4-FFF2-40B4-BE49-F238E27FC236}">
                <a16:creationId xmlns:a16="http://schemas.microsoft.com/office/drawing/2014/main" id="{8EABAB15-C887-420D-92A1-24DBD62EE558}"/>
              </a:ext>
            </a:extLst>
          </p:cNvPr>
          <p:cNvSpPr>
            <a:spLocks noGrp="1"/>
          </p:cNvSpPr>
          <p:nvPr>
            <p:ph type="pic" sz="quarter" idx="13" hasCustomPrompt="1"/>
          </p:nvPr>
        </p:nvSpPr>
        <p:spPr>
          <a:xfrm flipH="1">
            <a:off x="0" y="729926"/>
            <a:ext cx="3581400" cy="5388772"/>
          </a:xfrm>
        </p:spPr>
        <p:txBody>
          <a:bodyPr rtlCol="0"/>
          <a:lstStyle>
            <a:lvl1pPr marL="0" indent="0" algn="ctr">
              <a:buNone/>
              <a:defRPr>
                <a:solidFill>
                  <a:schemeClr val="bg1"/>
                </a:solidFill>
              </a:defRPr>
            </a:lvl1pPr>
          </a:lstStyle>
          <a:p>
            <a:pPr rtl="0"/>
            <a:r>
              <a:rPr lang="de-DE" noProof="0"/>
              <a:t>Zum Hinzufügen eines Fotos klicken</a:t>
            </a:r>
          </a:p>
        </p:txBody>
      </p:sp>
      <p:sp>
        <p:nvSpPr>
          <p:cNvPr id="16" name="Textplatzhalter 14">
            <a:extLst>
              <a:ext uri="{FF2B5EF4-FFF2-40B4-BE49-F238E27FC236}">
                <a16:creationId xmlns:a16="http://schemas.microsoft.com/office/drawing/2014/main" id="{F7E8EA93-3F05-4D28-8B15-91D6789458B4}"/>
              </a:ext>
            </a:extLst>
          </p:cNvPr>
          <p:cNvSpPr>
            <a:spLocks noGrp="1"/>
          </p:cNvSpPr>
          <p:nvPr>
            <p:ph type="body" sz="quarter" idx="16" hasCustomPrompt="1"/>
          </p:nvPr>
        </p:nvSpPr>
        <p:spPr>
          <a:xfrm>
            <a:off x="6746476" y="1921400"/>
            <a:ext cx="2289974"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17" name="Textplatzhalter 14">
            <a:extLst>
              <a:ext uri="{FF2B5EF4-FFF2-40B4-BE49-F238E27FC236}">
                <a16:creationId xmlns:a16="http://schemas.microsoft.com/office/drawing/2014/main" id="{B4EBCE5D-8795-44C7-8196-051689C6FE2A}"/>
              </a:ext>
            </a:extLst>
          </p:cNvPr>
          <p:cNvSpPr>
            <a:spLocks noGrp="1"/>
          </p:cNvSpPr>
          <p:nvPr>
            <p:ph type="body" sz="quarter" idx="17" hasCustomPrompt="1"/>
          </p:nvPr>
        </p:nvSpPr>
        <p:spPr>
          <a:xfrm>
            <a:off x="6746476" y="2245710"/>
            <a:ext cx="2289974" cy="1739538"/>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8" name="Textplatzhalter 14">
            <a:extLst>
              <a:ext uri="{FF2B5EF4-FFF2-40B4-BE49-F238E27FC236}">
                <a16:creationId xmlns:a16="http://schemas.microsoft.com/office/drawing/2014/main" id="{195044F5-86E3-4A1C-B3C8-6E3422E5B418}"/>
              </a:ext>
            </a:extLst>
          </p:cNvPr>
          <p:cNvSpPr>
            <a:spLocks noGrp="1"/>
          </p:cNvSpPr>
          <p:nvPr>
            <p:ph type="body" sz="quarter" idx="18" hasCustomPrompt="1"/>
          </p:nvPr>
        </p:nvSpPr>
        <p:spPr>
          <a:xfrm>
            <a:off x="4065518" y="2245710"/>
            <a:ext cx="2289974" cy="1739538"/>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9" name="Textplatzhalter 14">
            <a:extLst>
              <a:ext uri="{FF2B5EF4-FFF2-40B4-BE49-F238E27FC236}">
                <a16:creationId xmlns:a16="http://schemas.microsoft.com/office/drawing/2014/main" id="{4C9BA1BF-0690-4DB5-9BBC-31D1948D82A8}"/>
              </a:ext>
            </a:extLst>
          </p:cNvPr>
          <p:cNvSpPr>
            <a:spLocks noGrp="1"/>
          </p:cNvSpPr>
          <p:nvPr>
            <p:ph type="body" sz="quarter" idx="19" hasCustomPrompt="1"/>
          </p:nvPr>
        </p:nvSpPr>
        <p:spPr>
          <a:xfrm>
            <a:off x="6746476" y="4443157"/>
            <a:ext cx="2289974" cy="1463249"/>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20" name="Textplatzhalter 14">
            <a:extLst>
              <a:ext uri="{FF2B5EF4-FFF2-40B4-BE49-F238E27FC236}">
                <a16:creationId xmlns:a16="http://schemas.microsoft.com/office/drawing/2014/main" id="{0D187952-9422-42DE-B163-B764E0D09925}"/>
              </a:ext>
            </a:extLst>
          </p:cNvPr>
          <p:cNvSpPr>
            <a:spLocks noGrp="1"/>
          </p:cNvSpPr>
          <p:nvPr>
            <p:ph type="body" sz="quarter" idx="20" hasCustomPrompt="1"/>
          </p:nvPr>
        </p:nvSpPr>
        <p:spPr>
          <a:xfrm>
            <a:off x="4065519" y="4451209"/>
            <a:ext cx="2289972" cy="1457161"/>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21" name="Textplatzhalter 14">
            <a:extLst>
              <a:ext uri="{FF2B5EF4-FFF2-40B4-BE49-F238E27FC236}">
                <a16:creationId xmlns:a16="http://schemas.microsoft.com/office/drawing/2014/main" id="{54291470-2EE9-46D8-8083-E4523DCE52BB}"/>
              </a:ext>
            </a:extLst>
          </p:cNvPr>
          <p:cNvSpPr>
            <a:spLocks noGrp="1"/>
          </p:cNvSpPr>
          <p:nvPr>
            <p:ph type="body" sz="quarter" idx="22" hasCustomPrompt="1"/>
          </p:nvPr>
        </p:nvSpPr>
        <p:spPr>
          <a:xfrm>
            <a:off x="4065517" y="1921400"/>
            <a:ext cx="2289974"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2" name="Textplatzhalter 14">
            <a:extLst>
              <a:ext uri="{FF2B5EF4-FFF2-40B4-BE49-F238E27FC236}">
                <a16:creationId xmlns:a16="http://schemas.microsoft.com/office/drawing/2014/main" id="{17B8E7E2-50C1-429D-A8C5-C098CDADCF3F}"/>
              </a:ext>
            </a:extLst>
          </p:cNvPr>
          <p:cNvSpPr>
            <a:spLocks noGrp="1"/>
          </p:cNvSpPr>
          <p:nvPr>
            <p:ph type="body" sz="quarter" idx="23" hasCustomPrompt="1"/>
          </p:nvPr>
        </p:nvSpPr>
        <p:spPr>
          <a:xfrm>
            <a:off x="6746476" y="4118846"/>
            <a:ext cx="2289974"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3" name="Textplatzhalter 14">
            <a:extLst>
              <a:ext uri="{FF2B5EF4-FFF2-40B4-BE49-F238E27FC236}">
                <a16:creationId xmlns:a16="http://schemas.microsoft.com/office/drawing/2014/main" id="{09DB38C9-BBE5-4212-87C2-D9B34A470753}"/>
              </a:ext>
            </a:extLst>
          </p:cNvPr>
          <p:cNvSpPr>
            <a:spLocks noGrp="1"/>
          </p:cNvSpPr>
          <p:nvPr>
            <p:ph type="body" sz="quarter" idx="24" hasCustomPrompt="1"/>
          </p:nvPr>
        </p:nvSpPr>
        <p:spPr>
          <a:xfrm>
            <a:off x="4065518" y="4118846"/>
            <a:ext cx="2289972"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4" name="Textplatzhalter 14">
            <a:extLst>
              <a:ext uri="{FF2B5EF4-FFF2-40B4-BE49-F238E27FC236}">
                <a16:creationId xmlns:a16="http://schemas.microsoft.com/office/drawing/2014/main" id="{EA61E342-2B6C-4379-A3B3-8D1B338F656B}"/>
              </a:ext>
            </a:extLst>
          </p:cNvPr>
          <p:cNvSpPr>
            <a:spLocks noGrp="1"/>
          </p:cNvSpPr>
          <p:nvPr>
            <p:ph type="body" sz="quarter" idx="25" hasCustomPrompt="1"/>
          </p:nvPr>
        </p:nvSpPr>
        <p:spPr>
          <a:xfrm>
            <a:off x="9417910" y="1921400"/>
            <a:ext cx="2289974"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5" name="Textplatzhalter 14">
            <a:extLst>
              <a:ext uri="{FF2B5EF4-FFF2-40B4-BE49-F238E27FC236}">
                <a16:creationId xmlns:a16="http://schemas.microsoft.com/office/drawing/2014/main" id="{4F39B769-D212-4C11-B6CB-0423DD10599D}"/>
              </a:ext>
            </a:extLst>
          </p:cNvPr>
          <p:cNvSpPr>
            <a:spLocks noGrp="1"/>
          </p:cNvSpPr>
          <p:nvPr>
            <p:ph type="body" sz="quarter" idx="26" hasCustomPrompt="1"/>
          </p:nvPr>
        </p:nvSpPr>
        <p:spPr>
          <a:xfrm>
            <a:off x="9417910" y="2245710"/>
            <a:ext cx="2289974" cy="1739538"/>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2" name="Titel 1">
            <a:extLst>
              <a:ext uri="{FF2B5EF4-FFF2-40B4-BE49-F238E27FC236}">
                <a16:creationId xmlns:a16="http://schemas.microsoft.com/office/drawing/2014/main" id="{7C47FF8E-011E-46E6-9F4D-DAD4830958DB}"/>
              </a:ext>
            </a:extLst>
          </p:cNvPr>
          <p:cNvSpPr>
            <a:spLocks noGrp="1"/>
          </p:cNvSpPr>
          <p:nvPr>
            <p:ph type="title" hasCustomPrompt="1"/>
          </p:nvPr>
        </p:nvSpPr>
        <p:spPr>
          <a:xfrm>
            <a:off x="4065516" y="1185284"/>
            <a:ext cx="7288284" cy="469490"/>
          </a:xfrm>
        </p:spPr>
        <p:txBody>
          <a:bodyPr rtlCol="0" anchor="t">
            <a:normAutofit/>
          </a:bodyPr>
          <a:lstStyle>
            <a:lvl1pPr>
              <a:lnSpc>
                <a:spcPct val="100000"/>
              </a:lnSpc>
              <a:defRPr sz="2800">
                <a:ln w="19050">
                  <a:solidFill>
                    <a:schemeClr val="accent5"/>
                  </a:solidFill>
                </a:ln>
              </a:defRPr>
            </a:lvl1pPr>
          </a:lstStyle>
          <a:p>
            <a:pPr rtl="0"/>
            <a:r>
              <a:rPr lang="de-DE" noProof="0"/>
              <a:t>Titel durch Klicken hinzufügen</a:t>
            </a:r>
          </a:p>
        </p:txBody>
      </p:sp>
    </p:spTree>
    <p:extLst>
      <p:ext uri="{BB962C8B-B14F-4D97-AF65-F5344CB8AC3E}">
        <p14:creationId xmlns:p14="http://schemas.microsoft.com/office/powerpoint/2010/main" val="18639737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ösung">
    <p:spTree>
      <p:nvGrpSpPr>
        <p:cNvPr id="1" name=""/>
        <p:cNvGrpSpPr/>
        <p:nvPr/>
      </p:nvGrpSpPr>
      <p:grpSpPr>
        <a:xfrm>
          <a:off x="0" y="0"/>
          <a:ext cx="0" cy="0"/>
          <a:chOff x="0" y="0"/>
          <a:chExt cx="0" cy="0"/>
        </a:xfrm>
      </p:grpSpPr>
      <p:pic>
        <p:nvPicPr>
          <p:cNvPr id="3" name="Bild 2">
            <a:extLst>
              <a:ext uri="{FF2B5EF4-FFF2-40B4-BE49-F238E27FC236}">
                <a16:creationId xmlns:a16="http://schemas.microsoft.com/office/drawing/2014/main" id="{EA781AFB-2572-4954-B05E-84CDE1D88316}"/>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5" name="Datumsplatzhalter 4">
            <a:extLst>
              <a:ext uri="{FF2B5EF4-FFF2-40B4-BE49-F238E27FC236}">
                <a16:creationId xmlns:a16="http://schemas.microsoft.com/office/drawing/2014/main" id="{0E750850-5ECD-4AA5-8EF0-70C6EA291EF3}"/>
              </a:ext>
            </a:extLst>
          </p:cNvPr>
          <p:cNvSpPr>
            <a:spLocks noGrp="1"/>
          </p:cNvSpPr>
          <p:nvPr>
            <p:ph type="dt" sz="half" idx="10"/>
          </p:nvPr>
        </p:nvSpPr>
        <p:spPr/>
        <p:txBody>
          <a:bodyPr rtlCol="0"/>
          <a:lstStyle/>
          <a:p>
            <a:pPr rtl="0"/>
            <a:r>
              <a:rPr lang="de-DE" noProof="0"/>
              <a:t>06.08.20XX</a:t>
            </a:r>
          </a:p>
        </p:txBody>
      </p:sp>
      <p:sp>
        <p:nvSpPr>
          <p:cNvPr id="6" name="Fußzeilenplatzhalter 5">
            <a:extLst>
              <a:ext uri="{FF2B5EF4-FFF2-40B4-BE49-F238E27FC236}">
                <a16:creationId xmlns:a16="http://schemas.microsoft.com/office/drawing/2014/main" id="{126B04CF-8972-48CE-B427-B542AF911BB4}"/>
              </a:ext>
            </a:extLst>
          </p:cNvPr>
          <p:cNvSpPr>
            <a:spLocks noGrp="1"/>
          </p:cNvSpPr>
          <p:nvPr>
            <p:ph type="ftr" sz="quarter" idx="11"/>
          </p:nvPr>
        </p:nvSpPr>
        <p:spPr/>
        <p:txBody>
          <a:bodyPr rtlCol="0"/>
          <a:lstStyle/>
          <a:p>
            <a:pPr rtl="0"/>
            <a:r>
              <a:rPr lang="de-DE" noProof="0"/>
              <a:t>VERKAUFSPRÄSENTATION</a:t>
            </a:r>
          </a:p>
        </p:txBody>
      </p:sp>
      <p:sp>
        <p:nvSpPr>
          <p:cNvPr id="7" name="Foliennummernplatzhalter 6">
            <a:extLst>
              <a:ext uri="{FF2B5EF4-FFF2-40B4-BE49-F238E27FC236}">
                <a16:creationId xmlns:a16="http://schemas.microsoft.com/office/drawing/2014/main" id="{F9864ACC-F262-4128-BC17-FCB29BEF0763}"/>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12" name="Textplatzhalter 14">
            <a:extLst>
              <a:ext uri="{FF2B5EF4-FFF2-40B4-BE49-F238E27FC236}">
                <a16:creationId xmlns:a16="http://schemas.microsoft.com/office/drawing/2014/main" id="{717CFF16-7992-46DD-8151-F55B0300570B}"/>
              </a:ext>
            </a:extLst>
          </p:cNvPr>
          <p:cNvSpPr>
            <a:spLocks noGrp="1"/>
          </p:cNvSpPr>
          <p:nvPr>
            <p:ph type="body" sz="quarter" idx="16" hasCustomPrompt="1"/>
          </p:nvPr>
        </p:nvSpPr>
        <p:spPr>
          <a:xfrm>
            <a:off x="8506711" y="1335193"/>
            <a:ext cx="2859090"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13" name="Textplatzhalter 14">
            <a:extLst>
              <a:ext uri="{FF2B5EF4-FFF2-40B4-BE49-F238E27FC236}">
                <a16:creationId xmlns:a16="http://schemas.microsoft.com/office/drawing/2014/main" id="{EBADC1C2-D36B-4AFE-8824-DE6D0FB51384}"/>
              </a:ext>
            </a:extLst>
          </p:cNvPr>
          <p:cNvSpPr>
            <a:spLocks noGrp="1"/>
          </p:cNvSpPr>
          <p:nvPr>
            <p:ph type="body" sz="quarter" idx="13" hasCustomPrompt="1"/>
          </p:nvPr>
        </p:nvSpPr>
        <p:spPr>
          <a:xfrm>
            <a:off x="8506711" y="1639822"/>
            <a:ext cx="2859090" cy="1475319"/>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4" name="Textplatzhalter 14">
            <a:extLst>
              <a:ext uri="{FF2B5EF4-FFF2-40B4-BE49-F238E27FC236}">
                <a16:creationId xmlns:a16="http://schemas.microsoft.com/office/drawing/2014/main" id="{F1632658-DE5C-4EA2-83DE-AB456D9D76ED}"/>
              </a:ext>
            </a:extLst>
          </p:cNvPr>
          <p:cNvSpPr>
            <a:spLocks noGrp="1"/>
          </p:cNvSpPr>
          <p:nvPr>
            <p:ph type="body" sz="quarter" idx="17" hasCustomPrompt="1"/>
          </p:nvPr>
        </p:nvSpPr>
        <p:spPr>
          <a:xfrm>
            <a:off x="5167309" y="1639822"/>
            <a:ext cx="2859091" cy="1517776"/>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5" name="Textplatzhalter 14">
            <a:extLst>
              <a:ext uri="{FF2B5EF4-FFF2-40B4-BE49-F238E27FC236}">
                <a16:creationId xmlns:a16="http://schemas.microsoft.com/office/drawing/2014/main" id="{76A6D61C-C33C-46D5-B2C5-6C6A7C143A97}"/>
              </a:ext>
            </a:extLst>
          </p:cNvPr>
          <p:cNvSpPr>
            <a:spLocks noGrp="1"/>
          </p:cNvSpPr>
          <p:nvPr>
            <p:ph type="body" sz="quarter" idx="18" hasCustomPrompt="1"/>
          </p:nvPr>
        </p:nvSpPr>
        <p:spPr>
          <a:xfrm>
            <a:off x="8506711" y="3837269"/>
            <a:ext cx="2859090" cy="1533310"/>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6" name="Textplatzhalter 14">
            <a:extLst>
              <a:ext uri="{FF2B5EF4-FFF2-40B4-BE49-F238E27FC236}">
                <a16:creationId xmlns:a16="http://schemas.microsoft.com/office/drawing/2014/main" id="{0A4E6A96-585A-4265-900D-17D98121F544}"/>
              </a:ext>
            </a:extLst>
          </p:cNvPr>
          <p:cNvSpPr>
            <a:spLocks noGrp="1"/>
          </p:cNvSpPr>
          <p:nvPr>
            <p:ph type="body" sz="quarter" idx="19" hasCustomPrompt="1"/>
          </p:nvPr>
        </p:nvSpPr>
        <p:spPr>
          <a:xfrm>
            <a:off x="5167310" y="3845321"/>
            <a:ext cx="2859089" cy="1526930"/>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7" name="Textplatzhalter 14">
            <a:extLst>
              <a:ext uri="{FF2B5EF4-FFF2-40B4-BE49-F238E27FC236}">
                <a16:creationId xmlns:a16="http://schemas.microsoft.com/office/drawing/2014/main" id="{28B8437C-1550-4581-911A-98BEA151A4AD}"/>
              </a:ext>
            </a:extLst>
          </p:cNvPr>
          <p:cNvSpPr>
            <a:spLocks noGrp="1"/>
          </p:cNvSpPr>
          <p:nvPr>
            <p:ph type="body" sz="quarter" idx="22" hasCustomPrompt="1"/>
          </p:nvPr>
        </p:nvSpPr>
        <p:spPr>
          <a:xfrm>
            <a:off x="5167308" y="1335193"/>
            <a:ext cx="2859091"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18" name="Textplatzhalter 14">
            <a:extLst>
              <a:ext uri="{FF2B5EF4-FFF2-40B4-BE49-F238E27FC236}">
                <a16:creationId xmlns:a16="http://schemas.microsoft.com/office/drawing/2014/main" id="{04DF1AD6-E51A-4D19-A9C8-CCAFE9E9B2A0}"/>
              </a:ext>
            </a:extLst>
          </p:cNvPr>
          <p:cNvSpPr>
            <a:spLocks noGrp="1"/>
          </p:cNvSpPr>
          <p:nvPr>
            <p:ph type="body" sz="quarter" idx="23" hasCustomPrompt="1"/>
          </p:nvPr>
        </p:nvSpPr>
        <p:spPr>
          <a:xfrm>
            <a:off x="8506711" y="3532639"/>
            <a:ext cx="2859090"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19" name="Textplatzhalter 14">
            <a:extLst>
              <a:ext uri="{FF2B5EF4-FFF2-40B4-BE49-F238E27FC236}">
                <a16:creationId xmlns:a16="http://schemas.microsoft.com/office/drawing/2014/main" id="{A3656830-2B4C-4F48-8EBD-F8C80C353FC4}"/>
              </a:ext>
            </a:extLst>
          </p:cNvPr>
          <p:cNvSpPr>
            <a:spLocks noGrp="1"/>
          </p:cNvSpPr>
          <p:nvPr>
            <p:ph type="body" sz="quarter" idx="24" hasCustomPrompt="1"/>
          </p:nvPr>
        </p:nvSpPr>
        <p:spPr>
          <a:xfrm>
            <a:off x="5167309" y="3532639"/>
            <a:ext cx="2859089"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 name="Titel 1">
            <a:extLst>
              <a:ext uri="{FF2B5EF4-FFF2-40B4-BE49-F238E27FC236}">
                <a16:creationId xmlns:a16="http://schemas.microsoft.com/office/drawing/2014/main" id="{923D6999-ED11-424C-91FD-1ECD0CB9D272}"/>
              </a:ext>
            </a:extLst>
          </p:cNvPr>
          <p:cNvSpPr>
            <a:spLocks noGrp="1"/>
          </p:cNvSpPr>
          <p:nvPr>
            <p:ph type="title" hasCustomPrompt="1"/>
          </p:nvPr>
        </p:nvSpPr>
        <p:spPr>
          <a:xfrm>
            <a:off x="1384299" y="2768600"/>
            <a:ext cx="2956810" cy="1129164"/>
          </a:xfrm>
        </p:spPr>
        <p:txBody>
          <a:bodyPr rtlCol="0" anchor="t">
            <a:normAutofit/>
          </a:bodyPr>
          <a:lstStyle>
            <a:lvl1pPr>
              <a:lnSpc>
                <a:spcPct val="125000"/>
              </a:lnSpc>
              <a:defRPr sz="2800">
                <a:ln w="19050">
                  <a:solidFill>
                    <a:schemeClr val="bg1"/>
                  </a:solidFill>
                </a:ln>
              </a:defRPr>
            </a:lvl1pPr>
          </a:lstStyle>
          <a:p>
            <a:pPr rtl="0"/>
            <a:r>
              <a:rPr lang="de-DE" noProof="0"/>
              <a:t>Titel durch Klicken hinzufügen</a:t>
            </a:r>
          </a:p>
        </p:txBody>
      </p:sp>
    </p:spTree>
    <p:extLst>
      <p:ext uri="{BB962C8B-B14F-4D97-AF65-F5344CB8AC3E}">
        <p14:creationId xmlns:p14="http://schemas.microsoft.com/office/powerpoint/2010/main" val="232888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roduktübersicht">
    <p:spTree>
      <p:nvGrpSpPr>
        <p:cNvPr id="1" name=""/>
        <p:cNvGrpSpPr/>
        <p:nvPr/>
      </p:nvGrpSpPr>
      <p:grpSpPr>
        <a:xfrm>
          <a:off x="0" y="0"/>
          <a:ext cx="0" cy="0"/>
          <a:chOff x="0" y="0"/>
          <a:chExt cx="0" cy="0"/>
        </a:xfrm>
      </p:grpSpPr>
      <p:pic>
        <p:nvPicPr>
          <p:cNvPr id="3" name="Bild 2">
            <a:extLst>
              <a:ext uri="{FF2B5EF4-FFF2-40B4-BE49-F238E27FC236}">
                <a16:creationId xmlns:a16="http://schemas.microsoft.com/office/drawing/2014/main" id="{7A0CE26C-A8CF-4DC0-9913-86FF0ED87623}"/>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7" name="Datumsplatzhalter 6">
            <a:extLst>
              <a:ext uri="{FF2B5EF4-FFF2-40B4-BE49-F238E27FC236}">
                <a16:creationId xmlns:a16="http://schemas.microsoft.com/office/drawing/2014/main" id="{15DD4FC6-591F-4220-A331-724C4FE41E93}"/>
              </a:ext>
            </a:extLst>
          </p:cNvPr>
          <p:cNvSpPr>
            <a:spLocks noGrp="1"/>
          </p:cNvSpPr>
          <p:nvPr>
            <p:ph type="dt" sz="half" idx="10"/>
          </p:nvPr>
        </p:nvSpPr>
        <p:spPr/>
        <p:txBody>
          <a:bodyPr rtlCol="0"/>
          <a:lstStyle/>
          <a:p>
            <a:pPr rtl="0"/>
            <a:r>
              <a:rPr lang="de-DE" noProof="0"/>
              <a:t>06.08.20XX</a:t>
            </a:r>
          </a:p>
        </p:txBody>
      </p:sp>
      <p:sp>
        <p:nvSpPr>
          <p:cNvPr id="8" name="Fußzeilenplatzhalter 7">
            <a:extLst>
              <a:ext uri="{FF2B5EF4-FFF2-40B4-BE49-F238E27FC236}">
                <a16:creationId xmlns:a16="http://schemas.microsoft.com/office/drawing/2014/main" id="{A1506146-DCCA-4419-9FC3-7F33AEABA41D}"/>
              </a:ext>
            </a:extLst>
          </p:cNvPr>
          <p:cNvSpPr>
            <a:spLocks noGrp="1"/>
          </p:cNvSpPr>
          <p:nvPr>
            <p:ph type="ftr" sz="quarter" idx="11"/>
          </p:nvPr>
        </p:nvSpPr>
        <p:spPr/>
        <p:txBody>
          <a:bodyPr rtlCol="0"/>
          <a:lstStyle/>
          <a:p>
            <a:pPr rtl="0"/>
            <a:r>
              <a:rPr lang="de-DE" noProof="0"/>
              <a:t>VERKAUFSPRÄSENTATION</a:t>
            </a:r>
          </a:p>
        </p:txBody>
      </p:sp>
      <p:sp>
        <p:nvSpPr>
          <p:cNvPr id="9" name="Foliennummernplatzhalter 8">
            <a:extLst>
              <a:ext uri="{FF2B5EF4-FFF2-40B4-BE49-F238E27FC236}">
                <a16:creationId xmlns:a16="http://schemas.microsoft.com/office/drawing/2014/main" id="{4BDEDAF2-5575-4164-9610-7906C2033591}"/>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35" name="Textplatzhalter 14">
            <a:extLst>
              <a:ext uri="{FF2B5EF4-FFF2-40B4-BE49-F238E27FC236}">
                <a16:creationId xmlns:a16="http://schemas.microsoft.com/office/drawing/2014/main" id="{0C598512-93DF-4C00-A3BC-4CFF184217A6}"/>
              </a:ext>
            </a:extLst>
          </p:cNvPr>
          <p:cNvSpPr>
            <a:spLocks noGrp="1"/>
          </p:cNvSpPr>
          <p:nvPr>
            <p:ph type="body" sz="quarter" idx="27" hasCustomPrompt="1"/>
          </p:nvPr>
        </p:nvSpPr>
        <p:spPr>
          <a:xfrm>
            <a:off x="620484" y="3639417"/>
            <a:ext cx="2383764" cy="365125"/>
          </a:xfrm>
          <a:prstGeom prst="rect">
            <a:avLst/>
          </a:prstGeom>
        </p:spPr>
        <p:txBody>
          <a:bodyPr rtlCol="0"/>
          <a:lstStyle>
            <a:lvl1pPr marL="0" indent="0" algn="ctr">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36" name="Textplatzhalter 14">
            <a:extLst>
              <a:ext uri="{FF2B5EF4-FFF2-40B4-BE49-F238E27FC236}">
                <a16:creationId xmlns:a16="http://schemas.microsoft.com/office/drawing/2014/main" id="{9AFC7B8A-881F-4E97-91D4-F41DFA6D8F8E}"/>
              </a:ext>
            </a:extLst>
          </p:cNvPr>
          <p:cNvSpPr>
            <a:spLocks noGrp="1"/>
          </p:cNvSpPr>
          <p:nvPr>
            <p:ph type="body" sz="quarter" idx="28" hasCustomPrompt="1"/>
          </p:nvPr>
        </p:nvSpPr>
        <p:spPr>
          <a:xfrm>
            <a:off x="620484" y="3965866"/>
            <a:ext cx="2383764" cy="1126085"/>
          </a:xfrm>
          <a:prstGeom prst="rect">
            <a:avLst/>
          </a:prstGeom>
        </p:spPr>
        <p:txBody>
          <a:bodyPr rtlCol="0"/>
          <a:lstStyle>
            <a:lvl1pPr marL="0" indent="0" algn="ctr">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37" name="Textplatzhalter 14">
            <a:extLst>
              <a:ext uri="{FF2B5EF4-FFF2-40B4-BE49-F238E27FC236}">
                <a16:creationId xmlns:a16="http://schemas.microsoft.com/office/drawing/2014/main" id="{77B10018-89A9-49C8-8DCE-621EF9328C63}"/>
              </a:ext>
            </a:extLst>
          </p:cNvPr>
          <p:cNvSpPr>
            <a:spLocks noGrp="1"/>
          </p:cNvSpPr>
          <p:nvPr>
            <p:ph type="body" sz="quarter" idx="15" hasCustomPrompt="1"/>
          </p:nvPr>
        </p:nvSpPr>
        <p:spPr>
          <a:xfrm>
            <a:off x="3478982" y="3969554"/>
            <a:ext cx="2383764" cy="1126085"/>
          </a:xfrm>
          <a:prstGeom prst="rect">
            <a:avLst/>
          </a:prstGeom>
        </p:spPr>
        <p:txBody>
          <a:bodyPr rtlCol="0"/>
          <a:lstStyle>
            <a:lvl1pPr marL="0" indent="0" algn="ctr">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38" name="Textplatzhalter 14">
            <a:extLst>
              <a:ext uri="{FF2B5EF4-FFF2-40B4-BE49-F238E27FC236}">
                <a16:creationId xmlns:a16="http://schemas.microsoft.com/office/drawing/2014/main" id="{342C0572-2FB8-4C18-AD74-75A165321342}"/>
              </a:ext>
            </a:extLst>
          </p:cNvPr>
          <p:cNvSpPr>
            <a:spLocks noGrp="1"/>
          </p:cNvSpPr>
          <p:nvPr>
            <p:ph type="body" sz="quarter" idx="17" hasCustomPrompt="1"/>
          </p:nvPr>
        </p:nvSpPr>
        <p:spPr>
          <a:xfrm>
            <a:off x="6337478" y="3953422"/>
            <a:ext cx="2383765" cy="1126085"/>
          </a:xfrm>
          <a:prstGeom prst="rect">
            <a:avLst/>
          </a:prstGeom>
        </p:spPr>
        <p:txBody>
          <a:bodyPr rtlCol="0"/>
          <a:lstStyle>
            <a:lvl1pPr marL="0" indent="0" algn="ctr">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39" name="Textplatzhalter 14">
            <a:extLst>
              <a:ext uri="{FF2B5EF4-FFF2-40B4-BE49-F238E27FC236}">
                <a16:creationId xmlns:a16="http://schemas.microsoft.com/office/drawing/2014/main" id="{3495EE04-F172-4AD4-8FE7-4A03B1CE4F82}"/>
              </a:ext>
            </a:extLst>
          </p:cNvPr>
          <p:cNvSpPr>
            <a:spLocks noGrp="1"/>
          </p:cNvSpPr>
          <p:nvPr>
            <p:ph type="body" sz="quarter" idx="19" hasCustomPrompt="1"/>
          </p:nvPr>
        </p:nvSpPr>
        <p:spPr>
          <a:xfrm>
            <a:off x="9188445" y="3953422"/>
            <a:ext cx="2383765" cy="1126085"/>
          </a:xfrm>
          <a:prstGeom prst="rect">
            <a:avLst/>
          </a:prstGeom>
        </p:spPr>
        <p:txBody>
          <a:bodyPr rtlCol="0"/>
          <a:lstStyle>
            <a:lvl1pPr marL="0" indent="0" algn="ctr">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40" name="Textplatzhalter 14">
            <a:extLst>
              <a:ext uri="{FF2B5EF4-FFF2-40B4-BE49-F238E27FC236}">
                <a16:creationId xmlns:a16="http://schemas.microsoft.com/office/drawing/2014/main" id="{F23ABA12-4A7C-42A2-9A8E-9E7F1A2BB230}"/>
              </a:ext>
            </a:extLst>
          </p:cNvPr>
          <p:cNvSpPr>
            <a:spLocks noGrp="1"/>
          </p:cNvSpPr>
          <p:nvPr>
            <p:ph type="body" sz="quarter" idx="29" hasCustomPrompt="1"/>
          </p:nvPr>
        </p:nvSpPr>
        <p:spPr>
          <a:xfrm>
            <a:off x="3419503" y="3639417"/>
            <a:ext cx="2502719" cy="365125"/>
          </a:xfrm>
          <a:prstGeom prst="rect">
            <a:avLst/>
          </a:prstGeom>
        </p:spPr>
        <p:txBody>
          <a:bodyPr rtlCol="0"/>
          <a:lstStyle>
            <a:lvl1pPr marL="0" indent="0" algn="ctr">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41" name="Textplatzhalter 14">
            <a:extLst>
              <a:ext uri="{FF2B5EF4-FFF2-40B4-BE49-F238E27FC236}">
                <a16:creationId xmlns:a16="http://schemas.microsoft.com/office/drawing/2014/main" id="{1E11CB21-11BD-400A-BC43-71A9AFA9282B}"/>
              </a:ext>
            </a:extLst>
          </p:cNvPr>
          <p:cNvSpPr>
            <a:spLocks noGrp="1"/>
          </p:cNvSpPr>
          <p:nvPr>
            <p:ph type="body" sz="quarter" idx="30" hasCustomPrompt="1"/>
          </p:nvPr>
        </p:nvSpPr>
        <p:spPr>
          <a:xfrm>
            <a:off x="6337478" y="3639417"/>
            <a:ext cx="2383765" cy="365125"/>
          </a:xfrm>
          <a:prstGeom prst="rect">
            <a:avLst/>
          </a:prstGeom>
        </p:spPr>
        <p:txBody>
          <a:bodyPr rtlCol="0"/>
          <a:lstStyle>
            <a:lvl1pPr marL="0" indent="0" algn="ctr">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42" name="Textplatzhalter 14">
            <a:extLst>
              <a:ext uri="{FF2B5EF4-FFF2-40B4-BE49-F238E27FC236}">
                <a16:creationId xmlns:a16="http://schemas.microsoft.com/office/drawing/2014/main" id="{02DE0CA8-2A1F-49D8-B9B6-BF353B9808C6}"/>
              </a:ext>
            </a:extLst>
          </p:cNvPr>
          <p:cNvSpPr>
            <a:spLocks noGrp="1"/>
          </p:cNvSpPr>
          <p:nvPr>
            <p:ph type="body" sz="quarter" idx="31" hasCustomPrompt="1"/>
          </p:nvPr>
        </p:nvSpPr>
        <p:spPr>
          <a:xfrm>
            <a:off x="9188445" y="3639417"/>
            <a:ext cx="2383765" cy="365125"/>
          </a:xfrm>
          <a:prstGeom prst="rect">
            <a:avLst/>
          </a:prstGeom>
        </p:spPr>
        <p:txBody>
          <a:bodyPr rtlCol="0"/>
          <a:lstStyle>
            <a:lvl1pPr marL="0" indent="0" algn="ctr">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 name="Titel 1">
            <a:extLst>
              <a:ext uri="{FF2B5EF4-FFF2-40B4-BE49-F238E27FC236}">
                <a16:creationId xmlns:a16="http://schemas.microsoft.com/office/drawing/2014/main" id="{D55D3DD0-ED40-47C1-B841-046E1D918B22}"/>
              </a:ext>
            </a:extLst>
          </p:cNvPr>
          <p:cNvSpPr>
            <a:spLocks noGrp="1"/>
          </p:cNvSpPr>
          <p:nvPr>
            <p:ph type="title" hasCustomPrompt="1"/>
          </p:nvPr>
        </p:nvSpPr>
        <p:spPr>
          <a:xfrm>
            <a:off x="2452697" y="1581912"/>
            <a:ext cx="7286605" cy="634323"/>
          </a:xfrm>
        </p:spPr>
        <p:txBody>
          <a:bodyPr rtlCol="0">
            <a:normAutofit/>
          </a:bodyPr>
          <a:lstStyle>
            <a:lvl1pPr algn="ctr">
              <a:lnSpc>
                <a:spcPct val="125000"/>
              </a:lnSpc>
              <a:defRPr sz="2800">
                <a:ln w="19050">
                  <a:solidFill>
                    <a:schemeClr val="bg1"/>
                  </a:solidFill>
                </a:ln>
              </a:defRPr>
            </a:lvl1pPr>
          </a:lstStyle>
          <a:p>
            <a:pPr rtl="0"/>
            <a:r>
              <a:rPr lang="de-DE" noProof="0"/>
              <a:t>Titel durch Klicken hinzufügen</a:t>
            </a:r>
          </a:p>
        </p:txBody>
      </p:sp>
      <p:sp>
        <p:nvSpPr>
          <p:cNvPr id="4" name="Bildplatzhalter 3">
            <a:extLst>
              <a:ext uri="{FF2B5EF4-FFF2-40B4-BE49-F238E27FC236}">
                <a16:creationId xmlns:a16="http://schemas.microsoft.com/office/drawing/2014/main" id="{23C97099-E767-429A-80C6-731FB9D295F4}"/>
              </a:ext>
            </a:extLst>
          </p:cNvPr>
          <p:cNvSpPr>
            <a:spLocks noGrp="1"/>
          </p:cNvSpPr>
          <p:nvPr>
            <p:ph type="pic" sz="quarter" idx="32"/>
          </p:nvPr>
        </p:nvSpPr>
        <p:spPr>
          <a:xfrm>
            <a:off x="1510614" y="2847098"/>
            <a:ext cx="603504" cy="603504"/>
          </a:xfrm>
        </p:spPr>
        <p:txBody>
          <a:bodyPr rtlCol="0" anchor="ctr">
            <a:normAutofit/>
          </a:bodyPr>
          <a:lstStyle>
            <a:lvl1pPr marL="0" indent="0" algn="ctr">
              <a:buNone/>
              <a:defRPr sz="900">
                <a:solidFill>
                  <a:schemeClr val="bg1"/>
                </a:solidFill>
              </a:defRPr>
            </a:lvl1pPr>
          </a:lstStyle>
          <a:p>
            <a:pPr rtl="0"/>
            <a:r>
              <a:rPr lang="de-DE" noProof="0"/>
              <a:t>Bild durch Klicken auf Symbol hinzufügen</a:t>
            </a:r>
          </a:p>
        </p:txBody>
      </p:sp>
      <p:sp>
        <p:nvSpPr>
          <p:cNvPr id="22" name="Bildplatzhalter 3">
            <a:extLst>
              <a:ext uri="{FF2B5EF4-FFF2-40B4-BE49-F238E27FC236}">
                <a16:creationId xmlns:a16="http://schemas.microsoft.com/office/drawing/2014/main" id="{E2E22B87-E0E3-4234-B4FA-C9FC97DEDCB3}"/>
              </a:ext>
            </a:extLst>
          </p:cNvPr>
          <p:cNvSpPr>
            <a:spLocks noGrp="1"/>
          </p:cNvSpPr>
          <p:nvPr>
            <p:ph type="pic" sz="quarter" idx="33"/>
          </p:nvPr>
        </p:nvSpPr>
        <p:spPr>
          <a:xfrm>
            <a:off x="4369110" y="2847098"/>
            <a:ext cx="603504" cy="603504"/>
          </a:xfrm>
        </p:spPr>
        <p:txBody>
          <a:bodyPr rtlCol="0" anchor="ctr">
            <a:normAutofit/>
          </a:bodyPr>
          <a:lstStyle>
            <a:lvl1pPr marL="0" indent="0" algn="ctr">
              <a:buNone/>
              <a:defRPr sz="900">
                <a:solidFill>
                  <a:schemeClr val="bg1"/>
                </a:solidFill>
              </a:defRPr>
            </a:lvl1pPr>
          </a:lstStyle>
          <a:p>
            <a:pPr rtl="0"/>
            <a:r>
              <a:rPr lang="de-DE" noProof="0"/>
              <a:t>Bild durch Klicken auf Symbol hinzufügen</a:t>
            </a:r>
          </a:p>
        </p:txBody>
      </p:sp>
      <p:sp>
        <p:nvSpPr>
          <p:cNvPr id="24" name="Bildplatzhalter 3">
            <a:extLst>
              <a:ext uri="{FF2B5EF4-FFF2-40B4-BE49-F238E27FC236}">
                <a16:creationId xmlns:a16="http://schemas.microsoft.com/office/drawing/2014/main" id="{8EF1B794-5E10-4558-B229-0D8F5895CCAE}"/>
              </a:ext>
            </a:extLst>
          </p:cNvPr>
          <p:cNvSpPr>
            <a:spLocks noGrp="1"/>
          </p:cNvSpPr>
          <p:nvPr>
            <p:ph type="pic" sz="quarter" idx="34"/>
          </p:nvPr>
        </p:nvSpPr>
        <p:spPr>
          <a:xfrm>
            <a:off x="7227608" y="2847098"/>
            <a:ext cx="603504" cy="603504"/>
          </a:xfrm>
        </p:spPr>
        <p:txBody>
          <a:bodyPr rtlCol="0" anchor="ctr">
            <a:normAutofit/>
          </a:bodyPr>
          <a:lstStyle>
            <a:lvl1pPr marL="0" indent="0" algn="ctr">
              <a:buNone/>
              <a:defRPr sz="900">
                <a:solidFill>
                  <a:schemeClr val="bg1"/>
                </a:solidFill>
              </a:defRPr>
            </a:lvl1pPr>
          </a:lstStyle>
          <a:p>
            <a:pPr rtl="0"/>
            <a:r>
              <a:rPr lang="de-DE" noProof="0"/>
              <a:t>Bild durch Klicken auf Symbol hinzufügen</a:t>
            </a:r>
          </a:p>
        </p:txBody>
      </p:sp>
      <p:sp>
        <p:nvSpPr>
          <p:cNvPr id="25" name="Bildplatzhalter 3">
            <a:extLst>
              <a:ext uri="{FF2B5EF4-FFF2-40B4-BE49-F238E27FC236}">
                <a16:creationId xmlns:a16="http://schemas.microsoft.com/office/drawing/2014/main" id="{5ECB6791-2C34-417D-9AB9-03C9A8BBDF91}"/>
              </a:ext>
            </a:extLst>
          </p:cNvPr>
          <p:cNvSpPr>
            <a:spLocks noGrp="1"/>
          </p:cNvSpPr>
          <p:nvPr>
            <p:ph type="pic" sz="quarter" idx="35"/>
          </p:nvPr>
        </p:nvSpPr>
        <p:spPr>
          <a:xfrm>
            <a:off x="10078575" y="2847098"/>
            <a:ext cx="603504" cy="603504"/>
          </a:xfrm>
        </p:spPr>
        <p:txBody>
          <a:bodyPr rtlCol="0" anchor="ctr">
            <a:normAutofit/>
          </a:bodyPr>
          <a:lstStyle>
            <a:lvl1pPr marL="0" indent="0" algn="ctr">
              <a:buNone/>
              <a:defRPr sz="900">
                <a:solidFill>
                  <a:schemeClr val="bg1"/>
                </a:solidFill>
              </a:defRPr>
            </a:lvl1pPr>
          </a:lstStyle>
          <a:p>
            <a:pPr rtl="0"/>
            <a:r>
              <a:rPr lang="de-DE" noProof="0"/>
              <a:t>Bild durch Klicken auf Symbol hinzufügen</a:t>
            </a:r>
          </a:p>
        </p:txBody>
      </p:sp>
    </p:spTree>
    <p:extLst>
      <p:ext uri="{BB962C8B-B14F-4D97-AF65-F5344CB8AC3E}">
        <p14:creationId xmlns:p14="http://schemas.microsoft.com/office/powerpoint/2010/main" val="366267544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3" Type="http://schemas.openxmlformats.org/officeDocument/2006/relationships/slideLayout" Target="../slideLayouts/slideLayout7.xml"/><Relationship Id="rId21" Type="http://schemas.openxmlformats.org/officeDocument/2006/relationships/slideLayout" Target="../slideLayouts/slideLayout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image" Target="../media/image1.emf"/><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oleObject" Target="../embeddings/oleObject1.bin"/><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tags" Target="../tags/tag1.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407EB02-FEED-DC39-D087-BAE0FA1AAE9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3EAEB3A-C257-69EA-BFE4-F7BD68505C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AC6225-EB48-06C7-AC2D-11B3C09A61A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98A7002-D1AF-3249-98CE-8E1CEA06EC69}" type="datetimeFigureOut">
              <a:rPr lang="en-US" smtClean="0"/>
              <a:t>10/1/2023</a:t>
            </a:fld>
            <a:endParaRPr lang="en-US"/>
          </a:p>
        </p:txBody>
      </p:sp>
      <p:sp>
        <p:nvSpPr>
          <p:cNvPr id="5" name="Footer Placeholder 4">
            <a:extLst>
              <a:ext uri="{FF2B5EF4-FFF2-40B4-BE49-F238E27FC236}">
                <a16:creationId xmlns:a16="http://schemas.microsoft.com/office/drawing/2014/main" id="{BCB638AD-745B-37BC-FC0B-B9772CC7896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4AC7EBF-66E6-CE33-64B6-A2B07D7B30E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B374B79-E03D-AF40-B976-04D9DDEEF647}" type="slidenum">
              <a:rPr lang="en-US" smtClean="0"/>
              <a:t>‹Nr.›</a:t>
            </a:fld>
            <a:endParaRPr lang="en-US"/>
          </a:p>
        </p:txBody>
      </p:sp>
    </p:spTree>
    <p:extLst>
      <p:ext uri="{BB962C8B-B14F-4D97-AF65-F5344CB8AC3E}">
        <p14:creationId xmlns:p14="http://schemas.microsoft.com/office/powerpoint/2010/main" val="2884633593"/>
      </p:ext>
    </p:extLst>
  </p:cSld>
  <p:clrMap bg1="lt1" tx1="dk1" bg2="lt2" tx2="dk2" accent1="accent1" accent2="accent2" accent3="accent3" accent4="accent4" accent5="accent5" accent6="accent6" hlink="hlink" folHlink="folHlink"/>
  <p:sldLayoutIdLst>
    <p:sldLayoutId id="2147483649" r:id="rId1"/>
    <p:sldLayoutId id="2147483719" r:id="rId2"/>
    <p:sldLayoutId id="2147483720" r:id="rId3"/>
    <p:sldLayoutId id="2147483725"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3A8B220-EB52-1F42-82A3-602C701556ED}"/>
              </a:ext>
            </a:extLst>
          </p:cNvPr>
          <p:cNvGraphicFramePr>
            <a:graphicFrameLocks noChangeAspect="1"/>
          </p:cNvGraphicFramePr>
          <p:nvPr userDrawn="1">
            <p:custDataLst>
              <p:tags r:id="rId23"/>
            </p:custDataLst>
            <p:extLst>
              <p:ext uri="{D42A27DB-BD31-4B8C-83A1-F6EECF244321}">
                <p14:modId xmlns:p14="http://schemas.microsoft.com/office/powerpoint/2010/main" val="3801004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592" imgH="591" progId="TCLayout.ActiveDocument.1">
                  <p:embed/>
                </p:oleObj>
              </mc:Choice>
              <mc:Fallback>
                <p:oleObj name="think-cell Folie" r:id="rId24" imgW="592" imgH="591" progId="TCLayout.ActiveDocument.1">
                  <p:embed/>
                  <p:pic>
                    <p:nvPicPr>
                      <p:cNvPr id="8" name="think-cell data - do not delete" hidden="1">
                        <a:extLst>
                          <a:ext uri="{FF2B5EF4-FFF2-40B4-BE49-F238E27FC236}">
                            <a16:creationId xmlns:a16="http://schemas.microsoft.com/office/drawing/2014/main" id="{33A8B220-EB52-1F42-82A3-602C701556ED}"/>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8930B4CC-1CD5-414E-92CD-721B331F6F0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de-DE" noProof="0"/>
              <a:t>Titelmasterformat durch Klicken bearbeiten</a:t>
            </a:r>
          </a:p>
        </p:txBody>
      </p:sp>
      <p:sp>
        <p:nvSpPr>
          <p:cNvPr id="3" name="Textplatzhalter 2">
            <a:extLst>
              <a:ext uri="{FF2B5EF4-FFF2-40B4-BE49-F238E27FC236}">
                <a16:creationId xmlns:a16="http://schemas.microsoft.com/office/drawing/2014/main" id="{B2A47427-FA4C-4262-9C2A-A640B569D45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de-DE" noProof="0"/>
              <a:t>Textmasterformat durch Klicken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4" name="Datumsplatzhalter 3">
            <a:extLst>
              <a:ext uri="{FF2B5EF4-FFF2-40B4-BE49-F238E27FC236}">
                <a16:creationId xmlns:a16="http://schemas.microsoft.com/office/drawing/2014/main" id="{ABFE89D4-4BDC-4CC9-959B-0D2E0BEB89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000" cap="all" spc="100" baseline="0">
                <a:solidFill>
                  <a:schemeClr val="bg1">
                    <a:lumMod val="95000"/>
                  </a:schemeClr>
                </a:solidFill>
                <a:latin typeface="Posterama" panose="020B0504020200020000" pitchFamily="34" charset="0"/>
                <a:cs typeface="Posterama" panose="020B0504020200020000" pitchFamily="34" charset="0"/>
              </a:defRPr>
            </a:lvl1pPr>
          </a:lstStyle>
          <a:p>
            <a:pPr rtl="0"/>
            <a:r>
              <a:rPr lang="de-DE" noProof="0"/>
              <a:t>06.08.20XX</a:t>
            </a:r>
          </a:p>
        </p:txBody>
      </p:sp>
      <p:sp>
        <p:nvSpPr>
          <p:cNvPr id="5" name="Fußzeilenplatzhalter 4">
            <a:extLst>
              <a:ext uri="{FF2B5EF4-FFF2-40B4-BE49-F238E27FC236}">
                <a16:creationId xmlns:a16="http://schemas.microsoft.com/office/drawing/2014/main" id="{FE1285D2-5742-46C4-A6B1-B07CC6823A3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cap="all" spc="100" baseline="0">
                <a:solidFill>
                  <a:schemeClr val="bg1">
                    <a:lumMod val="95000"/>
                  </a:schemeClr>
                </a:solidFill>
                <a:latin typeface="Posterama" panose="020B0504020200020000" pitchFamily="34" charset="0"/>
                <a:cs typeface="Posterama" panose="020B0504020200020000" pitchFamily="34" charset="0"/>
              </a:defRPr>
            </a:lvl1pPr>
          </a:lstStyle>
          <a:p>
            <a:pPr rtl="0"/>
            <a:r>
              <a:rPr lang="de-DE" noProof="0"/>
              <a:t>VERKAUFSPRÄSENTATION</a:t>
            </a:r>
          </a:p>
        </p:txBody>
      </p:sp>
      <p:sp>
        <p:nvSpPr>
          <p:cNvPr id="6" name="Foliennummernplatzhalter 5">
            <a:extLst>
              <a:ext uri="{FF2B5EF4-FFF2-40B4-BE49-F238E27FC236}">
                <a16:creationId xmlns:a16="http://schemas.microsoft.com/office/drawing/2014/main" id="{03D7CF20-6E1A-4F87-A039-3C59B25DA4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000" cap="all" spc="100" baseline="0">
                <a:solidFill>
                  <a:schemeClr val="bg1">
                    <a:lumMod val="95000"/>
                  </a:schemeClr>
                </a:solidFill>
                <a:latin typeface="Posterama" panose="020B0504020200020000" pitchFamily="34" charset="0"/>
                <a:cs typeface="Posterama" panose="020B0504020200020000" pitchFamily="34" charset="0"/>
              </a:defRPr>
            </a:lvl1pPr>
          </a:lstStyle>
          <a:p>
            <a:pPr rtl="0"/>
            <a:fld id="{A402E4C0-AD5E-4E8C-9F21-7CCE474BDCEB}" type="slidenum">
              <a:rPr lang="de-DE" noProof="0" smtClean="0"/>
              <a:pPr rtl="0"/>
              <a:t>‹Nr.›</a:t>
            </a:fld>
            <a:endParaRPr lang="de-DE" noProof="0"/>
          </a:p>
        </p:txBody>
      </p:sp>
    </p:spTree>
    <p:extLst>
      <p:ext uri="{BB962C8B-B14F-4D97-AF65-F5344CB8AC3E}">
        <p14:creationId xmlns:p14="http://schemas.microsoft.com/office/powerpoint/2010/main" val="45933606"/>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Lst>
  <p:hf hdr="0"/>
  <p:txStyles>
    <p:titleStyle>
      <a:lvl1pPr algn="l" defTabSz="914400" rtl="0" eaLnBrk="1" latinLnBrk="0" hangingPunct="1">
        <a:lnSpc>
          <a:spcPct val="80000"/>
        </a:lnSpc>
        <a:spcBef>
          <a:spcPct val="0"/>
        </a:spcBef>
        <a:buNone/>
        <a:defRPr sz="4400" b="1" kern="1200" cap="all" spc="400" baseline="0">
          <a:ln w="19050">
            <a:solidFill>
              <a:schemeClr val="accent2"/>
            </a:solidFill>
          </a:ln>
          <a:no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3" Type="http://schemas.openxmlformats.org/officeDocument/2006/relationships/notesSlide" Target="../notesSlides/notesSlide1.xml"/><Relationship Id="rId7" Type="http://schemas.openxmlformats.org/officeDocument/2006/relationships/hyperlink" Target="mailto:Valentin.bese@servicebrige.net" TargetMode="External"/><Relationship Id="rId12" Type="http://schemas.openxmlformats.org/officeDocument/2006/relationships/image" Target="../media/image19.png"/><Relationship Id="rId2" Type="http://schemas.openxmlformats.org/officeDocument/2006/relationships/slideLayout" Target="../slideLayouts/slideLayout9.xml"/><Relationship Id="rId1" Type="http://schemas.openxmlformats.org/officeDocument/2006/relationships/tags" Target="../tags/tag2.xml"/><Relationship Id="rId6" Type="http://schemas.openxmlformats.org/officeDocument/2006/relationships/hyperlink" Target="mailto:Sergej.szwezich@servicebrige.net" TargetMode="External"/><Relationship Id="rId11" Type="http://schemas.openxmlformats.org/officeDocument/2006/relationships/image" Target="../media/image18.svg"/><Relationship Id="rId5" Type="http://schemas.openxmlformats.org/officeDocument/2006/relationships/image" Target="../media/image1.emf"/><Relationship Id="rId10" Type="http://schemas.openxmlformats.org/officeDocument/2006/relationships/image" Target="../media/image17.png"/><Relationship Id="rId4" Type="http://schemas.openxmlformats.org/officeDocument/2006/relationships/oleObject" Target="../embeddings/oleObject2.bin"/><Relationship Id="rId9" Type="http://schemas.openxmlformats.org/officeDocument/2006/relationships/image" Target="../media/image16.sv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735CD53-9C50-4D27-0D62-7E839695AF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7" name="think-cell data - do not delete" hidden="1">
                        <a:extLst>
                          <a:ext uri="{FF2B5EF4-FFF2-40B4-BE49-F238E27FC236}">
                            <a16:creationId xmlns:a16="http://schemas.microsoft.com/office/drawing/2014/main" id="{8735CD53-9C50-4D27-0D62-7E839695AF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1" name="Titel 110">
            <a:extLst>
              <a:ext uri="{FF2B5EF4-FFF2-40B4-BE49-F238E27FC236}">
                <a16:creationId xmlns:a16="http://schemas.microsoft.com/office/drawing/2014/main" id="{CC9F3600-2711-4A49-8018-C4671B56159C}"/>
              </a:ext>
            </a:extLst>
          </p:cNvPr>
          <p:cNvSpPr>
            <a:spLocks noGrp="1"/>
          </p:cNvSpPr>
          <p:nvPr>
            <p:ph type="title"/>
          </p:nvPr>
        </p:nvSpPr>
        <p:spPr>
          <a:xfrm>
            <a:off x="2452698" y="380640"/>
            <a:ext cx="7286605" cy="634323"/>
          </a:xfrm>
        </p:spPr>
        <p:txBody>
          <a:bodyPr vert="horz" rtlCol="0"/>
          <a:lstStyle/>
          <a:p>
            <a:pPr rtl="0"/>
            <a:r>
              <a:rPr lang="de-DE" dirty="0"/>
              <a:t>Service Bridge</a:t>
            </a:r>
          </a:p>
        </p:txBody>
      </p:sp>
      <p:sp>
        <p:nvSpPr>
          <p:cNvPr id="22" name="Textplatzhalter 21">
            <a:extLst>
              <a:ext uri="{FF2B5EF4-FFF2-40B4-BE49-F238E27FC236}">
                <a16:creationId xmlns:a16="http://schemas.microsoft.com/office/drawing/2014/main" id="{842BC471-A2E1-4473-9B5A-6D7A21B6A881}"/>
              </a:ext>
            </a:extLst>
          </p:cNvPr>
          <p:cNvSpPr>
            <a:spLocks noGrp="1"/>
          </p:cNvSpPr>
          <p:nvPr>
            <p:ph type="body" sz="quarter" idx="28"/>
          </p:nvPr>
        </p:nvSpPr>
        <p:spPr>
          <a:xfrm>
            <a:off x="1055915" y="1291584"/>
            <a:ext cx="9808028" cy="443144"/>
          </a:xfrm>
        </p:spPr>
        <p:txBody>
          <a:bodyPr rtlCol="0">
            <a:noAutofit/>
          </a:bodyPr>
          <a:lstStyle/>
          <a:p>
            <a:r>
              <a:rPr lang="en-US" sz="1300" dirty="0"/>
              <a:t>We're not just a platform; we're a community of experts, a hub where companies come together, and a place where data becomes your greatest ally.</a:t>
            </a:r>
            <a:endParaRPr lang="en-GB" sz="1300" dirty="0"/>
          </a:p>
        </p:txBody>
      </p:sp>
      <p:sp>
        <p:nvSpPr>
          <p:cNvPr id="23" name="Textplatzhalter 22">
            <a:extLst>
              <a:ext uri="{FF2B5EF4-FFF2-40B4-BE49-F238E27FC236}">
                <a16:creationId xmlns:a16="http://schemas.microsoft.com/office/drawing/2014/main" id="{5DF31FE0-F56B-494E-A42E-D2A3B4A5BE01}"/>
              </a:ext>
            </a:extLst>
          </p:cNvPr>
          <p:cNvSpPr>
            <a:spLocks noGrp="1"/>
          </p:cNvSpPr>
          <p:nvPr>
            <p:ph type="body" sz="quarter" idx="29"/>
          </p:nvPr>
        </p:nvSpPr>
        <p:spPr>
          <a:xfrm>
            <a:off x="289874" y="2984803"/>
            <a:ext cx="3641108" cy="365125"/>
          </a:xfrm>
        </p:spPr>
        <p:txBody>
          <a:bodyPr rtlCol="0">
            <a:normAutofit/>
          </a:bodyPr>
          <a:lstStyle/>
          <a:p>
            <a:r>
              <a:rPr lang="en-GB" dirty="0"/>
              <a:t>Experts collaborate</a:t>
            </a:r>
          </a:p>
        </p:txBody>
      </p:sp>
      <p:sp>
        <p:nvSpPr>
          <p:cNvPr id="17" name="Textplatzhalter 16">
            <a:extLst>
              <a:ext uri="{FF2B5EF4-FFF2-40B4-BE49-F238E27FC236}">
                <a16:creationId xmlns:a16="http://schemas.microsoft.com/office/drawing/2014/main" id="{7D1AD01D-1F03-4995-A821-FA842C4F9E7C}"/>
              </a:ext>
            </a:extLst>
          </p:cNvPr>
          <p:cNvSpPr>
            <a:spLocks noGrp="1"/>
          </p:cNvSpPr>
          <p:nvPr>
            <p:ph type="body" sz="quarter" idx="15"/>
          </p:nvPr>
        </p:nvSpPr>
        <p:spPr>
          <a:xfrm>
            <a:off x="918546" y="3372707"/>
            <a:ext cx="2383764" cy="1126085"/>
          </a:xfrm>
        </p:spPr>
        <p:txBody>
          <a:bodyPr rtlCol="0">
            <a:noAutofit/>
          </a:bodyPr>
          <a:lstStyle/>
          <a:p>
            <a:pPr rtl="0"/>
            <a:r>
              <a:rPr lang="en-US" dirty="0"/>
              <a:t>it's about connections with others who share your passion and knowledge</a:t>
            </a:r>
            <a:endParaRPr lang="de-DE" dirty="0"/>
          </a:p>
        </p:txBody>
      </p:sp>
      <p:sp>
        <p:nvSpPr>
          <p:cNvPr id="24" name="Textplatzhalter 23">
            <a:extLst>
              <a:ext uri="{FF2B5EF4-FFF2-40B4-BE49-F238E27FC236}">
                <a16:creationId xmlns:a16="http://schemas.microsoft.com/office/drawing/2014/main" id="{F59958C6-2B49-4E50-8050-97C6B6679AC1}"/>
              </a:ext>
            </a:extLst>
          </p:cNvPr>
          <p:cNvSpPr>
            <a:spLocks noGrp="1"/>
          </p:cNvSpPr>
          <p:nvPr>
            <p:ph type="body" sz="quarter" idx="30"/>
          </p:nvPr>
        </p:nvSpPr>
        <p:spPr>
          <a:xfrm>
            <a:off x="4670517" y="2984803"/>
            <a:ext cx="2850967" cy="365125"/>
          </a:xfrm>
        </p:spPr>
        <p:txBody>
          <a:bodyPr rtlCol="0">
            <a:normAutofit fontScale="92500"/>
          </a:bodyPr>
          <a:lstStyle/>
          <a:p>
            <a:r>
              <a:rPr lang="en-GB" dirty="0"/>
              <a:t>Companies Connect</a:t>
            </a:r>
          </a:p>
        </p:txBody>
      </p:sp>
      <p:sp>
        <p:nvSpPr>
          <p:cNvPr id="19" name="Textplatzhalter 18">
            <a:extLst>
              <a:ext uri="{FF2B5EF4-FFF2-40B4-BE49-F238E27FC236}">
                <a16:creationId xmlns:a16="http://schemas.microsoft.com/office/drawing/2014/main" id="{A301F0BB-3AE1-4877-8F78-D7F5AE48F810}"/>
              </a:ext>
            </a:extLst>
          </p:cNvPr>
          <p:cNvSpPr>
            <a:spLocks noGrp="1"/>
          </p:cNvSpPr>
          <p:nvPr>
            <p:ph type="body" sz="quarter" idx="17"/>
          </p:nvPr>
        </p:nvSpPr>
        <p:spPr>
          <a:xfrm>
            <a:off x="4904118" y="3372707"/>
            <a:ext cx="2383765" cy="1126085"/>
          </a:xfrm>
        </p:spPr>
        <p:txBody>
          <a:bodyPr rtlCol="0">
            <a:noAutofit/>
          </a:bodyPr>
          <a:lstStyle/>
          <a:p>
            <a:pPr rtl="0"/>
            <a:r>
              <a:rPr lang="en-US" dirty="0"/>
              <a:t>Our platform is where businesses like yours discover fresh ideas, cutting-edge solutions, and the talent to make them happen.</a:t>
            </a:r>
            <a:endParaRPr lang="de-DE" dirty="0"/>
          </a:p>
        </p:txBody>
      </p:sp>
      <p:sp>
        <p:nvSpPr>
          <p:cNvPr id="25" name="Textplatzhalter 24">
            <a:extLst>
              <a:ext uri="{FF2B5EF4-FFF2-40B4-BE49-F238E27FC236}">
                <a16:creationId xmlns:a16="http://schemas.microsoft.com/office/drawing/2014/main" id="{BAE2F608-914C-4C3C-93D9-10B4F89F1DF8}"/>
              </a:ext>
            </a:extLst>
          </p:cNvPr>
          <p:cNvSpPr>
            <a:spLocks noGrp="1"/>
          </p:cNvSpPr>
          <p:nvPr>
            <p:ph type="body" sz="quarter" idx="31"/>
          </p:nvPr>
        </p:nvSpPr>
        <p:spPr>
          <a:xfrm>
            <a:off x="8510604" y="2984803"/>
            <a:ext cx="3528999" cy="365125"/>
          </a:xfrm>
        </p:spPr>
        <p:txBody>
          <a:bodyPr rtlCol="0">
            <a:normAutofit/>
          </a:bodyPr>
          <a:lstStyle/>
          <a:p>
            <a:r>
              <a:rPr lang="en-GB" dirty="0"/>
              <a:t>Data empowers</a:t>
            </a:r>
          </a:p>
        </p:txBody>
      </p:sp>
      <p:sp>
        <p:nvSpPr>
          <p:cNvPr id="20" name="Textplatzhalter 19">
            <a:extLst>
              <a:ext uri="{FF2B5EF4-FFF2-40B4-BE49-F238E27FC236}">
                <a16:creationId xmlns:a16="http://schemas.microsoft.com/office/drawing/2014/main" id="{5F481192-C246-4A6A-8D3F-9EBF56786C13}"/>
              </a:ext>
            </a:extLst>
          </p:cNvPr>
          <p:cNvSpPr>
            <a:spLocks noGrp="1"/>
          </p:cNvSpPr>
          <p:nvPr>
            <p:ph type="body" sz="quarter" idx="19"/>
          </p:nvPr>
        </p:nvSpPr>
        <p:spPr>
          <a:xfrm>
            <a:off x="9083221" y="3372708"/>
            <a:ext cx="2383765" cy="1477436"/>
          </a:xfrm>
        </p:spPr>
        <p:txBody>
          <a:bodyPr rtlCol="0">
            <a:normAutofit/>
          </a:bodyPr>
          <a:lstStyle/>
          <a:p>
            <a:pPr rtl="0"/>
            <a:r>
              <a:rPr lang="en-US" dirty="0"/>
              <a:t>We empower you with insights and information that can drive your decisions and strategies forward.</a:t>
            </a:r>
            <a:endParaRPr lang="de-DE" dirty="0"/>
          </a:p>
        </p:txBody>
      </p:sp>
      <p:sp>
        <p:nvSpPr>
          <p:cNvPr id="28" name="Rechteck 27">
            <a:extLst>
              <a:ext uri="{FF2B5EF4-FFF2-40B4-BE49-F238E27FC236}">
                <a16:creationId xmlns:a16="http://schemas.microsoft.com/office/drawing/2014/main" id="{64C0FFA3-87B7-7CFF-A428-EAC071F69BD9}"/>
              </a:ext>
            </a:extLst>
          </p:cNvPr>
          <p:cNvSpPr/>
          <p:nvPr/>
        </p:nvSpPr>
        <p:spPr>
          <a:xfrm>
            <a:off x="0" y="5172635"/>
            <a:ext cx="12192000" cy="168536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Bierstadt"/>
              <a:ea typeface="+mn-ea"/>
              <a:cs typeface="+mn-cs"/>
            </a:endParaRPr>
          </a:p>
        </p:txBody>
      </p:sp>
      <p:sp>
        <p:nvSpPr>
          <p:cNvPr id="26" name="Textplatzhalter 61">
            <a:extLst>
              <a:ext uri="{FF2B5EF4-FFF2-40B4-BE49-F238E27FC236}">
                <a16:creationId xmlns:a16="http://schemas.microsoft.com/office/drawing/2014/main" id="{6B18DBDA-D5B7-2707-7570-C95256298F94}"/>
              </a:ext>
            </a:extLst>
          </p:cNvPr>
          <p:cNvSpPr txBox="1">
            <a:spLocks/>
          </p:cNvSpPr>
          <p:nvPr/>
        </p:nvSpPr>
        <p:spPr>
          <a:xfrm>
            <a:off x="1558109" y="5817359"/>
            <a:ext cx="4211912" cy="332113"/>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cap="all" spc="200" baseline="0">
                <a:solidFill>
                  <a:schemeClr val="accent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de-DE" sz="1400" b="1" i="0" u="none" strike="noStrike" kern="1200" cap="all" spc="200" normalizeH="0" baseline="0" noProof="0" dirty="0">
                <a:ln>
                  <a:noFill/>
                </a:ln>
                <a:solidFill>
                  <a:srgbClr val="15C7C7"/>
                </a:solidFill>
                <a:effectLst/>
                <a:uLnTx/>
                <a:uFillTx/>
                <a:latin typeface="Arial" panose="020B0604020202020204" pitchFamily="34" charset="0"/>
                <a:ea typeface="+mn-ea"/>
                <a:cs typeface="Arial" panose="020B0604020202020204" pitchFamily="34" charset="0"/>
              </a:rPr>
              <a:t>Dr. Sergej zwezich</a:t>
            </a:r>
          </a:p>
        </p:txBody>
      </p:sp>
      <p:sp>
        <p:nvSpPr>
          <p:cNvPr id="27" name="Textplatzhalter 62">
            <a:extLst>
              <a:ext uri="{FF2B5EF4-FFF2-40B4-BE49-F238E27FC236}">
                <a16:creationId xmlns:a16="http://schemas.microsoft.com/office/drawing/2014/main" id="{3AA802B7-CC0B-C778-F1BE-561F0B61C2DF}"/>
              </a:ext>
            </a:extLst>
          </p:cNvPr>
          <p:cNvSpPr txBox="1">
            <a:spLocks/>
          </p:cNvSpPr>
          <p:nvPr/>
        </p:nvSpPr>
        <p:spPr>
          <a:xfrm>
            <a:off x="2552102" y="5974793"/>
            <a:ext cx="2352016" cy="584440"/>
          </a:xfrm>
          <a:prstGeom prst="rect">
            <a:avLst/>
          </a:prstGeom>
        </p:spPr>
        <p:txBody>
          <a:bodyPr vert="horz" lIns="91440" tIns="45720" rIns="91440" bIns="45720" rtlCol="0">
            <a:noAutofit/>
          </a:bodyPr>
          <a:lstStyle>
            <a:lvl1pPr marL="0" indent="0" algn="ctr" defTabSz="914400" rtl="0" eaLnBrk="1" latinLnBrk="0" hangingPunct="1">
              <a:lnSpc>
                <a:spcPct val="114000"/>
              </a:lnSpc>
              <a:spcBef>
                <a:spcPts val="0"/>
              </a:spcBef>
              <a:buFont typeface="Arial" panose="020B0604020202020204" pitchFamily="34" charset="0"/>
              <a:buNone/>
              <a:defRPr sz="1400" kern="1200" cap="none" spc="0"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70000"/>
              </a:lnSpc>
              <a:spcBef>
                <a:spcPts val="0"/>
              </a:spcBef>
              <a:spcAft>
                <a:spcPts val="0"/>
              </a:spcAft>
              <a:buClrTx/>
              <a:buSzTx/>
              <a:buFont typeface="Arial" panose="020B0604020202020204" pitchFamily="34" charset="0"/>
              <a:buNone/>
              <a:tabLst/>
              <a:defRPr/>
            </a:pPr>
            <a:r>
              <a:rPr kumimoji="0" lang="de-DE" sz="1100" b="0" i="0" u="none" strike="noStrike" kern="1200" cap="none" spc="0" normalizeH="0" baseline="0" noProof="0" dirty="0">
                <a:ln>
                  <a:noFill/>
                </a:ln>
                <a:solidFill>
                  <a:prstClr val="black"/>
                </a:solidFill>
                <a:effectLst/>
                <a:uLnTx/>
                <a:uFillTx/>
                <a:latin typeface="Bierstadt"/>
                <a:ea typeface="+mn-ea"/>
                <a:cs typeface="+mn-cs"/>
              </a:rPr>
              <a:t>Co-Founder</a:t>
            </a:r>
          </a:p>
          <a:p>
            <a:pPr marL="0" marR="0" lvl="0" indent="0" algn="ctr" defTabSz="914400" rtl="0" eaLnBrk="1" fontAlgn="auto" latinLnBrk="0" hangingPunct="1">
              <a:lnSpc>
                <a:spcPct val="114000"/>
              </a:lnSpc>
              <a:spcBef>
                <a:spcPts val="0"/>
              </a:spcBef>
              <a:spcAft>
                <a:spcPts val="0"/>
              </a:spcAft>
              <a:buClrTx/>
              <a:buSzTx/>
              <a:buFont typeface="Arial" panose="020B0604020202020204" pitchFamily="34" charset="0"/>
              <a:buNone/>
              <a:tabLst/>
              <a:defRPr/>
            </a:pPr>
            <a:r>
              <a:rPr kumimoji="0" lang="de-DE" sz="1100" b="0" i="0" u="none" strike="noStrike" kern="1200" cap="none" spc="0" normalizeH="0" baseline="0" noProof="0" dirty="0">
                <a:ln>
                  <a:noFill/>
                </a:ln>
                <a:solidFill>
                  <a:prstClr val="black"/>
                </a:solidFill>
                <a:effectLst/>
                <a:uLnTx/>
                <a:uFillTx/>
                <a:latin typeface="Bierstadt"/>
                <a:ea typeface="+mn-ea"/>
                <a:cs typeface="+mn-cs"/>
                <a:hlinkClick r:id="rId6"/>
              </a:rPr>
              <a:t>sergej.zwezich@servicebridge.net</a:t>
            </a:r>
            <a:endParaRPr kumimoji="0" lang="de-DE" sz="1100" b="0" i="0" u="none" strike="noStrike" kern="1200" cap="none" spc="0" normalizeH="0" baseline="0" noProof="0" dirty="0">
              <a:ln>
                <a:noFill/>
              </a:ln>
              <a:solidFill>
                <a:prstClr val="black"/>
              </a:solidFill>
              <a:effectLst/>
              <a:uLnTx/>
              <a:uFillTx/>
              <a:latin typeface="Bierstadt"/>
              <a:ea typeface="+mn-ea"/>
              <a:cs typeface="+mn-cs"/>
            </a:endParaRPr>
          </a:p>
          <a:p>
            <a:pPr marL="0" marR="0" lvl="0" indent="0" algn="ctr" defTabSz="914400" rtl="0" eaLnBrk="1" fontAlgn="auto" latinLnBrk="0" hangingPunct="1">
              <a:lnSpc>
                <a:spcPct val="114000"/>
              </a:lnSpc>
              <a:spcBef>
                <a:spcPts val="0"/>
              </a:spcBef>
              <a:spcAft>
                <a:spcPts val="0"/>
              </a:spcAft>
              <a:buClrTx/>
              <a:buSzTx/>
              <a:buFont typeface="Arial" panose="020B0604020202020204" pitchFamily="34" charset="0"/>
              <a:buNone/>
              <a:tabLst/>
              <a:defRPr/>
            </a:pPr>
            <a:r>
              <a:rPr kumimoji="0" lang="de-DE" sz="1100" b="0" i="0" u="none" strike="noStrike" kern="1200" cap="none" spc="0" normalizeH="0" baseline="0" noProof="0" dirty="0">
                <a:ln>
                  <a:noFill/>
                </a:ln>
                <a:solidFill>
                  <a:prstClr val="black"/>
                </a:solidFill>
                <a:effectLst/>
                <a:uLnTx/>
                <a:uFillTx/>
                <a:latin typeface="Bierstadt"/>
                <a:ea typeface="+mn-ea"/>
                <a:cs typeface="+mn-cs"/>
              </a:rPr>
              <a:t>+49 1737972857</a:t>
            </a:r>
          </a:p>
        </p:txBody>
      </p:sp>
      <p:sp>
        <p:nvSpPr>
          <p:cNvPr id="29" name="Textplatzhalter 61">
            <a:extLst>
              <a:ext uri="{FF2B5EF4-FFF2-40B4-BE49-F238E27FC236}">
                <a16:creationId xmlns:a16="http://schemas.microsoft.com/office/drawing/2014/main" id="{13E3BFA7-0CE4-1D98-983E-E945300E8E82}"/>
              </a:ext>
            </a:extLst>
          </p:cNvPr>
          <p:cNvSpPr txBox="1">
            <a:spLocks/>
          </p:cNvSpPr>
          <p:nvPr/>
        </p:nvSpPr>
        <p:spPr>
          <a:xfrm>
            <a:off x="7941801" y="5811068"/>
            <a:ext cx="2118415" cy="332113"/>
          </a:xfrm>
          <a:prstGeom prst="rect">
            <a:avLst/>
          </a:prstGeom>
        </p:spPr>
        <p:txBody>
          <a:bodyPr vert="horz" lIns="91440" tIns="45720" rIns="91440" bIns="45720" rtlCol="0" anchor="t">
            <a:normAutofit fontScale="92500"/>
          </a:bodyPr>
          <a:lstStyle>
            <a:lvl1pPr marL="0" indent="0" algn="ctr" defTabSz="914400" rtl="0" eaLnBrk="1" latinLnBrk="0" hangingPunct="1">
              <a:lnSpc>
                <a:spcPct val="90000"/>
              </a:lnSpc>
              <a:spcBef>
                <a:spcPts val="1000"/>
              </a:spcBef>
              <a:buFont typeface="Arial" panose="020B0604020202020204" pitchFamily="34" charset="0"/>
              <a:buNone/>
              <a:defRPr sz="1600" b="1" kern="1200" cap="all" spc="200" baseline="0">
                <a:solidFill>
                  <a:schemeClr val="accent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dirty="0">
                <a:solidFill>
                  <a:srgbClr val="15C7C7"/>
                </a:solidFill>
                <a:latin typeface="Arial"/>
                <a:cs typeface="Arial"/>
              </a:rPr>
              <a:t>Valentin</a:t>
            </a:r>
            <a:r>
              <a:rPr kumimoji="0" lang="de-DE" sz="1600" b="1" i="0" u="none" strike="noStrike" kern="1200" cap="all" spc="200" normalizeH="0" baseline="0" noProof="0" dirty="0">
                <a:ln>
                  <a:noFill/>
                </a:ln>
                <a:solidFill>
                  <a:srgbClr val="15C7C7"/>
                </a:solidFill>
                <a:effectLst/>
                <a:uLnTx/>
                <a:uFillTx/>
                <a:latin typeface="Arial"/>
                <a:cs typeface="Arial"/>
              </a:rPr>
              <a:t> </a:t>
            </a:r>
            <a:r>
              <a:rPr kumimoji="0" lang="de-DE" sz="1600" b="1" i="0" u="none" strike="noStrike" kern="1200" cap="all" spc="200" normalizeH="0" baseline="0" noProof="0" dirty="0" err="1">
                <a:ln>
                  <a:noFill/>
                </a:ln>
                <a:solidFill>
                  <a:srgbClr val="15C7C7"/>
                </a:solidFill>
                <a:effectLst/>
                <a:uLnTx/>
                <a:uFillTx/>
                <a:latin typeface="Arial"/>
                <a:cs typeface="Arial"/>
              </a:rPr>
              <a:t>Bese</a:t>
            </a:r>
            <a:endParaRPr lang="de-DE" sz="1600" b="1" i="0" u="none" strike="noStrike" kern="1200" cap="all" spc="200" normalizeH="0" baseline="0" noProof="0" dirty="0" err="1">
              <a:ln>
                <a:noFill/>
              </a:ln>
              <a:solidFill>
                <a:srgbClr val="15C7C7"/>
              </a:solidFill>
              <a:effectLst/>
              <a:uLnTx/>
              <a:uFillTx/>
              <a:latin typeface="Arial"/>
              <a:cs typeface="Arial"/>
            </a:endParaRPr>
          </a:p>
        </p:txBody>
      </p:sp>
      <p:sp>
        <p:nvSpPr>
          <p:cNvPr id="30" name="Textplatzhalter 62">
            <a:extLst>
              <a:ext uri="{FF2B5EF4-FFF2-40B4-BE49-F238E27FC236}">
                <a16:creationId xmlns:a16="http://schemas.microsoft.com/office/drawing/2014/main" id="{E05815EF-ADD5-6525-657A-52EC7DA9E5D9}"/>
              </a:ext>
            </a:extLst>
          </p:cNvPr>
          <p:cNvSpPr txBox="1">
            <a:spLocks/>
          </p:cNvSpPr>
          <p:nvPr/>
        </p:nvSpPr>
        <p:spPr>
          <a:xfrm>
            <a:off x="7772344" y="6016189"/>
            <a:ext cx="2352016" cy="453811"/>
          </a:xfrm>
          <a:prstGeom prst="rect">
            <a:avLst/>
          </a:prstGeom>
        </p:spPr>
        <p:txBody>
          <a:bodyPr vert="horz" lIns="91440" tIns="45720" rIns="91440" bIns="45720" rtlCol="0" anchor="t">
            <a:noAutofit/>
          </a:bodyPr>
          <a:lstStyle>
            <a:lvl1pPr marL="0" indent="0" algn="ctr" defTabSz="914400" rtl="0" eaLnBrk="1" latinLnBrk="0" hangingPunct="1">
              <a:lnSpc>
                <a:spcPct val="114000"/>
              </a:lnSpc>
              <a:spcBef>
                <a:spcPts val="0"/>
              </a:spcBef>
              <a:buFont typeface="Arial" panose="020B0604020202020204" pitchFamily="34" charset="0"/>
              <a:buNone/>
              <a:defRPr sz="1400" kern="1200" cap="none" spc="0"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4000"/>
              </a:lnSpc>
              <a:spcBef>
                <a:spcPts val="0"/>
              </a:spcBef>
              <a:spcAft>
                <a:spcPts val="0"/>
              </a:spcAft>
              <a:buClrTx/>
              <a:buSzTx/>
              <a:buFont typeface="Arial" panose="020B0604020202020204" pitchFamily="34" charset="0"/>
              <a:buNone/>
              <a:tabLst/>
              <a:defRPr/>
            </a:pPr>
            <a:r>
              <a:rPr kumimoji="0" lang="de-DE" sz="1100" b="0" i="0" u="none" strike="noStrike" kern="1200" cap="none" spc="0" normalizeH="0" baseline="0" noProof="0" dirty="0">
                <a:ln>
                  <a:noFill/>
                </a:ln>
                <a:solidFill>
                  <a:prstClr val="black"/>
                </a:solidFill>
                <a:effectLst/>
                <a:uLnTx/>
                <a:uFillTx/>
                <a:latin typeface="Bierstadt"/>
                <a:ea typeface="+mn-ea"/>
                <a:cs typeface="+mn-cs"/>
              </a:rPr>
              <a:t>Co-Founder</a:t>
            </a:r>
          </a:p>
          <a:p>
            <a:pPr marL="0" marR="0" lvl="0" indent="0" algn="ctr" defTabSz="914400" rtl="0" eaLnBrk="1" fontAlgn="auto" latinLnBrk="0" hangingPunct="1">
              <a:lnSpc>
                <a:spcPct val="114000"/>
              </a:lnSpc>
              <a:spcBef>
                <a:spcPts val="0"/>
              </a:spcBef>
              <a:spcAft>
                <a:spcPts val="0"/>
              </a:spcAft>
              <a:buClrTx/>
              <a:buSzTx/>
              <a:buFont typeface="Arial" panose="020B0604020202020204" pitchFamily="34" charset="0"/>
              <a:buNone/>
              <a:tabLst/>
              <a:defRPr/>
            </a:pPr>
            <a:r>
              <a:rPr kumimoji="0" lang="de-DE" sz="1100" b="0" i="0" u="none" strike="noStrike" kern="1200" cap="none" spc="0" normalizeH="0" baseline="0" noProof="0" dirty="0">
                <a:ln>
                  <a:noFill/>
                </a:ln>
                <a:solidFill>
                  <a:prstClr val="black"/>
                </a:solidFill>
                <a:effectLst/>
                <a:uLnTx/>
                <a:uFillTx/>
                <a:latin typeface="Bierstadt"/>
                <a:ea typeface="+mn-ea"/>
                <a:cs typeface="+mn-cs"/>
                <a:hlinkClick r:id="rId7"/>
              </a:rPr>
              <a:t>valentin.bese@servicebridge.net</a:t>
            </a:r>
            <a:endParaRPr kumimoji="0" lang="de-DE" sz="1100" b="0" i="0" u="none" strike="noStrike" kern="1200" cap="none" spc="0" normalizeH="0" baseline="0" noProof="0" dirty="0">
              <a:ln>
                <a:noFill/>
              </a:ln>
              <a:solidFill>
                <a:prstClr val="black"/>
              </a:solidFill>
              <a:effectLst/>
              <a:uLnTx/>
              <a:uFillTx/>
              <a:latin typeface="Bierstadt"/>
              <a:ea typeface="+mn-ea"/>
              <a:cs typeface="+mn-cs"/>
            </a:endParaRPr>
          </a:p>
          <a:p>
            <a:pPr>
              <a:defRPr/>
            </a:pPr>
            <a:r>
              <a:rPr kumimoji="0" lang="de-DE" sz="1100" b="0" i="0" u="none" strike="noStrike" kern="1200" cap="none" spc="0" normalizeH="0" baseline="0" noProof="0" dirty="0">
                <a:ln>
                  <a:noFill/>
                </a:ln>
                <a:solidFill>
                  <a:prstClr val="black"/>
                </a:solidFill>
                <a:effectLst/>
                <a:uLnTx/>
                <a:uFillTx/>
                <a:latin typeface="Bierstadt"/>
                <a:ea typeface="+mn-ea"/>
                <a:cs typeface="+mn-cs"/>
              </a:rPr>
              <a:t>+</a:t>
            </a:r>
            <a:r>
              <a:rPr lang="de-DE" sz="1100" dirty="0">
                <a:solidFill>
                  <a:prstClr val="black"/>
                </a:solidFill>
                <a:latin typeface="Bierstadt"/>
              </a:rPr>
              <a:t>4</a:t>
            </a:r>
            <a:r>
              <a:rPr lang="de-DE" sz="1100" dirty="0">
                <a:solidFill>
                  <a:prstClr val="black"/>
                </a:solidFill>
                <a:ea typeface="+mn-lt"/>
                <a:cs typeface="+mn-lt"/>
              </a:rPr>
              <a:t>1 79 618 29 34</a:t>
            </a:r>
            <a:endParaRPr lang="de-DE" sz="1100" b="0" i="0" u="none" strike="noStrike" kern="1200" cap="none" spc="0" normalizeH="0" baseline="0" noProof="0" dirty="0">
              <a:ln>
                <a:noFill/>
              </a:ln>
              <a:solidFill>
                <a:prstClr val="black"/>
              </a:solidFill>
              <a:effectLst/>
              <a:uLnTx/>
              <a:uFillTx/>
              <a:ea typeface="+mn-lt"/>
              <a:cs typeface="+mn-lt"/>
            </a:endParaRPr>
          </a:p>
        </p:txBody>
      </p:sp>
      <p:sp>
        <p:nvSpPr>
          <p:cNvPr id="3" name="Textfeld 2">
            <a:extLst>
              <a:ext uri="{FF2B5EF4-FFF2-40B4-BE49-F238E27FC236}">
                <a16:creationId xmlns:a16="http://schemas.microsoft.com/office/drawing/2014/main" id="{84FA5213-65C4-F1AC-C238-952993046B42}"/>
              </a:ext>
            </a:extLst>
          </p:cNvPr>
          <p:cNvSpPr txBox="1"/>
          <p:nvPr/>
        </p:nvSpPr>
        <p:spPr>
          <a:xfrm>
            <a:off x="751114" y="5177588"/>
            <a:ext cx="1051560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Bierstadt"/>
                <a:ea typeface="+mn-ea"/>
                <a:cs typeface="+mn-cs"/>
              </a:rPr>
              <a:t>So, whether you're an expert seeking collaboration, a company looking to connect, or someone hungry for data-driven success, you've come to the right place. Welcome to our vibrant community</a:t>
            </a:r>
            <a:endParaRPr kumimoji="0" lang="de-DE" sz="1400" b="0" i="0" u="none" strike="noStrike" kern="1200" cap="none" spc="0" normalizeH="0" baseline="0" noProof="0" dirty="0">
              <a:ln>
                <a:noFill/>
              </a:ln>
              <a:solidFill>
                <a:prstClr val="black"/>
              </a:solidFill>
              <a:effectLst/>
              <a:uLnTx/>
              <a:uFillTx/>
              <a:latin typeface="Bierstadt"/>
              <a:ea typeface="+mn-ea"/>
              <a:cs typeface="+mn-cs"/>
            </a:endParaRPr>
          </a:p>
        </p:txBody>
      </p:sp>
      <p:pic>
        <p:nvPicPr>
          <p:cNvPr id="4" name="Grafik 3" descr="Gericht Silhouette">
            <a:extLst>
              <a:ext uri="{FF2B5EF4-FFF2-40B4-BE49-F238E27FC236}">
                <a16:creationId xmlns:a16="http://schemas.microsoft.com/office/drawing/2014/main" id="{9FB6C216-DB06-5A52-5F8E-4135FE2202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38800" y="2094871"/>
            <a:ext cx="914400" cy="914400"/>
          </a:xfrm>
          <a:prstGeom prst="rect">
            <a:avLst/>
          </a:prstGeom>
        </p:spPr>
      </p:pic>
      <p:pic>
        <p:nvPicPr>
          <p:cNvPr id="6" name="Grafik 5" descr="Server Silhouette">
            <a:extLst>
              <a:ext uri="{FF2B5EF4-FFF2-40B4-BE49-F238E27FC236}">
                <a16:creationId xmlns:a16="http://schemas.microsoft.com/office/drawing/2014/main" id="{F98FFE26-B18B-B4C4-11ED-3CB7F4FF3AA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17903" y="2094871"/>
            <a:ext cx="914400" cy="914400"/>
          </a:xfrm>
          <a:prstGeom prst="rect">
            <a:avLst/>
          </a:prstGeom>
        </p:spPr>
      </p:pic>
      <p:pic>
        <p:nvPicPr>
          <p:cNvPr id="9" name="Grafik 8" descr="Sitzungssaal Silhouette">
            <a:extLst>
              <a:ext uri="{FF2B5EF4-FFF2-40B4-BE49-F238E27FC236}">
                <a16:creationId xmlns:a16="http://schemas.microsoft.com/office/drawing/2014/main" id="{A92F7B50-81E5-3471-589C-615372973DC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653228" y="2094871"/>
            <a:ext cx="914400" cy="914400"/>
          </a:xfrm>
          <a:prstGeom prst="rect">
            <a:avLst/>
          </a:prstGeom>
        </p:spPr>
      </p:pic>
    </p:spTree>
    <p:extLst>
      <p:ext uri="{BB962C8B-B14F-4D97-AF65-F5344CB8AC3E}">
        <p14:creationId xmlns:p14="http://schemas.microsoft.com/office/powerpoint/2010/main" val="11552320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EA4E3A60-E148-4D83-B933-D48C69730E59}"/>
              </a:ext>
            </a:extLst>
          </p:cNvPr>
          <p:cNvGrpSpPr/>
          <p:nvPr/>
        </p:nvGrpSpPr>
        <p:grpSpPr>
          <a:xfrm>
            <a:off x="3763879" y="2068164"/>
            <a:ext cx="4664044" cy="2721672"/>
            <a:chOff x="3763879" y="2068164"/>
            <a:chExt cx="4664044" cy="2721672"/>
          </a:xfrm>
        </p:grpSpPr>
        <p:sp>
          <p:nvSpPr>
            <p:cNvPr id="60" name="Shape">
              <a:extLst>
                <a:ext uri="{FF2B5EF4-FFF2-40B4-BE49-F238E27FC236}">
                  <a16:creationId xmlns:a16="http://schemas.microsoft.com/office/drawing/2014/main" id="{DE891691-3366-467C-B407-433A62F26ED2}"/>
                </a:ext>
              </a:extLst>
            </p:cNvPr>
            <p:cNvSpPr/>
            <p:nvPr/>
          </p:nvSpPr>
          <p:spPr>
            <a:xfrm rot="2700000">
              <a:off x="3762118" y="2069925"/>
              <a:ext cx="2721672" cy="2718150"/>
            </a:xfrm>
            <a:custGeom>
              <a:avLst/>
              <a:gdLst/>
              <a:ahLst/>
              <a:cxnLst>
                <a:cxn ang="0">
                  <a:pos x="wd2" y="hd2"/>
                </a:cxn>
                <a:cxn ang="5400000">
                  <a:pos x="wd2" y="hd2"/>
                </a:cxn>
                <a:cxn ang="10800000">
                  <a:pos x="wd2" y="hd2"/>
                </a:cxn>
                <a:cxn ang="16200000">
                  <a:pos x="wd2" y="hd2"/>
                </a:cxn>
              </a:cxnLst>
              <a:rect l="0" t="0" r="r" b="b"/>
              <a:pathLst>
                <a:path w="20923" h="20898" extrusionOk="0">
                  <a:moveTo>
                    <a:pt x="10438" y="0"/>
                  </a:moveTo>
                  <a:lnTo>
                    <a:pt x="19893" y="0"/>
                  </a:lnTo>
                  <a:cubicBezTo>
                    <a:pt x="20186" y="-3"/>
                    <a:pt x="20465" y="120"/>
                    <a:pt x="20661" y="337"/>
                  </a:cubicBezTo>
                  <a:cubicBezTo>
                    <a:pt x="20850" y="547"/>
                    <a:pt x="20944" y="826"/>
                    <a:pt x="20920" y="1107"/>
                  </a:cubicBezTo>
                  <a:lnTo>
                    <a:pt x="20920" y="10753"/>
                  </a:lnTo>
                  <a:cubicBezTo>
                    <a:pt x="20774" y="15467"/>
                    <a:pt x="17784" y="18894"/>
                    <a:pt x="14038" y="20253"/>
                  </a:cubicBezTo>
                  <a:cubicBezTo>
                    <a:pt x="10335" y="21597"/>
                    <a:pt x="5900" y="20918"/>
                    <a:pt x="2749" y="17478"/>
                  </a:cubicBezTo>
                  <a:cubicBezTo>
                    <a:pt x="-345" y="14099"/>
                    <a:pt x="-656" y="9670"/>
                    <a:pt x="965" y="6114"/>
                  </a:cubicBezTo>
                  <a:cubicBezTo>
                    <a:pt x="2547" y="2644"/>
                    <a:pt x="5967" y="15"/>
                    <a:pt x="10438" y="0"/>
                  </a:cubicBezTo>
                  <a:close/>
                </a:path>
              </a:pathLst>
            </a:custGeom>
            <a:gradFill>
              <a:gsLst>
                <a:gs pos="0">
                  <a:schemeClr val="accent3">
                    <a:alpha val="75000"/>
                  </a:schemeClr>
                </a:gs>
                <a:gs pos="100000">
                  <a:schemeClr val="accent1"/>
                </a:gs>
              </a:gsLst>
              <a:lin ang="8100000" scaled="0"/>
            </a:gradFill>
            <a:ln w="12700" cap="flat">
              <a:noFill/>
              <a:miter lim="400000"/>
            </a:ln>
            <a:effectLst/>
          </p:spPr>
          <p:txBody>
            <a:bodyPr wrap="square" lIns="0" tIns="0" rIns="0" bIns="0" numCol="1" anchor="ctr">
              <a:noAutofit/>
            </a:bodyPr>
            <a:lstStyle/>
            <a:p>
              <a:pPr algn="ctr" defTabSz="412750" hangingPunct="0">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sp>
          <p:nvSpPr>
            <p:cNvPr id="61" name="Shape">
              <a:extLst>
                <a:ext uri="{FF2B5EF4-FFF2-40B4-BE49-F238E27FC236}">
                  <a16:creationId xmlns:a16="http://schemas.microsoft.com/office/drawing/2014/main" id="{5FB53753-E98B-426E-B63E-1419A1912ACF}"/>
                </a:ext>
              </a:extLst>
            </p:cNvPr>
            <p:cNvSpPr/>
            <p:nvPr/>
          </p:nvSpPr>
          <p:spPr>
            <a:xfrm rot="18900000" flipH="1">
              <a:off x="5706249" y="2069924"/>
              <a:ext cx="2721674" cy="2718152"/>
            </a:xfrm>
            <a:custGeom>
              <a:avLst/>
              <a:gdLst/>
              <a:ahLst/>
              <a:cxnLst>
                <a:cxn ang="0">
                  <a:pos x="wd2" y="hd2"/>
                </a:cxn>
                <a:cxn ang="5400000">
                  <a:pos x="wd2" y="hd2"/>
                </a:cxn>
                <a:cxn ang="10800000">
                  <a:pos x="wd2" y="hd2"/>
                </a:cxn>
                <a:cxn ang="16200000">
                  <a:pos x="wd2" y="hd2"/>
                </a:cxn>
              </a:cxnLst>
              <a:rect l="0" t="0" r="r" b="b"/>
              <a:pathLst>
                <a:path w="20923" h="20898" extrusionOk="0">
                  <a:moveTo>
                    <a:pt x="10438" y="0"/>
                  </a:moveTo>
                  <a:lnTo>
                    <a:pt x="19893" y="0"/>
                  </a:lnTo>
                  <a:cubicBezTo>
                    <a:pt x="20186" y="-3"/>
                    <a:pt x="20465" y="120"/>
                    <a:pt x="20661" y="337"/>
                  </a:cubicBezTo>
                  <a:cubicBezTo>
                    <a:pt x="20850" y="547"/>
                    <a:pt x="20944" y="826"/>
                    <a:pt x="20920" y="1107"/>
                  </a:cubicBezTo>
                  <a:lnTo>
                    <a:pt x="20920" y="10753"/>
                  </a:lnTo>
                  <a:cubicBezTo>
                    <a:pt x="20774" y="15467"/>
                    <a:pt x="17784" y="18894"/>
                    <a:pt x="14038" y="20253"/>
                  </a:cubicBezTo>
                  <a:cubicBezTo>
                    <a:pt x="10335" y="21597"/>
                    <a:pt x="5900" y="20918"/>
                    <a:pt x="2749" y="17478"/>
                  </a:cubicBezTo>
                  <a:cubicBezTo>
                    <a:pt x="-345" y="14099"/>
                    <a:pt x="-656" y="9670"/>
                    <a:pt x="965" y="6114"/>
                  </a:cubicBezTo>
                  <a:cubicBezTo>
                    <a:pt x="2547" y="2644"/>
                    <a:pt x="5967" y="15"/>
                    <a:pt x="10438" y="0"/>
                  </a:cubicBezTo>
                  <a:close/>
                </a:path>
              </a:pathLst>
            </a:custGeom>
            <a:gradFill>
              <a:gsLst>
                <a:gs pos="0">
                  <a:schemeClr val="accent4">
                    <a:alpha val="40000"/>
                  </a:schemeClr>
                </a:gs>
                <a:gs pos="100000">
                  <a:schemeClr val="accent2">
                    <a:lumMod val="50000"/>
                    <a:lumOff val="50000"/>
                  </a:schemeClr>
                </a:gs>
              </a:gsLst>
              <a:lin ang="8100000" scaled="0"/>
            </a:gradFill>
            <a:ln w="127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grpSp>
      <p:grpSp>
        <p:nvGrpSpPr>
          <p:cNvPr id="8" name="Group 7">
            <a:extLst>
              <a:ext uri="{FF2B5EF4-FFF2-40B4-BE49-F238E27FC236}">
                <a16:creationId xmlns:a16="http://schemas.microsoft.com/office/drawing/2014/main" id="{991034DE-D967-4607-9DCA-0F1AACA5DA05}"/>
              </a:ext>
            </a:extLst>
          </p:cNvPr>
          <p:cNvGrpSpPr/>
          <p:nvPr/>
        </p:nvGrpSpPr>
        <p:grpSpPr>
          <a:xfrm>
            <a:off x="3045008" y="1426451"/>
            <a:ext cx="4155892" cy="4005098"/>
            <a:chOff x="3214523" y="1194657"/>
            <a:chExt cx="4636934" cy="4468686"/>
          </a:xfrm>
        </p:grpSpPr>
        <p:sp>
          <p:nvSpPr>
            <p:cNvPr id="71" name="Arc 70">
              <a:extLst>
                <a:ext uri="{FF2B5EF4-FFF2-40B4-BE49-F238E27FC236}">
                  <a16:creationId xmlns:a16="http://schemas.microsoft.com/office/drawing/2014/main" id="{A9EF0CD1-FF1C-4DBE-A6D7-55023AA2FF17}"/>
                </a:ext>
              </a:extLst>
            </p:cNvPr>
            <p:cNvSpPr/>
            <p:nvPr/>
          </p:nvSpPr>
          <p:spPr>
            <a:xfrm flipH="1">
              <a:off x="3382771" y="1194657"/>
              <a:ext cx="4468686" cy="4468686"/>
            </a:xfrm>
            <a:prstGeom prst="arc">
              <a:avLst>
                <a:gd name="adj1" fmla="val 16193267"/>
                <a:gd name="adj2" fmla="val 5403605"/>
              </a:avLst>
            </a:prstGeom>
            <a:noFill/>
            <a:ln w="19050">
              <a:gradFill>
                <a:gsLst>
                  <a:gs pos="100000">
                    <a:schemeClr val="accent1"/>
                  </a:gs>
                  <a:gs pos="0">
                    <a:schemeClr val="accent1">
                      <a:alpha val="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72" name="Oval 71">
              <a:extLst>
                <a:ext uri="{FF2B5EF4-FFF2-40B4-BE49-F238E27FC236}">
                  <a16:creationId xmlns:a16="http://schemas.microsoft.com/office/drawing/2014/main" id="{FB90454D-EFC7-4A0B-8D44-EF9D03F53A76}"/>
                </a:ext>
              </a:extLst>
            </p:cNvPr>
            <p:cNvSpPr/>
            <p:nvPr/>
          </p:nvSpPr>
          <p:spPr>
            <a:xfrm flipH="1">
              <a:off x="3860380" y="1685513"/>
              <a:ext cx="345613" cy="345613"/>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accent1"/>
                  </a:solidFill>
                  <a:latin typeface="Montserrat" panose="00000500000000000000" pitchFamily="50" charset="0"/>
                </a:rPr>
                <a:t>1</a:t>
              </a:r>
            </a:p>
          </p:txBody>
        </p:sp>
        <p:sp>
          <p:nvSpPr>
            <p:cNvPr id="73" name="Oval 72">
              <a:extLst>
                <a:ext uri="{FF2B5EF4-FFF2-40B4-BE49-F238E27FC236}">
                  <a16:creationId xmlns:a16="http://schemas.microsoft.com/office/drawing/2014/main" id="{A1EDB708-3397-437B-9779-275D95CC36A6}"/>
                </a:ext>
              </a:extLst>
            </p:cNvPr>
            <p:cNvSpPr/>
            <p:nvPr/>
          </p:nvSpPr>
          <p:spPr>
            <a:xfrm flipH="1">
              <a:off x="3860380" y="4826875"/>
              <a:ext cx="345613" cy="345613"/>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accent1"/>
                  </a:solidFill>
                  <a:latin typeface="Montserrat" panose="00000500000000000000" pitchFamily="50" charset="0"/>
                </a:rPr>
                <a:t>3</a:t>
              </a:r>
            </a:p>
          </p:txBody>
        </p:sp>
        <p:sp>
          <p:nvSpPr>
            <p:cNvPr id="74" name="Oval 73">
              <a:extLst>
                <a:ext uri="{FF2B5EF4-FFF2-40B4-BE49-F238E27FC236}">
                  <a16:creationId xmlns:a16="http://schemas.microsoft.com/office/drawing/2014/main" id="{601CF2F6-68E1-4118-B7EB-41111514930B}"/>
                </a:ext>
              </a:extLst>
            </p:cNvPr>
            <p:cNvSpPr/>
            <p:nvPr/>
          </p:nvSpPr>
          <p:spPr>
            <a:xfrm flipH="1">
              <a:off x="3214523" y="3256195"/>
              <a:ext cx="345613" cy="345613"/>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accent1"/>
                  </a:solidFill>
                  <a:latin typeface="Montserrat" panose="00000500000000000000" pitchFamily="50" charset="0"/>
                </a:rPr>
                <a:t>2</a:t>
              </a:r>
            </a:p>
          </p:txBody>
        </p:sp>
      </p:grpSp>
      <p:grpSp>
        <p:nvGrpSpPr>
          <p:cNvPr id="77" name="Group 76">
            <a:extLst>
              <a:ext uri="{FF2B5EF4-FFF2-40B4-BE49-F238E27FC236}">
                <a16:creationId xmlns:a16="http://schemas.microsoft.com/office/drawing/2014/main" id="{3BBFFB4B-401F-4D8C-8598-5CFB03178F1F}"/>
              </a:ext>
            </a:extLst>
          </p:cNvPr>
          <p:cNvGrpSpPr/>
          <p:nvPr/>
        </p:nvGrpSpPr>
        <p:grpSpPr>
          <a:xfrm flipH="1">
            <a:off x="4993676" y="1426451"/>
            <a:ext cx="4155892" cy="4005098"/>
            <a:chOff x="3214523" y="1194657"/>
            <a:chExt cx="4636934" cy="4468686"/>
          </a:xfrm>
        </p:grpSpPr>
        <p:sp>
          <p:nvSpPr>
            <p:cNvPr id="78" name="Arc 77">
              <a:extLst>
                <a:ext uri="{FF2B5EF4-FFF2-40B4-BE49-F238E27FC236}">
                  <a16:creationId xmlns:a16="http://schemas.microsoft.com/office/drawing/2014/main" id="{7C17599C-A414-4FB0-858E-3D469C65FD3E}"/>
                </a:ext>
              </a:extLst>
            </p:cNvPr>
            <p:cNvSpPr/>
            <p:nvPr/>
          </p:nvSpPr>
          <p:spPr>
            <a:xfrm flipH="1">
              <a:off x="3382771" y="1194657"/>
              <a:ext cx="4468686" cy="4468686"/>
            </a:xfrm>
            <a:prstGeom prst="arc">
              <a:avLst>
                <a:gd name="adj1" fmla="val 16205051"/>
                <a:gd name="adj2" fmla="val 5393691"/>
              </a:avLst>
            </a:prstGeom>
            <a:noFill/>
            <a:ln w="19050">
              <a:gradFill>
                <a:gsLst>
                  <a:gs pos="0">
                    <a:schemeClr val="accent2">
                      <a:lumMod val="50000"/>
                      <a:lumOff val="50000"/>
                      <a:alpha val="0"/>
                    </a:schemeClr>
                  </a:gs>
                  <a:gs pos="100000">
                    <a:schemeClr val="accent2">
                      <a:lumMod val="50000"/>
                      <a:lumOff val="5000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lumMod val="50000"/>
                    <a:lumOff val="50000"/>
                  </a:schemeClr>
                </a:solidFill>
              </a:endParaRPr>
            </a:p>
          </p:txBody>
        </p:sp>
        <p:sp>
          <p:nvSpPr>
            <p:cNvPr id="79" name="Oval 78">
              <a:extLst>
                <a:ext uri="{FF2B5EF4-FFF2-40B4-BE49-F238E27FC236}">
                  <a16:creationId xmlns:a16="http://schemas.microsoft.com/office/drawing/2014/main" id="{C13DF9EE-EB19-4E15-A9BF-10EFE9957E9B}"/>
                </a:ext>
              </a:extLst>
            </p:cNvPr>
            <p:cNvSpPr/>
            <p:nvPr/>
          </p:nvSpPr>
          <p:spPr>
            <a:xfrm flipH="1">
              <a:off x="3860380" y="1685513"/>
              <a:ext cx="345613" cy="345613"/>
            </a:xfrm>
            <a:prstGeom prst="ellipse">
              <a:avLst/>
            </a:prstGeom>
            <a:solidFill>
              <a:schemeClr val="bg1"/>
            </a:solidFill>
            <a:ln w="19050">
              <a:solidFill>
                <a:schemeClr val="accent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accent2">
                      <a:lumMod val="50000"/>
                      <a:lumOff val="50000"/>
                    </a:schemeClr>
                  </a:solidFill>
                  <a:latin typeface="Montserrat" panose="00000500000000000000" pitchFamily="50" charset="0"/>
                </a:rPr>
                <a:t>1</a:t>
              </a:r>
            </a:p>
          </p:txBody>
        </p:sp>
        <p:sp>
          <p:nvSpPr>
            <p:cNvPr id="80" name="Oval 79">
              <a:extLst>
                <a:ext uri="{FF2B5EF4-FFF2-40B4-BE49-F238E27FC236}">
                  <a16:creationId xmlns:a16="http://schemas.microsoft.com/office/drawing/2014/main" id="{195D6D9A-7C6A-4E96-869A-EF27A87A4BF5}"/>
                </a:ext>
              </a:extLst>
            </p:cNvPr>
            <p:cNvSpPr/>
            <p:nvPr/>
          </p:nvSpPr>
          <p:spPr>
            <a:xfrm flipH="1">
              <a:off x="3860380" y="4826875"/>
              <a:ext cx="345613" cy="345613"/>
            </a:xfrm>
            <a:prstGeom prst="ellipse">
              <a:avLst/>
            </a:prstGeom>
            <a:solidFill>
              <a:schemeClr val="bg1"/>
            </a:solidFill>
            <a:ln w="19050">
              <a:solidFill>
                <a:schemeClr val="accent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accent2">
                      <a:lumMod val="50000"/>
                      <a:lumOff val="50000"/>
                    </a:schemeClr>
                  </a:solidFill>
                  <a:latin typeface="Montserrat" panose="00000500000000000000" pitchFamily="50" charset="0"/>
                </a:rPr>
                <a:t>3</a:t>
              </a:r>
            </a:p>
          </p:txBody>
        </p:sp>
        <p:sp>
          <p:nvSpPr>
            <p:cNvPr id="81" name="Oval 80">
              <a:extLst>
                <a:ext uri="{FF2B5EF4-FFF2-40B4-BE49-F238E27FC236}">
                  <a16:creationId xmlns:a16="http://schemas.microsoft.com/office/drawing/2014/main" id="{832A596F-D07D-4B25-A4B9-BD5EFBE1B45D}"/>
                </a:ext>
              </a:extLst>
            </p:cNvPr>
            <p:cNvSpPr/>
            <p:nvPr/>
          </p:nvSpPr>
          <p:spPr>
            <a:xfrm flipH="1">
              <a:off x="3214523" y="3256195"/>
              <a:ext cx="345613" cy="345613"/>
            </a:xfrm>
            <a:prstGeom prst="ellipse">
              <a:avLst/>
            </a:prstGeom>
            <a:solidFill>
              <a:schemeClr val="bg1"/>
            </a:solidFill>
            <a:ln w="19050">
              <a:solidFill>
                <a:schemeClr val="accent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accent2">
                      <a:lumMod val="50000"/>
                      <a:lumOff val="50000"/>
                    </a:schemeClr>
                  </a:solidFill>
                  <a:latin typeface="Montserrat" panose="00000500000000000000" pitchFamily="50" charset="0"/>
                </a:rPr>
                <a:t>2</a:t>
              </a:r>
            </a:p>
          </p:txBody>
        </p:sp>
      </p:grpSp>
      <p:grpSp>
        <p:nvGrpSpPr>
          <p:cNvPr id="11" name="Group 10">
            <a:extLst>
              <a:ext uri="{FF2B5EF4-FFF2-40B4-BE49-F238E27FC236}">
                <a16:creationId xmlns:a16="http://schemas.microsoft.com/office/drawing/2014/main" id="{C321BD3D-FD6D-4EBC-AFC6-36BE0E057E39}"/>
              </a:ext>
            </a:extLst>
          </p:cNvPr>
          <p:cNvGrpSpPr/>
          <p:nvPr/>
        </p:nvGrpSpPr>
        <p:grpSpPr>
          <a:xfrm>
            <a:off x="367887" y="504100"/>
            <a:ext cx="3565735" cy="5849800"/>
            <a:chOff x="367887" y="504100"/>
            <a:chExt cx="3565735" cy="5849800"/>
          </a:xfrm>
        </p:grpSpPr>
        <p:grpSp>
          <p:nvGrpSpPr>
            <p:cNvPr id="7" name="Group 6">
              <a:extLst>
                <a:ext uri="{FF2B5EF4-FFF2-40B4-BE49-F238E27FC236}">
                  <a16:creationId xmlns:a16="http://schemas.microsoft.com/office/drawing/2014/main" id="{F796405F-5443-473E-AE31-3668A472C7AD}"/>
                </a:ext>
              </a:extLst>
            </p:cNvPr>
            <p:cNvGrpSpPr/>
            <p:nvPr/>
          </p:nvGrpSpPr>
          <p:grpSpPr>
            <a:xfrm>
              <a:off x="1740374" y="504100"/>
              <a:ext cx="2193248" cy="1007156"/>
              <a:chOff x="1219267" y="1728316"/>
              <a:chExt cx="2193248" cy="1007156"/>
            </a:xfrm>
          </p:grpSpPr>
          <p:sp>
            <p:nvSpPr>
              <p:cNvPr id="1705" name="Lorem Ipsum is simply dummy text of the printing and typesetting industry."/>
              <p:cNvSpPr txBox="1"/>
              <p:nvPr/>
            </p:nvSpPr>
            <p:spPr>
              <a:xfrm>
                <a:off x="1219267" y="2051502"/>
                <a:ext cx="2193248" cy="68397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r">
                  <a:defRPr sz="2500" b="0">
                    <a:solidFill>
                      <a:srgbClr val="9FA09E"/>
                    </a:solidFill>
                    <a:latin typeface="Barlow Medium"/>
                    <a:ea typeface="Barlow Medium"/>
                    <a:cs typeface="Barlow Medium"/>
                    <a:sym typeface="Barlow Medium"/>
                  </a:defRPr>
                </a:lvl1pPr>
              </a:lstStyle>
              <a:p>
                <a:pPr>
                  <a:lnSpc>
                    <a:spcPts val="1700"/>
                  </a:lnSpc>
                </a:pPr>
                <a:r>
                  <a:rPr sz="1100" dirty="0">
                    <a:solidFill>
                      <a:schemeClr val="tx2"/>
                    </a:solidFill>
                    <a:latin typeface="Montserrat" panose="00000500000000000000" pitchFamily="50" charset="0"/>
                  </a:rPr>
                  <a:t>Lorem Ipsum is simply dummy text of the printing and typesetting industry.</a:t>
                </a:r>
              </a:p>
            </p:txBody>
          </p:sp>
          <p:sp>
            <p:nvSpPr>
              <p:cNvPr id="1706" name="Placeholder text"/>
              <p:cNvSpPr txBox="1"/>
              <p:nvPr/>
            </p:nvSpPr>
            <p:spPr>
              <a:xfrm>
                <a:off x="1247399" y="1728316"/>
                <a:ext cx="2165115" cy="25135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r">
                  <a:defRPr b="0">
                    <a:solidFill>
                      <a:srgbClr val="535454"/>
                    </a:solidFill>
                    <a:latin typeface="Barlow Bold"/>
                    <a:ea typeface="Barlow Bold"/>
                    <a:cs typeface="Barlow Bold"/>
                    <a:sym typeface="Barlow Bold"/>
                  </a:defRPr>
                </a:lvl1pPr>
              </a:lstStyle>
              <a:p>
                <a:r>
                  <a:rPr sz="1300" b="1" dirty="0">
                    <a:solidFill>
                      <a:schemeClr val="accent1"/>
                    </a:solidFill>
                    <a:latin typeface="Montserrat" panose="00000500000000000000" pitchFamily="50" charset="0"/>
                  </a:rPr>
                  <a:t>Placeholder text</a:t>
                </a:r>
              </a:p>
            </p:txBody>
          </p:sp>
        </p:grpSp>
        <p:grpSp>
          <p:nvGrpSpPr>
            <p:cNvPr id="82" name="Group 81">
              <a:extLst>
                <a:ext uri="{FF2B5EF4-FFF2-40B4-BE49-F238E27FC236}">
                  <a16:creationId xmlns:a16="http://schemas.microsoft.com/office/drawing/2014/main" id="{017D66AC-C94A-4537-B5D2-691769ED5F86}"/>
                </a:ext>
              </a:extLst>
            </p:cNvPr>
            <p:cNvGrpSpPr/>
            <p:nvPr/>
          </p:nvGrpSpPr>
          <p:grpSpPr>
            <a:xfrm>
              <a:off x="1740374" y="5346744"/>
              <a:ext cx="2193248" cy="1007156"/>
              <a:chOff x="1219267" y="1728316"/>
              <a:chExt cx="2193248" cy="1007156"/>
            </a:xfrm>
          </p:grpSpPr>
          <p:sp>
            <p:nvSpPr>
              <p:cNvPr id="83" name="Lorem Ipsum is simply dummy text of the printing and typesetting industry.">
                <a:extLst>
                  <a:ext uri="{FF2B5EF4-FFF2-40B4-BE49-F238E27FC236}">
                    <a16:creationId xmlns:a16="http://schemas.microsoft.com/office/drawing/2014/main" id="{303D4B8C-9E48-4B3A-9518-6DAA8CB176E0}"/>
                  </a:ext>
                </a:extLst>
              </p:cNvPr>
              <p:cNvSpPr txBox="1"/>
              <p:nvPr/>
            </p:nvSpPr>
            <p:spPr>
              <a:xfrm>
                <a:off x="1219267" y="2051502"/>
                <a:ext cx="2193248" cy="68397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r">
                  <a:defRPr sz="2500" b="0">
                    <a:solidFill>
                      <a:srgbClr val="9FA09E"/>
                    </a:solidFill>
                    <a:latin typeface="Barlow Medium"/>
                    <a:ea typeface="Barlow Medium"/>
                    <a:cs typeface="Barlow Medium"/>
                    <a:sym typeface="Barlow Medium"/>
                  </a:defRPr>
                </a:lvl1pPr>
              </a:lstStyle>
              <a:p>
                <a:pPr>
                  <a:lnSpc>
                    <a:spcPts val="1700"/>
                  </a:lnSpc>
                </a:pPr>
                <a:r>
                  <a:rPr sz="1100" dirty="0">
                    <a:solidFill>
                      <a:schemeClr val="tx2"/>
                    </a:solidFill>
                    <a:latin typeface="Montserrat" panose="00000500000000000000" pitchFamily="50" charset="0"/>
                  </a:rPr>
                  <a:t>Lorem Ipsum is simply dummy text of the printing and typesetting industry.</a:t>
                </a:r>
              </a:p>
            </p:txBody>
          </p:sp>
          <p:sp>
            <p:nvSpPr>
              <p:cNvPr id="84" name="Placeholder text">
                <a:extLst>
                  <a:ext uri="{FF2B5EF4-FFF2-40B4-BE49-F238E27FC236}">
                    <a16:creationId xmlns:a16="http://schemas.microsoft.com/office/drawing/2014/main" id="{980F3FE9-FBDA-47CD-9066-BAA704749EE4}"/>
                  </a:ext>
                </a:extLst>
              </p:cNvPr>
              <p:cNvSpPr txBox="1"/>
              <p:nvPr/>
            </p:nvSpPr>
            <p:spPr>
              <a:xfrm>
                <a:off x="1247399" y="1728316"/>
                <a:ext cx="2165115" cy="25135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r">
                  <a:defRPr b="0">
                    <a:solidFill>
                      <a:srgbClr val="535454"/>
                    </a:solidFill>
                    <a:latin typeface="Barlow Bold"/>
                    <a:ea typeface="Barlow Bold"/>
                    <a:cs typeface="Barlow Bold"/>
                    <a:sym typeface="Barlow Bold"/>
                  </a:defRPr>
                </a:lvl1pPr>
              </a:lstStyle>
              <a:p>
                <a:r>
                  <a:rPr sz="1300" b="1" dirty="0">
                    <a:solidFill>
                      <a:schemeClr val="accent1"/>
                    </a:solidFill>
                    <a:latin typeface="Montserrat" panose="00000500000000000000" pitchFamily="50" charset="0"/>
                  </a:rPr>
                  <a:t>Placeholder text</a:t>
                </a:r>
              </a:p>
            </p:txBody>
          </p:sp>
        </p:grpSp>
        <p:grpSp>
          <p:nvGrpSpPr>
            <p:cNvPr id="86" name="Group 85">
              <a:extLst>
                <a:ext uri="{FF2B5EF4-FFF2-40B4-BE49-F238E27FC236}">
                  <a16:creationId xmlns:a16="http://schemas.microsoft.com/office/drawing/2014/main" id="{AC323241-7C37-4A69-8B0C-9940251D633F}"/>
                </a:ext>
              </a:extLst>
            </p:cNvPr>
            <p:cNvGrpSpPr/>
            <p:nvPr/>
          </p:nvGrpSpPr>
          <p:grpSpPr>
            <a:xfrm>
              <a:off x="367887" y="2927685"/>
              <a:ext cx="2193248" cy="1007156"/>
              <a:chOff x="1219267" y="1728316"/>
              <a:chExt cx="2193248" cy="1007156"/>
            </a:xfrm>
          </p:grpSpPr>
          <p:sp>
            <p:nvSpPr>
              <p:cNvPr id="87" name="Lorem Ipsum is simply dummy text of the printing and typesetting industry.">
                <a:extLst>
                  <a:ext uri="{FF2B5EF4-FFF2-40B4-BE49-F238E27FC236}">
                    <a16:creationId xmlns:a16="http://schemas.microsoft.com/office/drawing/2014/main" id="{5E367C1B-989D-454B-9B5A-C9DCA9AE5B19}"/>
                  </a:ext>
                </a:extLst>
              </p:cNvPr>
              <p:cNvSpPr txBox="1"/>
              <p:nvPr/>
            </p:nvSpPr>
            <p:spPr>
              <a:xfrm>
                <a:off x="1219267" y="2051502"/>
                <a:ext cx="2193248" cy="68397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r">
                  <a:defRPr sz="2500" b="0">
                    <a:solidFill>
                      <a:srgbClr val="9FA09E"/>
                    </a:solidFill>
                    <a:latin typeface="Barlow Medium"/>
                    <a:ea typeface="Barlow Medium"/>
                    <a:cs typeface="Barlow Medium"/>
                    <a:sym typeface="Barlow Medium"/>
                  </a:defRPr>
                </a:lvl1pPr>
              </a:lstStyle>
              <a:p>
                <a:pPr>
                  <a:lnSpc>
                    <a:spcPts val="1700"/>
                  </a:lnSpc>
                </a:pPr>
                <a:r>
                  <a:rPr sz="1100" dirty="0">
                    <a:solidFill>
                      <a:schemeClr val="tx2"/>
                    </a:solidFill>
                    <a:latin typeface="Montserrat" panose="00000500000000000000" pitchFamily="50" charset="0"/>
                  </a:rPr>
                  <a:t>Lorem Ipsum is simply dummy text of the printing and typesetting industry.</a:t>
                </a:r>
              </a:p>
            </p:txBody>
          </p:sp>
          <p:sp>
            <p:nvSpPr>
              <p:cNvPr id="88" name="Placeholder text">
                <a:extLst>
                  <a:ext uri="{FF2B5EF4-FFF2-40B4-BE49-F238E27FC236}">
                    <a16:creationId xmlns:a16="http://schemas.microsoft.com/office/drawing/2014/main" id="{E4155D3B-4CDF-44B6-8010-857D8D6C8D50}"/>
                  </a:ext>
                </a:extLst>
              </p:cNvPr>
              <p:cNvSpPr txBox="1"/>
              <p:nvPr/>
            </p:nvSpPr>
            <p:spPr>
              <a:xfrm>
                <a:off x="1247399" y="1728316"/>
                <a:ext cx="2165115" cy="25135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r">
                  <a:defRPr b="0">
                    <a:solidFill>
                      <a:srgbClr val="535454"/>
                    </a:solidFill>
                    <a:latin typeface="Barlow Bold"/>
                    <a:ea typeface="Barlow Bold"/>
                    <a:cs typeface="Barlow Bold"/>
                    <a:sym typeface="Barlow Bold"/>
                  </a:defRPr>
                </a:lvl1pPr>
              </a:lstStyle>
              <a:p>
                <a:r>
                  <a:rPr sz="1300" b="1" dirty="0">
                    <a:solidFill>
                      <a:schemeClr val="accent1"/>
                    </a:solidFill>
                    <a:latin typeface="Montserrat" panose="00000500000000000000" pitchFamily="50" charset="0"/>
                  </a:rPr>
                  <a:t>Placeholder text</a:t>
                </a:r>
              </a:p>
            </p:txBody>
          </p:sp>
        </p:grpSp>
      </p:grpSp>
      <p:grpSp>
        <p:nvGrpSpPr>
          <p:cNvPr id="90" name="Group 89">
            <a:extLst>
              <a:ext uri="{FF2B5EF4-FFF2-40B4-BE49-F238E27FC236}">
                <a16:creationId xmlns:a16="http://schemas.microsoft.com/office/drawing/2014/main" id="{1DDECEB6-D3FE-47AD-90CA-6AEF52C2C5D3}"/>
              </a:ext>
            </a:extLst>
          </p:cNvPr>
          <p:cNvGrpSpPr/>
          <p:nvPr/>
        </p:nvGrpSpPr>
        <p:grpSpPr>
          <a:xfrm flipH="1">
            <a:off x="8260954" y="504100"/>
            <a:ext cx="3565735" cy="5849800"/>
            <a:chOff x="367887" y="504100"/>
            <a:chExt cx="3565735" cy="5849800"/>
          </a:xfrm>
        </p:grpSpPr>
        <p:grpSp>
          <p:nvGrpSpPr>
            <p:cNvPr id="91" name="Group 90">
              <a:extLst>
                <a:ext uri="{FF2B5EF4-FFF2-40B4-BE49-F238E27FC236}">
                  <a16:creationId xmlns:a16="http://schemas.microsoft.com/office/drawing/2014/main" id="{0AF582FB-04CD-410A-AD4B-87050DF9B4EA}"/>
                </a:ext>
              </a:extLst>
            </p:cNvPr>
            <p:cNvGrpSpPr/>
            <p:nvPr/>
          </p:nvGrpSpPr>
          <p:grpSpPr>
            <a:xfrm>
              <a:off x="1740374" y="504100"/>
              <a:ext cx="2193248" cy="1007156"/>
              <a:chOff x="1219267" y="1728316"/>
              <a:chExt cx="2193248" cy="1007156"/>
            </a:xfrm>
          </p:grpSpPr>
          <p:sp>
            <p:nvSpPr>
              <p:cNvPr id="98" name="Lorem Ipsum is simply dummy text of the printing and typesetting industry.">
                <a:extLst>
                  <a:ext uri="{FF2B5EF4-FFF2-40B4-BE49-F238E27FC236}">
                    <a16:creationId xmlns:a16="http://schemas.microsoft.com/office/drawing/2014/main" id="{7D400AF5-BB21-4D5B-ACD8-1D1D9190A1A0}"/>
                  </a:ext>
                </a:extLst>
              </p:cNvPr>
              <p:cNvSpPr txBox="1"/>
              <p:nvPr/>
            </p:nvSpPr>
            <p:spPr>
              <a:xfrm>
                <a:off x="1219267" y="2051502"/>
                <a:ext cx="2193248" cy="68397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r">
                  <a:defRPr sz="2500" b="0">
                    <a:solidFill>
                      <a:srgbClr val="9FA09E"/>
                    </a:solidFill>
                    <a:latin typeface="Barlow Medium"/>
                    <a:ea typeface="Barlow Medium"/>
                    <a:cs typeface="Barlow Medium"/>
                    <a:sym typeface="Barlow Medium"/>
                  </a:defRPr>
                </a:lvl1pPr>
              </a:lstStyle>
              <a:p>
                <a:pPr algn="l">
                  <a:lnSpc>
                    <a:spcPts val="1700"/>
                  </a:lnSpc>
                </a:pPr>
                <a:r>
                  <a:rPr sz="1100" dirty="0">
                    <a:solidFill>
                      <a:schemeClr val="tx2"/>
                    </a:solidFill>
                    <a:latin typeface="Montserrat" panose="00000500000000000000" pitchFamily="50" charset="0"/>
                  </a:rPr>
                  <a:t>Lorem Ipsum is simply dummy text of the printing and typesetting industry.</a:t>
                </a:r>
              </a:p>
            </p:txBody>
          </p:sp>
          <p:sp>
            <p:nvSpPr>
              <p:cNvPr id="99" name="Placeholder text">
                <a:extLst>
                  <a:ext uri="{FF2B5EF4-FFF2-40B4-BE49-F238E27FC236}">
                    <a16:creationId xmlns:a16="http://schemas.microsoft.com/office/drawing/2014/main" id="{93B21326-ACA0-41B2-AD57-FA28CF854D30}"/>
                  </a:ext>
                </a:extLst>
              </p:cNvPr>
              <p:cNvSpPr txBox="1"/>
              <p:nvPr/>
            </p:nvSpPr>
            <p:spPr>
              <a:xfrm>
                <a:off x="1247399" y="1728316"/>
                <a:ext cx="2165115" cy="25135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r">
                  <a:defRPr b="0">
                    <a:solidFill>
                      <a:srgbClr val="535454"/>
                    </a:solidFill>
                    <a:latin typeface="Barlow Bold"/>
                    <a:ea typeface="Barlow Bold"/>
                    <a:cs typeface="Barlow Bold"/>
                    <a:sym typeface="Barlow Bold"/>
                  </a:defRPr>
                </a:lvl1pPr>
              </a:lstStyle>
              <a:p>
                <a:pPr algn="l"/>
                <a:r>
                  <a:rPr sz="1300" b="1" dirty="0">
                    <a:solidFill>
                      <a:schemeClr val="accent2">
                        <a:lumMod val="50000"/>
                        <a:lumOff val="50000"/>
                      </a:schemeClr>
                    </a:solidFill>
                    <a:latin typeface="Montserrat" panose="00000500000000000000" pitchFamily="50" charset="0"/>
                  </a:rPr>
                  <a:t>Placeholder text</a:t>
                </a:r>
              </a:p>
            </p:txBody>
          </p:sp>
        </p:grpSp>
        <p:grpSp>
          <p:nvGrpSpPr>
            <p:cNvPr id="92" name="Group 91">
              <a:extLst>
                <a:ext uri="{FF2B5EF4-FFF2-40B4-BE49-F238E27FC236}">
                  <a16:creationId xmlns:a16="http://schemas.microsoft.com/office/drawing/2014/main" id="{9DDA436B-BDBC-476A-B77A-16D8025216EC}"/>
                </a:ext>
              </a:extLst>
            </p:cNvPr>
            <p:cNvGrpSpPr/>
            <p:nvPr/>
          </p:nvGrpSpPr>
          <p:grpSpPr>
            <a:xfrm>
              <a:off x="1740374" y="5346744"/>
              <a:ext cx="2193248" cy="1007156"/>
              <a:chOff x="1219267" y="1728316"/>
              <a:chExt cx="2193248" cy="1007156"/>
            </a:xfrm>
          </p:grpSpPr>
          <p:sp>
            <p:nvSpPr>
              <p:cNvPr id="96" name="Lorem Ipsum is simply dummy text of the printing and typesetting industry.">
                <a:extLst>
                  <a:ext uri="{FF2B5EF4-FFF2-40B4-BE49-F238E27FC236}">
                    <a16:creationId xmlns:a16="http://schemas.microsoft.com/office/drawing/2014/main" id="{A9F3EC4A-CB29-4CD7-88FA-B1343EA8F44E}"/>
                  </a:ext>
                </a:extLst>
              </p:cNvPr>
              <p:cNvSpPr txBox="1"/>
              <p:nvPr/>
            </p:nvSpPr>
            <p:spPr>
              <a:xfrm>
                <a:off x="1219267" y="2051502"/>
                <a:ext cx="2193248" cy="68397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r">
                  <a:defRPr sz="2500" b="0">
                    <a:solidFill>
                      <a:srgbClr val="9FA09E"/>
                    </a:solidFill>
                    <a:latin typeface="Barlow Medium"/>
                    <a:ea typeface="Barlow Medium"/>
                    <a:cs typeface="Barlow Medium"/>
                    <a:sym typeface="Barlow Medium"/>
                  </a:defRPr>
                </a:lvl1pPr>
              </a:lstStyle>
              <a:p>
                <a:pPr algn="l">
                  <a:lnSpc>
                    <a:spcPts val="1700"/>
                  </a:lnSpc>
                </a:pPr>
                <a:r>
                  <a:rPr sz="1100" dirty="0">
                    <a:solidFill>
                      <a:schemeClr val="tx2"/>
                    </a:solidFill>
                    <a:latin typeface="Montserrat" panose="00000500000000000000" pitchFamily="50" charset="0"/>
                  </a:rPr>
                  <a:t>Lorem Ipsum is simply dummy text of the printing and typesetting industry.</a:t>
                </a:r>
              </a:p>
            </p:txBody>
          </p:sp>
          <p:sp>
            <p:nvSpPr>
              <p:cNvPr id="97" name="Placeholder text">
                <a:extLst>
                  <a:ext uri="{FF2B5EF4-FFF2-40B4-BE49-F238E27FC236}">
                    <a16:creationId xmlns:a16="http://schemas.microsoft.com/office/drawing/2014/main" id="{EB889019-44E5-45D7-BA1C-21DFCB5698A4}"/>
                  </a:ext>
                </a:extLst>
              </p:cNvPr>
              <p:cNvSpPr txBox="1"/>
              <p:nvPr/>
            </p:nvSpPr>
            <p:spPr>
              <a:xfrm>
                <a:off x="1247399" y="1728316"/>
                <a:ext cx="2165115" cy="25135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r">
                  <a:defRPr b="0">
                    <a:solidFill>
                      <a:srgbClr val="535454"/>
                    </a:solidFill>
                    <a:latin typeface="Barlow Bold"/>
                    <a:ea typeface="Barlow Bold"/>
                    <a:cs typeface="Barlow Bold"/>
                    <a:sym typeface="Barlow Bold"/>
                  </a:defRPr>
                </a:lvl1pPr>
              </a:lstStyle>
              <a:p>
                <a:pPr algn="l"/>
                <a:r>
                  <a:rPr sz="1300" b="1" dirty="0">
                    <a:solidFill>
                      <a:schemeClr val="accent2">
                        <a:lumMod val="50000"/>
                        <a:lumOff val="50000"/>
                      </a:schemeClr>
                    </a:solidFill>
                    <a:latin typeface="Montserrat" panose="00000500000000000000" pitchFamily="50" charset="0"/>
                  </a:rPr>
                  <a:t>Placeholder text</a:t>
                </a:r>
              </a:p>
            </p:txBody>
          </p:sp>
        </p:grpSp>
        <p:grpSp>
          <p:nvGrpSpPr>
            <p:cNvPr id="93" name="Group 92">
              <a:extLst>
                <a:ext uri="{FF2B5EF4-FFF2-40B4-BE49-F238E27FC236}">
                  <a16:creationId xmlns:a16="http://schemas.microsoft.com/office/drawing/2014/main" id="{35DF5C4E-1A94-4E30-98CF-8A32A75C1F16}"/>
                </a:ext>
              </a:extLst>
            </p:cNvPr>
            <p:cNvGrpSpPr/>
            <p:nvPr/>
          </p:nvGrpSpPr>
          <p:grpSpPr>
            <a:xfrm>
              <a:off x="367887" y="2927685"/>
              <a:ext cx="2193248" cy="1007156"/>
              <a:chOff x="1219267" y="1728316"/>
              <a:chExt cx="2193248" cy="1007156"/>
            </a:xfrm>
          </p:grpSpPr>
          <p:sp>
            <p:nvSpPr>
              <p:cNvPr id="94" name="Lorem Ipsum is simply dummy text of the printing and typesetting industry.">
                <a:extLst>
                  <a:ext uri="{FF2B5EF4-FFF2-40B4-BE49-F238E27FC236}">
                    <a16:creationId xmlns:a16="http://schemas.microsoft.com/office/drawing/2014/main" id="{F0BC4E5E-1222-4BDD-B181-3A0702EDB86E}"/>
                  </a:ext>
                </a:extLst>
              </p:cNvPr>
              <p:cNvSpPr txBox="1"/>
              <p:nvPr/>
            </p:nvSpPr>
            <p:spPr>
              <a:xfrm>
                <a:off x="1219267" y="2051502"/>
                <a:ext cx="2193248" cy="68397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r">
                  <a:defRPr sz="2500" b="0">
                    <a:solidFill>
                      <a:srgbClr val="9FA09E"/>
                    </a:solidFill>
                    <a:latin typeface="Barlow Medium"/>
                    <a:ea typeface="Barlow Medium"/>
                    <a:cs typeface="Barlow Medium"/>
                    <a:sym typeface="Barlow Medium"/>
                  </a:defRPr>
                </a:lvl1pPr>
              </a:lstStyle>
              <a:p>
                <a:pPr algn="l">
                  <a:lnSpc>
                    <a:spcPts val="1700"/>
                  </a:lnSpc>
                </a:pPr>
                <a:r>
                  <a:rPr sz="1100" dirty="0">
                    <a:solidFill>
                      <a:schemeClr val="tx2"/>
                    </a:solidFill>
                    <a:latin typeface="Montserrat" panose="00000500000000000000" pitchFamily="50" charset="0"/>
                  </a:rPr>
                  <a:t>Lorem Ipsum is simply dummy text of the printing and typesetting industry.</a:t>
                </a:r>
              </a:p>
            </p:txBody>
          </p:sp>
          <p:sp>
            <p:nvSpPr>
              <p:cNvPr id="95" name="Placeholder text">
                <a:extLst>
                  <a:ext uri="{FF2B5EF4-FFF2-40B4-BE49-F238E27FC236}">
                    <a16:creationId xmlns:a16="http://schemas.microsoft.com/office/drawing/2014/main" id="{2EC0438B-7E01-404B-AB59-940900564A21}"/>
                  </a:ext>
                </a:extLst>
              </p:cNvPr>
              <p:cNvSpPr txBox="1"/>
              <p:nvPr/>
            </p:nvSpPr>
            <p:spPr>
              <a:xfrm>
                <a:off x="1247399" y="1728316"/>
                <a:ext cx="2165115" cy="25135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r">
                  <a:defRPr b="0">
                    <a:solidFill>
                      <a:srgbClr val="535454"/>
                    </a:solidFill>
                    <a:latin typeface="Barlow Bold"/>
                    <a:ea typeface="Barlow Bold"/>
                    <a:cs typeface="Barlow Bold"/>
                    <a:sym typeface="Barlow Bold"/>
                  </a:defRPr>
                </a:lvl1pPr>
              </a:lstStyle>
              <a:p>
                <a:pPr algn="l"/>
                <a:r>
                  <a:rPr sz="1300" b="1" dirty="0">
                    <a:solidFill>
                      <a:schemeClr val="accent2">
                        <a:lumMod val="50000"/>
                        <a:lumOff val="50000"/>
                      </a:schemeClr>
                    </a:solidFill>
                    <a:latin typeface="Montserrat" panose="00000500000000000000" pitchFamily="50" charset="0"/>
                  </a:rPr>
                  <a:t>Placeholder text</a:t>
                </a:r>
              </a:p>
            </p:txBody>
          </p:sp>
        </p:grpSp>
      </p:grpSp>
      <p:sp>
        <p:nvSpPr>
          <p:cNvPr id="1699" name="Placeholder Text"/>
          <p:cNvSpPr txBox="1"/>
          <p:nvPr/>
        </p:nvSpPr>
        <p:spPr>
          <a:xfrm>
            <a:off x="5419528" y="3247866"/>
            <a:ext cx="1352748" cy="43601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defRPr sz="2500" b="0">
                <a:solidFill>
                  <a:srgbClr val="9FA09E"/>
                </a:solidFill>
                <a:latin typeface="Barlow Medium"/>
                <a:ea typeface="Barlow Medium"/>
                <a:cs typeface="Barlow Medium"/>
                <a:sym typeface="Barlow Medium"/>
              </a:defRPr>
            </a:lvl1pPr>
          </a:lstStyle>
          <a:p>
            <a:pPr algn="ctr"/>
            <a:r>
              <a:rPr lang="en-US" sz="1250" b="1" dirty="0">
                <a:solidFill>
                  <a:schemeClr val="bg1"/>
                </a:solidFill>
                <a:latin typeface="Montserrat" panose="00000500000000000000" pitchFamily="50" charset="0"/>
              </a:rPr>
              <a:t>PLACEHOLDER TEXT</a:t>
            </a:r>
          </a:p>
        </p:txBody>
      </p:sp>
      <p:grpSp>
        <p:nvGrpSpPr>
          <p:cNvPr id="12" name="Group 11">
            <a:extLst>
              <a:ext uri="{FF2B5EF4-FFF2-40B4-BE49-F238E27FC236}">
                <a16:creationId xmlns:a16="http://schemas.microsoft.com/office/drawing/2014/main" id="{C204BEA9-C89D-4B2F-A0A0-62D31487169D}"/>
              </a:ext>
            </a:extLst>
          </p:cNvPr>
          <p:cNvGrpSpPr/>
          <p:nvPr/>
        </p:nvGrpSpPr>
        <p:grpSpPr>
          <a:xfrm>
            <a:off x="3945785" y="3247866"/>
            <a:ext cx="4300233" cy="436017"/>
            <a:chOff x="3960721" y="3250871"/>
            <a:chExt cx="4300233" cy="436017"/>
          </a:xfrm>
        </p:grpSpPr>
        <p:sp>
          <p:nvSpPr>
            <p:cNvPr id="1700" name="Placeholder Text"/>
            <p:cNvSpPr txBox="1"/>
            <p:nvPr/>
          </p:nvSpPr>
          <p:spPr>
            <a:xfrm>
              <a:off x="7164099" y="3250871"/>
              <a:ext cx="1096855" cy="43601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lgn="l">
                <a:defRPr sz="2500" b="0">
                  <a:solidFill>
                    <a:srgbClr val="9FA09E"/>
                  </a:solidFill>
                  <a:latin typeface="Barlow Medium"/>
                  <a:ea typeface="Barlow Medium"/>
                  <a:cs typeface="Barlow Medium"/>
                  <a:sym typeface="Barlow Medium"/>
                </a:defRPr>
              </a:lvl1pPr>
            </a:lstStyle>
            <a:p>
              <a:pPr algn="ctr"/>
              <a:r>
                <a:rPr sz="1250" b="1" dirty="0">
                  <a:solidFill>
                    <a:schemeClr val="bg1"/>
                  </a:solidFill>
                  <a:latin typeface="Montserrat" panose="00000500000000000000" pitchFamily="50" charset="0"/>
                </a:rPr>
                <a:t>Placeholder Text</a:t>
              </a:r>
            </a:p>
          </p:txBody>
        </p:sp>
        <p:sp>
          <p:nvSpPr>
            <p:cNvPr id="1701" name="Placeholder Text"/>
            <p:cNvSpPr txBox="1"/>
            <p:nvPr/>
          </p:nvSpPr>
          <p:spPr>
            <a:xfrm>
              <a:off x="3960721" y="3250871"/>
              <a:ext cx="1096855" cy="43601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algn="ctr"/>
              <a:r>
                <a:rPr sz="1250" b="1" dirty="0">
                  <a:solidFill>
                    <a:schemeClr val="bg1"/>
                  </a:solidFill>
                  <a:latin typeface="Montserrat" panose="00000500000000000000" pitchFamily="50" charset="0"/>
                </a:rPr>
                <a:t>Placeholder Text</a:t>
              </a:r>
            </a:p>
          </p:txBody>
        </p:sp>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ADDC5D2-9F4B-0BB7-B903-644438F637EB}"/>
              </a:ext>
            </a:extLst>
          </p:cNvPr>
          <p:cNvSpPr txBox="1"/>
          <p:nvPr/>
        </p:nvSpPr>
        <p:spPr>
          <a:xfrm>
            <a:off x="521252" y="463787"/>
            <a:ext cx="6659984" cy="553998"/>
          </a:xfrm>
          <a:prstGeom prst="rect">
            <a:avLst/>
          </a:prstGeom>
          <a:noFill/>
        </p:spPr>
        <p:txBody>
          <a:bodyPr wrap="square" rtlCol="0">
            <a:spAutoFit/>
          </a:bodyPr>
          <a:lstStyle/>
          <a:p>
            <a:r>
              <a:rPr lang="en-US" sz="3000" b="1" dirty="0">
                <a:solidFill>
                  <a:schemeClr val="tx2">
                    <a:lumMod val="40000"/>
                    <a:lumOff val="60000"/>
                  </a:schemeClr>
                </a:solidFill>
                <a:latin typeface="Montserrat" panose="00000500000000000000" pitchFamily="50" charset="0"/>
              </a:rPr>
              <a:t>DESIGN INNOVATION PROCESS</a:t>
            </a:r>
          </a:p>
        </p:txBody>
      </p:sp>
      <p:grpSp>
        <p:nvGrpSpPr>
          <p:cNvPr id="34" name="Group 33">
            <a:extLst>
              <a:ext uri="{FF2B5EF4-FFF2-40B4-BE49-F238E27FC236}">
                <a16:creationId xmlns:a16="http://schemas.microsoft.com/office/drawing/2014/main" id="{00ACFBA6-F6D3-4E3F-BB87-16A012FEF9BC}"/>
              </a:ext>
            </a:extLst>
          </p:cNvPr>
          <p:cNvGrpSpPr/>
          <p:nvPr/>
        </p:nvGrpSpPr>
        <p:grpSpPr>
          <a:xfrm>
            <a:off x="1304704" y="385569"/>
            <a:ext cx="9582592" cy="6240382"/>
            <a:chOff x="1449907" y="385569"/>
            <a:chExt cx="9582592" cy="6240382"/>
          </a:xfrm>
        </p:grpSpPr>
        <p:grpSp>
          <p:nvGrpSpPr>
            <p:cNvPr id="22" name="Group 21">
              <a:extLst>
                <a:ext uri="{FF2B5EF4-FFF2-40B4-BE49-F238E27FC236}">
                  <a16:creationId xmlns:a16="http://schemas.microsoft.com/office/drawing/2014/main" id="{9A9448A8-55FC-4158-A003-C3FDDD7C3BB1}"/>
                </a:ext>
              </a:extLst>
            </p:cNvPr>
            <p:cNvGrpSpPr/>
            <p:nvPr/>
          </p:nvGrpSpPr>
          <p:grpSpPr>
            <a:xfrm>
              <a:off x="8242718" y="385569"/>
              <a:ext cx="1622560" cy="937448"/>
              <a:chOff x="8303267" y="499536"/>
              <a:chExt cx="1622560" cy="937448"/>
            </a:xfrm>
          </p:grpSpPr>
          <p:sp>
            <p:nvSpPr>
              <p:cNvPr id="24" name="TextBox 23">
                <a:extLst>
                  <a:ext uri="{FF2B5EF4-FFF2-40B4-BE49-F238E27FC236}">
                    <a16:creationId xmlns:a16="http://schemas.microsoft.com/office/drawing/2014/main" id="{47C99741-AD60-4E14-A927-2D074E21B52C}"/>
                  </a:ext>
                </a:extLst>
              </p:cNvPr>
              <p:cNvSpPr txBox="1"/>
              <p:nvPr/>
            </p:nvSpPr>
            <p:spPr>
              <a:xfrm>
                <a:off x="8303267" y="499536"/>
                <a:ext cx="1622560" cy="292388"/>
              </a:xfrm>
              <a:prstGeom prst="rect">
                <a:avLst/>
              </a:prstGeom>
              <a:noFill/>
            </p:spPr>
            <p:txBody>
              <a:bodyPr wrap="none" rtlCol="0">
                <a:spAutoFit/>
              </a:bodyPr>
              <a:lstStyle/>
              <a:p>
                <a:r>
                  <a:rPr lang="en-US" sz="1300" b="1" dirty="0">
                    <a:solidFill>
                      <a:schemeClr val="accent1"/>
                    </a:solidFill>
                    <a:latin typeface="Montserrat" panose="00000500000000000000" pitchFamily="50" charset="0"/>
                  </a:rPr>
                  <a:t>HUMAN VALUES</a:t>
                </a:r>
              </a:p>
            </p:txBody>
          </p:sp>
          <p:sp>
            <p:nvSpPr>
              <p:cNvPr id="25" name="TextBox 24">
                <a:extLst>
                  <a:ext uri="{FF2B5EF4-FFF2-40B4-BE49-F238E27FC236}">
                    <a16:creationId xmlns:a16="http://schemas.microsoft.com/office/drawing/2014/main" id="{B68AAB33-C4C8-44AD-AABF-30557152D7F7}"/>
                  </a:ext>
                </a:extLst>
              </p:cNvPr>
              <p:cNvSpPr txBox="1"/>
              <p:nvPr/>
            </p:nvSpPr>
            <p:spPr>
              <a:xfrm>
                <a:off x="8303267" y="785524"/>
                <a:ext cx="1622559" cy="651460"/>
              </a:xfrm>
              <a:prstGeom prst="rect">
                <a:avLst/>
              </a:prstGeom>
              <a:noFill/>
            </p:spPr>
            <p:txBody>
              <a:bodyPr wrap="square" rtlCol="0">
                <a:spAutoFit/>
              </a:bodyPr>
              <a:lstStyle/>
              <a:p>
                <a:pPr>
                  <a:lnSpc>
                    <a:spcPts val="1500"/>
                  </a:lnSpc>
                </a:pPr>
                <a:r>
                  <a:rPr lang="en-US" sz="1000" dirty="0">
                    <a:solidFill>
                      <a:schemeClr val="tx1">
                        <a:lumMod val="75000"/>
                        <a:lumOff val="25000"/>
                      </a:schemeClr>
                    </a:solidFill>
                    <a:latin typeface="Montserrat" panose="00000500000000000000" pitchFamily="50" charset="0"/>
                  </a:rPr>
                  <a:t>Psychology</a:t>
                </a:r>
              </a:p>
              <a:p>
                <a:pPr>
                  <a:lnSpc>
                    <a:spcPts val="1500"/>
                  </a:lnSpc>
                </a:pPr>
                <a:r>
                  <a:rPr lang="en-US" sz="1000" dirty="0">
                    <a:solidFill>
                      <a:schemeClr val="tx1">
                        <a:lumMod val="75000"/>
                        <a:lumOff val="25000"/>
                      </a:schemeClr>
                    </a:solidFill>
                    <a:latin typeface="Montserrat" panose="00000500000000000000" pitchFamily="50" charset="0"/>
                  </a:rPr>
                  <a:t>Anthropology</a:t>
                </a:r>
              </a:p>
              <a:p>
                <a:pPr>
                  <a:lnSpc>
                    <a:spcPts val="1500"/>
                  </a:lnSpc>
                </a:pPr>
                <a:r>
                  <a:rPr lang="en-US" sz="1000" dirty="0">
                    <a:solidFill>
                      <a:schemeClr val="tx1">
                        <a:lumMod val="75000"/>
                        <a:lumOff val="25000"/>
                      </a:schemeClr>
                    </a:solidFill>
                    <a:latin typeface="Montserrat" panose="00000500000000000000" pitchFamily="50" charset="0"/>
                  </a:rPr>
                  <a:t>Sociology</a:t>
                </a:r>
              </a:p>
            </p:txBody>
          </p:sp>
        </p:grpSp>
        <p:grpSp>
          <p:nvGrpSpPr>
            <p:cNvPr id="27" name="Group 26">
              <a:extLst>
                <a:ext uri="{FF2B5EF4-FFF2-40B4-BE49-F238E27FC236}">
                  <a16:creationId xmlns:a16="http://schemas.microsoft.com/office/drawing/2014/main" id="{3392CF9E-6DB4-40C2-9BD1-F5977F194399}"/>
                </a:ext>
              </a:extLst>
            </p:cNvPr>
            <p:cNvGrpSpPr/>
            <p:nvPr/>
          </p:nvGrpSpPr>
          <p:grpSpPr>
            <a:xfrm>
              <a:off x="8617336" y="4193650"/>
              <a:ext cx="2124757" cy="937448"/>
              <a:chOff x="5345270" y="376273"/>
              <a:chExt cx="2124757" cy="937448"/>
            </a:xfrm>
          </p:grpSpPr>
          <p:sp>
            <p:nvSpPr>
              <p:cNvPr id="28" name="TextBox 27">
                <a:extLst>
                  <a:ext uri="{FF2B5EF4-FFF2-40B4-BE49-F238E27FC236}">
                    <a16:creationId xmlns:a16="http://schemas.microsoft.com/office/drawing/2014/main" id="{B8D71169-FEC3-4189-AD1C-4EBECD2042EA}"/>
                  </a:ext>
                </a:extLst>
              </p:cNvPr>
              <p:cNvSpPr txBox="1"/>
              <p:nvPr/>
            </p:nvSpPr>
            <p:spPr>
              <a:xfrm>
                <a:off x="5345270" y="376273"/>
                <a:ext cx="1063112" cy="292388"/>
              </a:xfrm>
              <a:prstGeom prst="rect">
                <a:avLst/>
              </a:prstGeom>
              <a:noFill/>
            </p:spPr>
            <p:txBody>
              <a:bodyPr wrap="none" rtlCol="0">
                <a:spAutoFit/>
              </a:bodyPr>
              <a:lstStyle/>
              <a:p>
                <a:r>
                  <a:rPr lang="en-US" sz="1300" b="1" dirty="0">
                    <a:solidFill>
                      <a:schemeClr val="accent4"/>
                    </a:solidFill>
                    <a:latin typeface="Montserrat" panose="00000500000000000000" pitchFamily="50" charset="0"/>
                  </a:rPr>
                  <a:t>BUSINESS</a:t>
                </a:r>
              </a:p>
            </p:txBody>
          </p:sp>
          <p:sp>
            <p:nvSpPr>
              <p:cNvPr id="29" name="TextBox 28">
                <a:extLst>
                  <a:ext uri="{FF2B5EF4-FFF2-40B4-BE49-F238E27FC236}">
                    <a16:creationId xmlns:a16="http://schemas.microsoft.com/office/drawing/2014/main" id="{6E609C45-3F08-4B1C-A263-6A0730F055B1}"/>
                  </a:ext>
                </a:extLst>
              </p:cNvPr>
              <p:cNvSpPr txBox="1"/>
              <p:nvPr/>
            </p:nvSpPr>
            <p:spPr>
              <a:xfrm>
                <a:off x="5345270" y="662261"/>
                <a:ext cx="2124757" cy="651460"/>
              </a:xfrm>
              <a:prstGeom prst="rect">
                <a:avLst/>
              </a:prstGeom>
              <a:noFill/>
            </p:spPr>
            <p:txBody>
              <a:bodyPr wrap="square" rtlCol="0">
                <a:spAutoFit/>
              </a:bodyPr>
              <a:lstStyle/>
              <a:p>
                <a:pPr>
                  <a:lnSpc>
                    <a:spcPts val="1500"/>
                  </a:lnSpc>
                </a:pPr>
                <a:r>
                  <a:rPr lang="en-US" sz="1000" dirty="0">
                    <a:solidFill>
                      <a:schemeClr val="tx1">
                        <a:lumMod val="75000"/>
                        <a:lumOff val="25000"/>
                      </a:schemeClr>
                    </a:solidFill>
                    <a:latin typeface="Montserrat" panose="00000500000000000000" pitchFamily="50" charset="0"/>
                  </a:rPr>
                  <a:t>Accounting</a:t>
                </a:r>
              </a:p>
              <a:p>
                <a:pPr>
                  <a:lnSpc>
                    <a:spcPts val="1500"/>
                  </a:lnSpc>
                </a:pPr>
                <a:r>
                  <a:rPr lang="en-US" sz="1000" dirty="0">
                    <a:solidFill>
                      <a:schemeClr val="tx1">
                        <a:lumMod val="75000"/>
                        <a:lumOff val="25000"/>
                      </a:schemeClr>
                    </a:solidFill>
                    <a:latin typeface="Montserrat" panose="00000500000000000000" pitchFamily="50" charset="0"/>
                  </a:rPr>
                  <a:t>Finance</a:t>
                </a:r>
              </a:p>
              <a:p>
                <a:pPr>
                  <a:lnSpc>
                    <a:spcPts val="1500"/>
                  </a:lnSpc>
                </a:pPr>
                <a:r>
                  <a:rPr lang="en-US" sz="1000" dirty="0">
                    <a:solidFill>
                      <a:schemeClr val="tx1">
                        <a:lumMod val="75000"/>
                        <a:lumOff val="25000"/>
                      </a:schemeClr>
                    </a:solidFill>
                    <a:latin typeface="Montserrat" panose="00000500000000000000" pitchFamily="50" charset="0"/>
                  </a:rPr>
                  <a:t>Economic Analysis &amp; Policy</a:t>
                </a:r>
              </a:p>
            </p:txBody>
          </p:sp>
        </p:grpSp>
        <p:grpSp>
          <p:nvGrpSpPr>
            <p:cNvPr id="30" name="Group 29">
              <a:extLst>
                <a:ext uri="{FF2B5EF4-FFF2-40B4-BE49-F238E27FC236}">
                  <a16:creationId xmlns:a16="http://schemas.microsoft.com/office/drawing/2014/main" id="{52C6C879-E894-4A11-A854-8FF513EED54A}"/>
                </a:ext>
              </a:extLst>
            </p:cNvPr>
            <p:cNvGrpSpPr/>
            <p:nvPr/>
          </p:nvGrpSpPr>
          <p:grpSpPr>
            <a:xfrm flipH="1">
              <a:off x="1449907" y="4193650"/>
              <a:ext cx="2124757" cy="937448"/>
              <a:chOff x="5345270" y="376273"/>
              <a:chExt cx="2124757" cy="937448"/>
            </a:xfrm>
          </p:grpSpPr>
          <p:sp>
            <p:nvSpPr>
              <p:cNvPr id="31" name="TextBox 30">
                <a:extLst>
                  <a:ext uri="{FF2B5EF4-FFF2-40B4-BE49-F238E27FC236}">
                    <a16:creationId xmlns:a16="http://schemas.microsoft.com/office/drawing/2014/main" id="{505E601B-1771-4896-A72C-DCC992C28D82}"/>
                  </a:ext>
                </a:extLst>
              </p:cNvPr>
              <p:cNvSpPr txBox="1"/>
              <p:nvPr/>
            </p:nvSpPr>
            <p:spPr>
              <a:xfrm>
                <a:off x="5345270" y="376273"/>
                <a:ext cx="1414170" cy="292388"/>
              </a:xfrm>
              <a:prstGeom prst="rect">
                <a:avLst/>
              </a:prstGeom>
              <a:noFill/>
            </p:spPr>
            <p:txBody>
              <a:bodyPr wrap="none" rtlCol="0">
                <a:spAutoFit/>
              </a:bodyPr>
              <a:lstStyle/>
              <a:p>
                <a:pPr algn="r"/>
                <a:r>
                  <a:rPr lang="en-US" sz="1300" b="1" dirty="0">
                    <a:solidFill>
                      <a:schemeClr val="accent3"/>
                    </a:solidFill>
                    <a:latin typeface="Montserrat" panose="00000500000000000000" pitchFamily="50" charset="0"/>
                  </a:rPr>
                  <a:t>TECHNOLOGY</a:t>
                </a:r>
              </a:p>
            </p:txBody>
          </p:sp>
          <p:sp>
            <p:nvSpPr>
              <p:cNvPr id="32" name="TextBox 31">
                <a:extLst>
                  <a:ext uri="{FF2B5EF4-FFF2-40B4-BE49-F238E27FC236}">
                    <a16:creationId xmlns:a16="http://schemas.microsoft.com/office/drawing/2014/main" id="{23A7F83F-B70E-471B-8ABC-40E00EEB2372}"/>
                  </a:ext>
                </a:extLst>
              </p:cNvPr>
              <p:cNvSpPr txBox="1"/>
              <p:nvPr/>
            </p:nvSpPr>
            <p:spPr>
              <a:xfrm>
                <a:off x="5345270" y="662261"/>
                <a:ext cx="2124757" cy="651460"/>
              </a:xfrm>
              <a:prstGeom prst="rect">
                <a:avLst/>
              </a:prstGeom>
              <a:noFill/>
            </p:spPr>
            <p:txBody>
              <a:bodyPr wrap="square" rtlCol="0">
                <a:spAutoFit/>
              </a:bodyPr>
              <a:lstStyle/>
              <a:p>
                <a:pPr algn="r">
                  <a:lnSpc>
                    <a:spcPts val="1500"/>
                  </a:lnSpc>
                </a:pPr>
                <a:r>
                  <a:rPr lang="en-US" sz="1000" dirty="0">
                    <a:solidFill>
                      <a:schemeClr val="tx1">
                        <a:lumMod val="75000"/>
                        <a:lumOff val="25000"/>
                      </a:schemeClr>
                    </a:solidFill>
                    <a:latin typeface="Montserrat" panose="00000500000000000000" pitchFamily="50" charset="0"/>
                  </a:rPr>
                  <a:t>Engineering Analysis</a:t>
                </a:r>
              </a:p>
              <a:p>
                <a:pPr algn="r">
                  <a:lnSpc>
                    <a:spcPts val="1500"/>
                  </a:lnSpc>
                </a:pPr>
                <a:r>
                  <a:rPr lang="en-US" sz="1000" dirty="0">
                    <a:solidFill>
                      <a:schemeClr val="tx1">
                        <a:lumMod val="75000"/>
                        <a:lumOff val="25000"/>
                      </a:schemeClr>
                    </a:solidFill>
                    <a:latin typeface="Montserrat" panose="00000500000000000000" pitchFamily="50" charset="0"/>
                  </a:rPr>
                  <a:t>Statics &amp; Dynamics</a:t>
                </a:r>
              </a:p>
              <a:p>
                <a:pPr algn="r">
                  <a:lnSpc>
                    <a:spcPts val="1500"/>
                  </a:lnSpc>
                </a:pPr>
                <a:r>
                  <a:rPr lang="en-US" sz="1000" dirty="0">
                    <a:solidFill>
                      <a:schemeClr val="tx1">
                        <a:lumMod val="75000"/>
                        <a:lumOff val="25000"/>
                      </a:schemeClr>
                    </a:solidFill>
                    <a:latin typeface="Montserrat" panose="00000500000000000000" pitchFamily="50" charset="0"/>
                  </a:rPr>
                  <a:t>Electronics &amp; Mechatronics</a:t>
                </a:r>
              </a:p>
            </p:txBody>
          </p:sp>
        </p:grpSp>
        <p:grpSp>
          <p:nvGrpSpPr>
            <p:cNvPr id="35" name="Group 34">
              <a:extLst>
                <a:ext uri="{FF2B5EF4-FFF2-40B4-BE49-F238E27FC236}">
                  <a16:creationId xmlns:a16="http://schemas.microsoft.com/office/drawing/2014/main" id="{BD40BABF-7561-4365-92EB-D77EE7022A30}"/>
                </a:ext>
              </a:extLst>
            </p:cNvPr>
            <p:cNvGrpSpPr/>
            <p:nvPr/>
          </p:nvGrpSpPr>
          <p:grpSpPr>
            <a:xfrm>
              <a:off x="4865561" y="5688503"/>
              <a:ext cx="2460878" cy="937448"/>
              <a:chOff x="4926111" y="376273"/>
              <a:chExt cx="2460878" cy="937448"/>
            </a:xfrm>
          </p:grpSpPr>
          <p:sp>
            <p:nvSpPr>
              <p:cNvPr id="36" name="TextBox 35">
                <a:extLst>
                  <a:ext uri="{FF2B5EF4-FFF2-40B4-BE49-F238E27FC236}">
                    <a16:creationId xmlns:a16="http://schemas.microsoft.com/office/drawing/2014/main" id="{F48C5E0C-1C7A-4000-853F-4D4A69773A80}"/>
                  </a:ext>
                </a:extLst>
              </p:cNvPr>
              <p:cNvSpPr txBox="1"/>
              <p:nvPr/>
            </p:nvSpPr>
            <p:spPr>
              <a:xfrm>
                <a:off x="5273135" y="376273"/>
                <a:ext cx="1766830" cy="292388"/>
              </a:xfrm>
              <a:prstGeom prst="rect">
                <a:avLst/>
              </a:prstGeom>
              <a:noFill/>
            </p:spPr>
            <p:txBody>
              <a:bodyPr wrap="none" rtlCol="0">
                <a:spAutoFit/>
              </a:bodyPr>
              <a:lstStyle/>
              <a:p>
                <a:pPr algn="ctr"/>
                <a:r>
                  <a:rPr lang="en-US" sz="1300" b="1" dirty="0">
                    <a:solidFill>
                      <a:schemeClr val="tx2"/>
                    </a:solidFill>
                    <a:latin typeface="Montserrat" panose="00000500000000000000" pitchFamily="50" charset="0"/>
                  </a:rPr>
                  <a:t>MANUFACTURING</a:t>
                </a:r>
              </a:p>
            </p:txBody>
          </p:sp>
          <p:sp>
            <p:nvSpPr>
              <p:cNvPr id="37" name="TextBox 36">
                <a:extLst>
                  <a:ext uri="{FF2B5EF4-FFF2-40B4-BE49-F238E27FC236}">
                    <a16:creationId xmlns:a16="http://schemas.microsoft.com/office/drawing/2014/main" id="{6BB8CC86-C53F-4535-B7C2-6BC4E3557C90}"/>
                  </a:ext>
                </a:extLst>
              </p:cNvPr>
              <p:cNvSpPr txBox="1"/>
              <p:nvPr/>
            </p:nvSpPr>
            <p:spPr>
              <a:xfrm>
                <a:off x="4926111" y="662261"/>
                <a:ext cx="2460878" cy="651460"/>
              </a:xfrm>
              <a:prstGeom prst="rect">
                <a:avLst/>
              </a:prstGeom>
              <a:noFill/>
            </p:spPr>
            <p:txBody>
              <a:bodyPr wrap="square" rtlCol="0">
                <a:spAutoFit/>
              </a:bodyPr>
              <a:lstStyle/>
              <a:p>
                <a:pPr algn="ctr">
                  <a:lnSpc>
                    <a:spcPts val="1500"/>
                  </a:lnSpc>
                </a:pPr>
                <a:r>
                  <a:rPr lang="en-US" sz="1000" dirty="0">
                    <a:solidFill>
                      <a:schemeClr val="tx1">
                        <a:lumMod val="75000"/>
                        <a:lumOff val="25000"/>
                      </a:schemeClr>
                    </a:solidFill>
                    <a:latin typeface="Montserrat" panose="00000500000000000000" pitchFamily="50" charset="0"/>
                  </a:rPr>
                  <a:t>Manufacturing Technology</a:t>
                </a:r>
              </a:p>
              <a:p>
                <a:pPr algn="ctr">
                  <a:lnSpc>
                    <a:spcPts val="1500"/>
                  </a:lnSpc>
                </a:pPr>
                <a:r>
                  <a:rPr lang="en-US" sz="1000" dirty="0">
                    <a:solidFill>
                      <a:schemeClr val="tx1">
                        <a:lumMod val="75000"/>
                        <a:lumOff val="25000"/>
                      </a:schemeClr>
                    </a:solidFill>
                    <a:latin typeface="Montserrat" panose="00000500000000000000" pitchFamily="50" charset="0"/>
                  </a:rPr>
                  <a:t>Manufacturing Process</a:t>
                </a:r>
              </a:p>
              <a:p>
                <a:pPr algn="ctr">
                  <a:lnSpc>
                    <a:spcPts val="1500"/>
                  </a:lnSpc>
                </a:pPr>
                <a:r>
                  <a:rPr lang="en-US" sz="1000" dirty="0">
                    <a:solidFill>
                      <a:schemeClr val="tx1">
                        <a:lumMod val="75000"/>
                        <a:lumOff val="25000"/>
                      </a:schemeClr>
                    </a:solidFill>
                    <a:latin typeface="Montserrat" panose="00000500000000000000" pitchFamily="50" charset="0"/>
                  </a:rPr>
                  <a:t>Supply Chain Management</a:t>
                </a:r>
              </a:p>
            </p:txBody>
          </p:sp>
        </p:grpSp>
        <p:grpSp>
          <p:nvGrpSpPr>
            <p:cNvPr id="42" name="Group 41">
              <a:extLst>
                <a:ext uri="{FF2B5EF4-FFF2-40B4-BE49-F238E27FC236}">
                  <a16:creationId xmlns:a16="http://schemas.microsoft.com/office/drawing/2014/main" id="{D3E5E480-D014-4E68-B5FE-27619A7B83AD}"/>
                </a:ext>
              </a:extLst>
            </p:cNvPr>
            <p:cNvGrpSpPr/>
            <p:nvPr/>
          </p:nvGrpSpPr>
          <p:grpSpPr>
            <a:xfrm>
              <a:off x="8244556" y="1829484"/>
              <a:ext cx="2787943" cy="937448"/>
              <a:chOff x="5345270" y="376273"/>
              <a:chExt cx="2787943" cy="937448"/>
            </a:xfrm>
          </p:grpSpPr>
          <p:sp>
            <p:nvSpPr>
              <p:cNvPr id="46" name="TextBox 45">
                <a:extLst>
                  <a:ext uri="{FF2B5EF4-FFF2-40B4-BE49-F238E27FC236}">
                    <a16:creationId xmlns:a16="http://schemas.microsoft.com/office/drawing/2014/main" id="{28E3F35D-65F2-4D42-8C03-5835F17602C1}"/>
                  </a:ext>
                </a:extLst>
              </p:cNvPr>
              <p:cNvSpPr txBox="1"/>
              <p:nvPr/>
            </p:nvSpPr>
            <p:spPr>
              <a:xfrm>
                <a:off x="5345270" y="376273"/>
                <a:ext cx="2787943" cy="292388"/>
              </a:xfrm>
              <a:prstGeom prst="rect">
                <a:avLst/>
              </a:prstGeom>
              <a:noFill/>
            </p:spPr>
            <p:txBody>
              <a:bodyPr wrap="none" rtlCol="0">
                <a:spAutoFit/>
              </a:bodyPr>
              <a:lstStyle/>
              <a:p>
                <a:r>
                  <a:rPr lang="en-US" sz="1300" b="1" dirty="0">
                    <a:solidFill>
                      <a:schemeClr val="tx2"/>
                    </a:solidFill>
                    <a:latin typeface="Montserrat" panose="00000500000000000000" pitchFamily="50" charset="0"/>
                  </a:rPr>
                  <a:t>ORGANIZATIONAL BEHAVIOR</a:t>
                </a:r>
              </a:p>
            </p:txBody>
          </p:sp>
          <p:sp>
            <p:nvSpPr>
              <p:cNvPr id="47" name="TextBox 46">
                <a:extLst>
                  <a:ext uri="{FF2B5EF4-FFF2-40B4-BE49-F238E27FC236}">
                    <a16:creationId xmlns:a16="http://schemas.microsoft.com/office/drawing/2014/main" id="{807A1DB6-0171-410B-B9B1-9FC23BE1CFD7}"/>
                  </a:ext>
                </a:extLst>
              </p:cNvPr>
              <p:cNvSpPr txBox="1"/>
              <p:nvPr/>
            </p:nvSpPr>
            <p:spPr>
              <a:xfrm>
                <a:off x="5345270" y="662261"/>
                <a:ext cx="2124757" cy="651460"/>
              </a:xfrm>
              <a:prstGeom prst="rect">
                <a:avLst/>
              </a:prstGeom>
              <a:noFill/>
            </p:spPr>
            <p:txBody>
              <a:bodyPr wrap="square" rtlCol="0">
                <a:spAutoFit/>
              </a:bodyPr>
              <a:lstStyle/>
              <a:p>
                <a:pPr>
                  <a:lnSpc>
                    <a:spcPts val="1500"/>
                  </a:lnSpc>
                </a:pPr>
                <a:r>
                  <a:rPr lang="en-US" sz="1000" dirty="0">
                    <a:solidFill>
                      <a:schemeClr val="tx1">
                        <a:lumMod val="75000"/>
                        <a:lumOff val="25000"/>
                      </a:schemeClr>
                    </a:solidFill>
                    <a:latin typeface="Montserrat" panose="00000500000000000000" pitchFamily="50" charset="0"/>
                  </a:rPr>
                  <a:t>Management &amp; Teams</a:t>
                </a:r>
              </a:p>
              <a:p>
                <a:pPr>
                  <a:lnSpc>
                    <a:spcPts val="1500"/>
                  </a:lnSpc>
                </a:pPr>
                <a:r>
                  <a:rPr lang="en-US" sz="1000" dirty="0">
                    <a:solidFill>
                      <a:schemeClr val="tx1">
                        <a:lumMod val="75000"/>
                        <a:lumOff val="25000"/>
                      </a:schemeClr>
                    </a:solidFill>
                    <a:latin typeface="Montserrat" panose="00000500000000000000" pitchFamily="50" charset="0"/>
                  </a:rPr>
                  <a:t>Human Resources</a:t>
                </a:r>
              </a:p>
              <a:p>
                <a:pPr>
                  <a:lnSpc>
                    <a:spcPts val="1500"/>
                  </a:lnSpc>
                </a:pPr>
                <a:r>
                  <a:rPr lang="en-US" sz="1000" dirty="0">
                    <a:solidFill>
                      <a:schemeClr val="tx1">
                        <a:lumMod val="75000"/>
                        <a:lumOff val="25000"/>
                      </a:schemeClr>
                    </a:solidFill>
                    <a:latin typeface="Montserrat" panose="00000500000000000000" pitchFamily="50" charset="0"/>
                  </a:rPr>
                  <a:t>Organizational Dynamics</a:t>
                </a:r>
              </a:p>
            </p:txBody>
          </p:sp>
        </p:grpSp>
        <p:grpSp>
          <p:nvGrpSpPr>
            <p:cNvPr id="43" name="Group 42">
              <a:extLst>
                <a:ext uri="{FF2B5EF4-FFF2-40B4-BE49-F238E27FC236}">
                  <a16:creationId xmlns:a16="http://schemas.microsoft.com/office/drawing/2014/main" id="{F8C82770-86A5-47AF-8318-574808BDA581}"/>
                </a:ext>
              </a:extLst>
            </p:cNvPr>
            <p:cNvGrpSpPr/>
            <p:nvPr/>
          </p:nvGrpSpPr>
          <p:grpSpPr>
            <a:xfrm flipH="1">
              <a:off x="1535129" y="1829484"/>
              <a:ext cx="2400017" cy="937448"/>
              <a:chOff x="5345270" y="376273"/>
              <a:chExt cx="2400017" cy="937448"/>
            </a:xfrm>
          </p:grpSpPr>
          <p:sp>
            <p:nvSpPr>
              <p:cNvPr id="44" name="TextBox 43">
                <a:extLst>
                  <a:ext uri="{FF2B5EF4-FFF2-40B4-BE49-F238E27FC236}">
                    <a16:creationId xmlns:a16="http://schemas.microsoft.com/office/drawing/2014/main" id="{F4DE7B47-5F20-416B-A6A0-DB1D5065D49A}"/>
                  </a:ext>
                </a:extLst>
              </p:cNvPr>
              <p:cNvSpPr txBox="1"/>
              <p:nvPr/>
            </p:nvSpPr>
            <p:spPr>
              <a:xfrm>
                <a:off x="5345270" y="376273"/>
                <a:ext cx="2400017" cy="292388"/>
              </a:xfrm>
              <a:prstGeom prst="rect">
                <a:avLst/>
              </a:prstGeom>
              <a:noFill/>
            </p:spPr>
            <p:txBody>
              <a:bodyPr wrap="none" rtlCol="0">
                <a:spAutoFit/>
              </a:bodyPr>
              <a:lstStyle/>
              <a:p>
                <a:pPr algn="r"/>
                <a:r>
                  <a:rPr lang="en-US" sz="1300" b="1" dirty="0">
                    <a:solidFill>
                      <a:schemeClr val="tx2"/>
                    </a:solidFill>
                    <a:latin typeface="Montserrat" panose="00000500000000000000" pitchFamily="50" charset="0"/>
                  </a:rPr>
                  <a:t>DESING &amp; INTERACTIVITY</a:t>
                </a:r>
              </a:p>
            </p:txBody>
          </p:sp>
          <p:sp>
            <p:nvSpPr>
              <p:cNvPr id="45" name="TextBox 44">
                <a:extLst>
                  <a:ext uri="{FF2B5EF4-FFF2-40B4-BE49-F238E27FC236}">
                    <a16:creationId xmlns:a16="http://schemas.microsoft.com/office/drawing/2014/main" id="{29196C48-2A61-4909-B00D-5C215FDF4F0F}"/>
                  </a:ext>
                </a:extLst>
              </p:cNvPr>
              <p:cNvSpPr txBox="1"/>
              <p:nvPr/>
            </p:nvSpPr>
            <p:spPr>
              <a:xfrm>
                <a:off x="5345270" y="662261"/>
                <a:ext cx="2124757" cy="651460"/>
              </a:xfrm>
              <a:prstGeom prst="rect">
                <a:avLst/>
              </a:prstGeom>
              <a:noFill/>
            </p:spPr>
            <p:txBody>
              <a:bodyPr wrap="square" rtlCol="0">
                <a:spAutoFit/>
              </a:bodyPr>
              <a:lstStyle/>
              <a:p>
                <a:pPr algn="r">
                  <a:lnSpc>
                    <a:spcPts val="1500"/>
                  </a:lnSpc>
                </a:pPr>
                <a:r>
                  <a:rPr lang="en-US" sz="1000" dirty="0">
                    <a:solidFill>
                      <a:schemeClr val="tx1">
                        <a:lumMod val="75000"/>
                        <a:lumOff val="25000"/>
                      </a:schemeClr>
                    </a:solidFill>
                    <a:latin typeface="Montserrat" panose="00000500000000000000" pitchFamily="50" charset="0"/>
                  </a:rPr>
                  <a:t>Human Computer Interaction</a:t>
                </a:r>
              </a:p>
              <a:p>
                <a:pPr algn="r">
                  <a:lnSpc>
                    <a:spcPts val="1500"/>
                  </a:lnSpc>
                </a:pPr>
                <a:r>
                  <a:rPr lang="en-US" sz="1000" dirty="0">
                    <a:solidFill>
                      <a:schemeClr val="tx1">
                        <a:lumMod val="75000"/>
                        <a:lumOff val="25000"/>
                      </a:schemeClr>
                    </a:solidFill>
                    <a:latin typeface="Montserrat" panose="00000500000000000000" pitchFamily="50" charset="0"/>
                  </a:rPr>
                  <a:t>Visual Thinking</a:t>
                </a:r>
              </a:p>
              <a:p>
                <a:pPr algn="r">
                  <a:lnSpc>
                    <a:spcPts val="1500"/>
                  </a:lnSpc>
                </a:pPr>
                <a:r>
                  <a:rPr lang="en-US" sz="1000" dirty="0">
                    <a:solidFill>
                      <a:schemeClr val="tx1">
                        <a:lumMod val="75000"/>
                        <a:lumOff val="25000"/>
                      </a:schemeClr>
                    </a:solidFill>
                    <a:latin typeface="Montserrat" panose="00000500000000000000" pitchFamily="50" charset="0"/>
                  </a:rPr>
                  <a:t>Design for Sustainability</a:t>
                </a:r>
              </a:p>
            </p:txBody>
          </p:sp>
        </p:grpSp>
        <p:grpSp>
          <p:nvGrpSpPr>
            <p:cNvPr id="7" name="Group 6">
              <a:extLst>
                <a:ext uri="{FF2B5EF4-FFF2-40B4-BE49-F238E27FC236}">
                  <a16:creationId xmlns:a16="http://schemas.microsoft.com/office/drawing/2014/main" id="{4FCA9E89-5EA1-4F1F-BC37-2979C98BA137}"/>
                </a:ext>
              </a:extLst>
            </p:cNvPr>
            <p:cNvGrpSpPr/>
            <p:nvPr/>
          </p:nvGrpSpPr>
          <p:grpSpPr>
            <a:xfrm>
              <a:off x="3949282" y="1389976"/>
              <a:ext cx="4293436" cy="4078048"/>
              <a:chOff x="3949282" y="1389976"/>
              <a:chExt cx="4293436" cy="4078048"/>
            </a:xfrm>
          </p:grpSpPr>
          <p:sp>
            <p:nvSpPr>
              <p:cNvPr id="54" name="Circle">
                <a:extLst>
                  <a:ext uri="{FF2B5EF4-FFF2-40B4-BE49-F238E27FC236}">
                    <a16:creationId xmlns:a16="http://schemas.microsoft.com/office/drawing/2014/main" id="{C9A13A0C-FA7C-49D1-9391-70F82D2116BA}"/>
                  </a:ext>
                </a:extLst>
              </p:cNvPr>
              <p:cNvSpPr/>
              <p:nvPr/>
            </p:nvSpPr>
            <p:spPr>
              <a:xfrm>
                <a:off x="3949282" y="2556166"/>
                <a:ext cx="2911861" cy="2911858"/>
              </a:xfrm>
              <a:prstGeom prst="ellipse">
                <a:avLst/>
              </a:prstGeom>
              <a:gradFill>
                <a:gsLst>
                  <a:gs pos="100000">
                    <a:schemeClr val="accent3">
                      <a:alpha val="75000"/>
                    </a:schemeClr>
                  </a:gs>
                  <a:gs pos="0">
                    <a:schemeClr val="accent3">
                      <a:alpha val="25000"/>
                    </a:schemeClr>
                  </a:gs>
                </a:gsLst>
                <a:lin ang="8100000" scaled="0"/>
              </a:gradFill>
              <a:ln w="25400" cap="flat">
                <a:no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56" name="Circle">
                <a:extLst>
                  <a:ext uri="{FF2B5EF4-FFF2-40B4-BE49-F238E27FC236}">
                    <a16:creationId xmlns:a16="http://schemas.microsoft.com/office/drawing/2014/main" id="{512A24F4-9BCA-43A2-8D92-6A273313B3CC}"/>
                  </a:ext>
                </a:extLst>
              </p:cNvPr>
              <p:cNvSpPr/>
              <p:nvPr/>
            </p:nvSpPr>
            <p:spPr>
              <a:xfrm>
                <a:off x="5330857" y="2556166"/>
                <a:ext cx="2911861" cy="2911858"/>
              </a:xfrm>
              <a:prstGeom prst="ellipse">
                <a:avLst/>
              </a:prstGeom>
              <a:gradFill>
                <a:gsLst>
                  <a:gs pos="100000">
                    <a:schemeClr val="accent4">
                      <a:alpha val="75000"/>
                    </a:schemeClr>
                  </a:gs>
                  <a:gs pos="0">
                    <a:schemeClr val="accent4">
                      <a:alpha val="25000"/>
                    </a:schemeClr>
                  </a:gs>
                </a:gsLst>
                <a:lin ang="2700000" scaled="0"/>
              </a:gradFill>
              <a:ln w="25400" cap="flat">
                <a:no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52" name="Circle">
                <a:extLst>
                  <a:ext uri="{FF2B5EF4-FFF2-40B4-BE49-F238E27FC236}">
                    <a16:creationId xmlns:a16="http://schemas.microsoft.com/office/drawing/2014/main" id="{13E50CB7-801B-46D8-954D-922AA92F377E}"/>
                  </a:ext>
                </a:extLst>
              </p:cNvPr>
              <p:cNvSpPr/>
              <p:nvPr/>
            </p:nvSpPr>
            <p:spPr>
              <a:xfrm>
                <a:off x="4640070" y="1389976"/>
                <a:ext cx="2911861" cy="2911858"/>
              </a:xfrm>
              <a:prstGeom prst="ellipse">
                <a:avLst/>
              </a:prstGeom>
              <a:gradFill>
                <a:gsLst>
                  <a:gs pos="100000">
                    <a:schemeClr val="accent1">
                      <a:alpha val="65000"/>
                    </a:schemeClr>
                  </a:gs>
                  <a:gs pos="0">
                    <a:schemeClr val="accent1">
                      <a:alpha val="25000"/>
                    </a:schemeClr>
                  </a:gs>
                </a:gsLst>
                <a:lin ang="16200000" scaled="0"/>
              </a:gradFill>
              <a:ln w="25400" cap="flat">
                <a:no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74" name="Freeform: Shape 73">
                <a:extLst>
                  <a:ext uri="{FF2B5EF4-FFF2-40B4-BE49-F238E27FC236}">
                    <a16:creationId xmlns:a16="http://schemas.microsoft.com/office/drawing/2014/main" id="{BA24FCDA-93CF-4F2E-94A7-71FC23942DF2}"/>
                  </a:ext>
                </a:extLst>
              </p:cNvPr>
              <p:cNvSpPr/>
              <p:nvPr/>
            </p:nvSpPr>
            <p:spPr>
              <a:xfrm>
                <a:off x="4640069" y="2556166"/>
                <a:ext cx="1455931" cy="1528955"/>
              </a:xfrm>
              <a:custGeom>
                <a:avLst/>
                <a:gdLst>
                  <a:gd name="connsiteX0" fmla="*/ 834642 w 1588176"/>
                  <a:gd name="connsiteY0" fmla="*/ 0 h 1667834"/>
                  <a:gd name="connsiteX1" fmla="*/ 1452832 w 1588176"/>
                  <a:gd name="connsiteY1" fmla="*/ 124807 h 1667834"/>
                  <a:gd name="connsiteX2" fmla="*/ 1588176 w 1588176"/>
                  <a:gd name="connsiteY2" fmla="*/ 190005 h 1667834"/>
                  <a:gd name="connsiteX3" fmla="*/ 1584690 w 1588176"/>
                  <a:gd name="connsiteY3" fmla="*/ 191684 h 1667834"/>
                  <a:gd name="connsiteX4" fmla="*/ 753533 w 1588176"/>
                  <a:gd name="connsiteY4" fmla="*/ 1588175 h 1667834"/>
                  <a:gd name="connsiteX5" fmla="*/ 757556 w 1588176"/>
                  <a:gd name="connsiteY5" fmla="*/ 1667834 h 1667834"/>
                  <a:gd name="connsiteX6" fmla="*/ 700212 w 1588176"/>
                  <a:gd name="connsiteY6" fmla="*/ 1632997 h 1667834"/>
                  <a:gd name="connsiteX7" fmla="*/ 0 w 1588176"/>
                  <a:gd name="connsiteY7" fmla="*/ 316057 h 1667834"/>
                  <a:gd name="connsiteX8" fmla="*/ 4023 w 1588176"/>
                  <a:gd name="connsiteY8" fmla="*/ 236397 h 1667834"/>
                  <a:gd name="connsiteX9" fmla="*/ 77623 w 1588176"/>
                  <a:gd name="connsiteY9" fmla="*/ 191684 h 1667834"/>
                  <a:gd name="connsiteX10" fmla="*/ 834642 w 1588176"/>
                  <a:gd name="connsiteY10" fmla="*/ 0 h 1667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8176" h="1667834">
                    <a:moveTo>
                      <a:pt x="834642" y="0"/>
                    </a:moveTo>
                    <a:cubicBezTo>
                      <a:pt x="1053923" y="0"/>
                      <a:pt x="1262825" y="44441"/>
                      <a:pt x="1452832" y="124807"/>
                    </a:cubicBezTo>
                    <a:lnTo>
                      <a:pt x="1588176" y="190005"/>
                    </a:lnTo>
                    <a:lnTo>
                      <a:pt x="1584690" y="191684"/>
                    </a:lnTo>
                    <a:cubicBezTo>
                      <a:pt x="1089616" y="460625"/>
                      <a:pt x="753533" y="985152"/>
                      <a:pt x="753533" y="1588175"/>
                    </a:cubicBezTo>
                    <a:lnTo>
                      <a:pt x="757556" y="1667834"/>
                    </a:lnTo>
                    <a:lnTo>
                      <a:pt x="700212" y="1632997"/>
                    </a:lnTo>
                    <a:cubicBezTo>
                      <a:pt x="277754" y="1347590"/>
                      <a:pt x="0" y="864260"/>
                      <a:pt x="0" y="316057"/>
                    </a:cubicBezTo>
                    <a:lnTo>
                      <a:pt x="4023" y="236397"/>
                    </a:lnTo>
                    <a:lnTo>
                      <a:pt x="77623" y="191684"/>
                    </a:lnTo>
                    <a:cubicBezTo>
                      <a:pt x="302657" y="69439"/>
                      <a:pt x="560540" y="0"/>
                      <a:pt x="834642" y="0"/>
                    </a:cubicBezTo>
                    <a:close/>
                  </a:path>
                </a:pathLst>
              </a:custGeom>
              <a:solidFill>
                <a:schemeClr val="tx1">
                  <a:alpha val="25000"/>
                </a:schemeClr>
              </a:solidFill>
              <a:ln w="25400" cap="flat">
                <a:solidFill>
                  <a:schemeClr val="bg1"/>
                </a:solidFill>
                <a:miter lim="400000"/>
              </a:ln>
              <a:effectLst>
                <a:outerShdw blurRad="266700" dist="63500" dir="2700000" algn="tl" rotWithShape="0">
                  <a:prstClr val="black">
                    <a:alpha val="25000"/>
                  </a:prstClr>
                </a:outerShdw>
              </a:effectLst>
            </p:spPr>
            <p:txBody>
              <a:bodyPr wrap="square" lIns="0" tIns="0" rIns="0" bIns="0" numCol="1" anchor="ctr">
                <a:noAutofit/>
              </a:bodyPr>
              <a:lstStyle/>
              <a:p>
                <a:pPr algn="ctr" defTabSz="412750" hangingPunct="0">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sp>
            <p:nvSpPr>
              <p:cNvPr id="73" name="Freeform: Shape 72">
                <a:extLst>
                  <a:ext uri="{FF2B5EF4-FFF2-40B4-BE49-F238E27FC236}">
                    <a16:creationId xmlns:a16="http://schemas.microsoft.com/office/drawing/2014/main" id="{D8D9FCC6-51AB-4FC1-B448-C4A2F2E91420}"/>
                  </a:ext>
                </a:extLst>
              </p:cNvPr>
              <p:cNvSpPr/>
              <p:nvPr/>
            </p:nvSpPr>
            <p:spPr>
              <a:xfrm>
                <a:off x="6096000" y="2556167"/>
                <a:ext cx="1455931" cy="1528956"/>
              </a:xfrm>
              <a:custGeom>
                <a:avLst/>
                <a:gdLst>
                  <a:gd name="connsiteX0" fmla="*/ 753533 w 1588176"/>
                  <a:gd name="connsiteY0" fmla="*/ 0 h 1667835"/>
                  <a:gd name="connsiteX1" fmla="*/ 1510552 w 1588176"/>
                  <a:gd name="connsiteY1" fmla="*/ 191684 h 1667835"/>
                  <a:gd name="connsiteX2" fmla="*/ 1584153 w 1588176"/>
                  <a:gd name="connsiteY2" fmla="*/ 236398 h 1667835"/>
                  <a:gd name="connsiteX3" fmla="*/ 1588176 w 1588176"/>
                  <a:gd name="connsiteY3" fmla="*/ 316057 h 1667835"/>
                  <a:gd name="connsiteX4" fmla="*/ 887964 w 1588176"/>
                  <a:gd name="connsiteY4" fmla="*/ 1632997 h 1667835"/>
                  <a:gd name="connsiteX5" fmla="*/ 830619 w 1588176"/>
                  <a:gd name="connsiteY5" fmla="*/ 1667835 h 1667835"/>
                  <a:gd name="connsiteX6" fmla="*/ 834642 w 1588176"/>
                  <a:gd name="connsiteY6" fmla="*/ 1588175 h 1667835"/>
                  <a:gd name="connsiteX7" fmla="*/ 3485 w 1588176"/>
                  <a:gd name="connsiteY7" fmla="*/ 191684 h 1667835"/>
                  <a:gd name="connsiteX8" fmla="*/ 0 w 1588176"/>
                  <a:gd name="connsiteY8" fmla="*/ 190005 h 1667835"/>
                  <a:gd name="connsiteX9" fmla="*/ 135343 w 1588176"/>
                  <a:gd name="connsiteY9" fmla="*/ 124807 h 1667835"/>
                  <a:gd name="connsiteX10" fmla="*/ 753533 w 1588176"/>
                  <a:gd name="connsiteY10" fmla="*/ 0 h 166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8176" h="1667835">
                    <a:moveTo>
                      <a:pt x="753533" y="0"/>
                    </a:moveTo>
                    <a:cubicBezTo>
                      <a:pt x="1027635" y="0"/>
                      <a:pt x="1285518" y="69439"/>
                      <a:pt x="1510552" y="191684"/>
                    </a:cubicBezTo>
                    <a:lnTo>
                      <a:pt x="1584153" y="236398"/>
                    </a:lnTo>
                    <a:lnTo>
                      <a:pt x="1588176" y="316057"/>
                    </a:lnTo>
                    <a:cubicBezTo>
                      <a:pt x="1588176" y="864260"/>
                      <a:pt x="1310422" y="1347590"/>
                      <a:pt x="887964" y="1632997"/>
                    </a:cubicBezTo>
                    <a:lnTo>
                      <a:pt x="830619" y="1667835"/>
                    </a:lnTo>
                    <a:lnTo>
                      <a:pt x="834642" y="1588175"/>
                    </a:lnTo>
                    <a:cubicBezTo>
                      <a:pt x="834642" y="985152"/>
                      <a:pt x="498559" y="460625"/>
                      <a:pt x="3485" y="191684"/>
                    </a:cubicBezTo>
                    <a:lnTo>
                      <a:pt x="0" y="190005"/>
                    </a:lnTo>
                    <a:lnTo>
                      <a:pt x="135343" y="124807"/>
                    </a:lnTo>
                    <a:cubicBezTo>
                      <a:pt x="325350" y="44441"/>
                      <a:pt x="534252" y="0"/>
                      <a:pt x="753533" y="0"/>
                    </a:cubicBezTo>
                    <a:close/>
                  </a:path>
                </a:pathLst>
              </a:custGeom>
              <a:solidFill>
                <a:schemeClr val="tx1">
                  <a:alpha val="25000"/>
                </a:schemeClr>
              </a:solidFill>
              <a:ln w="25400" cap="flat">
                <a:solidFill>
                  <a:schemeClr val="bg1"/>
                </a:solidFill>
                <a:miter lim="400000"/>
              </a:ln>
              <a:effectLst>
                <a:outerShdw blurRad="266700" dist="63500" dir="2700000" algn="tl" rotWithShape="0">
                  <a:prstClr val="black">
                    <a:alpha val="25000"/>
                  </a:prstClr>
                </a:outerShdw>
              </a:effectLst>
            </p:spPr>
            <p:txBody>
              <a:bodyPr wrap="square" lIns="0" tIns="0" rIns="0" bIns="0" numCol="1" anchor="ctr">
                <a:noAutofit/>
              </a:bodyPr>
              <a:lstStyle/>
              <a:p>
                <a:pPr algn="ctr" defTabSz="412750" hangingPunct="0">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sp>
            <p:nvSpPr>
              <p:cNvPr id="72" name="Freeform: Shape 71">
                <a:extLst>
                  <a:ext uri="{FF2B5EF4-FFF2-40B4-BE49-F238E27FC236}">
                    <a16:creationId xmlns:a16="http://schemas.microsoft.com/office/drawing/2014/main" id="{F3A49E79-FF5F-4195-BC54-071C1C151EBF}"/>
                  </a:ext>
                </a:extLst>
              </p:cNvPr>
              <p:cNvSpPr/>
              <p:nvPr/>
            </p:nvSpPr>
            <p:spPr>
              <a:xfrm>
                <a:off x="5334545" y="4085122"/>
                <a:ext cx="1522910" cy="1208720"/>
              </a:xfrm>
              <a:custGeom>
                <a:avLst/>
                <a:gdLst>
                  <a:gd name="connsiteX0" fmla="*/ 0 w 1661239"/>
                  <a:gd name="connsiteY0" fmla="*/ 0 h 1318511"/>
                  <a:gd name="connsiteX1" fmla="*/ 73601 w 1661239"/>
                  <a:gd name="connsiteY1" fmla="*/ 44714 h 1318511"/>
                  <a:gd name="connsiteX2" fmla="*/ 830620 w 1661239"/>
                  <a:gd name="connsiteY2" fmla="*/ 236398 h 1318511"/>
                  <a:gd name="connsiteX3" fmla="*/ 1587639 w 1661239"/>
                  <a:gd name="connsiteY3" fmla="*/ 44714 h 1318511"/>
                  <a:gd name="connsiteX4" fmla="*/ 1661239 w 1661239"/>
                  <a:gd name="connsiteY4" fmla="*/ 1 h 1318511"/>
                  <a:gd name="connsiteX5" fmla="*/ 1657062 w 1661239"/>
                  <a:gd name="connsiteY5" fmla="*/ 82723 h 1318511"/>
                  <a:gd name="connsiteX6" fmla="*/ 834105 w 1661239"/>
                  <a:gd name="connsiteY6" fmla="*/ 1316832 h 1318511"/>
                  <a:gd name="connsiteX7" fmla="*/ 830620 w 1661239"/>
                  <a:gd name="connsiteY7" fmla="*/ 1318511 h 1318511"/>
                  <a:gd name="connsiteX8" fmla="*/ 827134 w 1661239"/>
                  <a:gd name="connsiteY8" fmla="*/ 1316832 h 1318511"/>
                  <a:gd name="connsiteX9" fmla="*/ 4177 w 1661239"/>
                  <a:gd name="connsiteY9" fmla="*/ 82723 h 1318511"/>
                  <a:gd name="connsiteX10" fmla="*/ 0 w 1661239"/>
                  <a:gd name="connsiteY10" fmla="*/ 0 h 131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61239" h="1318511">
                    <a:moveTo>
                      <a:pt x="0" y="0"/>
                    </a:moveTo>
                    <a:lnTo>
                      <a:pt x="73601" y="44714"/>
                    </a:lnTo>
                    <a:cubicBezTo>
                      <a:pt x="298635" y="166960"/>
                      <a:pt x="556518" y="236398"/>
                      <a:pt x="830620" y="236398"/>
                    </a:cubicBezTo>
                    <a:cubicBezTo>
                      <a:pt x="1104722" y="236398"/>
                      <a:pt x="1362605" y="166960"/>
                      <a:pt x="1587639" y="44714"/>
                    </a:cubicBezTo>
                    <a:lnTo>
                      <a:pt x="1661239" y="1"/>
                    </a:lnTo>
                    <a:lnTo>
                      <a:pt x="1657062" y="82723"/>
                    </a:lnTo>
                    <a:cubicBezTo>
                      <a:pt x="1602842" y="616621"/>
                      <a:pt x="1284173" y="1072341"/>
                      <a:pt x="834105" y="1316832"/>
                    </a:cubicBezTo>
                    <a:lnTo>
                      <a:pt x="830620" y="1318511"/>
                    </a:lnTo>
                    <a:lnTo>
                      <a:pt x="827134" y="1316832"/>
                    </a:lnTo>
                    <a:cubicBezTo>
                      <a:pt x="377067" y="1072341"/>
                      <a:pt x="58397" y="616621"/>
                      <a:pt x="4177" y="82723"/>
                    </a:cubicBezTo>
                    <a:lnTo>
                      <a:pt x="0" y="0"/>
                    </a:lnTo>
                    <a:close/>
                  </a:path>
                </a:pathLst>
              </a:custGeom>
              <a:solidFill>
                <a:schemeClr val="tx1">
                  <a:alpha val="25000"/>
                </a:schemeClr>
              </a:solidFill>
              <a:ln w="25400" cap="flat">
                <a:solidFill>
                  <a:schemeClr val="bg1"/>
                </a:solidFill>
                <a:miter lim="400000"/>
              </a:ln>
              <a:effectLst>
                <a:outerShdw blurRad="266700" dist="63500" dir="2700000" algn="tl" rotWithShape="0">
                  <a:prstClr val="black">
                    <a:alpha val="25000"/>
                  </a:prstClr>
                </a:outerShdw>
              </a:effectLst>
            </p:spPr>
            <p:txBody>
              <a:bodyPr wrap="square" lIns="0" tIns="0" rIns="0" bIns="0" numCol="1" anchor="ctr">
                <a:noAutofit/>
              </a:bodyPr>
              <a:lstStyle/>
              <a:p>
                <a:pPr algn="ctr" defTabSz="412750" hangingPunct="0">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sp>
            <p:nvSpPr>
              <p:cNvPr id="70" name="Freeform: Shape 69">
                <a:extLst>
                  <a:ext uri="{FF2B5EF4-FFF2-40B4-BE49-F238E27FC236}">
                    <a16:creationId xmlns:a16="http://schemas.microsoft.com/office/drawing/2014/main" id="{83374CF1-1B10-4697-A0AD-FCC1A8A18C71}"/>
                  </a:ext>
                </a:extLst>
              </p:cNvPr>
              <p:cNvSpPr/>
              <p:nvPr/>
            </p:nvSpPr>
            <p:spPr>
              <a:xfrm>
                <a:off x="5330857" y="2730350"/>
                <a:ext cx="1530286" cy="1571485"/>
              </a:xfrm>
              <a:custGeom>
                <a:avLst/>
                <a:gdLst>
                  <a:gd name="connsiteX0" fmla="*/ 834643 w 1669285"/>
                  <a:gd name="connsiteY0" fmla="*/ 0 h 1714227"/>
                  <a:gd name="connsiteX1" fmla="*/ 838128 w 1669285"/>
                  <a:gd name="connsiteY1" fmla="*/ 1679 h 1714227"/>
                  <a:gd name="connsiteX2" fmla="*/ 1669285 w 1669285"/>
                  <a:gd name="connsiteY2" fmla="*/ 1398170 h 1714227"/>
                  <a:gd name="connsiteX3" fmla="*/ 1665262 w 1669285"/>
                  <a:gd name="connsiteY3" fmla="*/ 1477830 h 1714227"/>
                  <a:gd name="connsiteX4" fmla="*/ 1591662 w 1669285"/>
                  <a:gd name="connsiteY4" fmla="*/ 1522543 h 1714227"/>
                  <a:gd name="connsiteX5" fmla="*/ 834643 w 1669285"/>
                  <a:gd name="connsiteY5" fmla="*/ 1714227 h 1714227"/>
                  <a:gd name="connsiteX6" fmla="*/ 77624 w 1669285"/>
                  <a:gd name="connsiteY6" fmla="*/ 1522543 h 1714227"/>
                  <a:gd name="connsiteX7" fmla="*/ 4023 w 1669285"/>
                  <a:gd name="connsiteY7" fmla="*/ 1477829 h 1714227"/>
                  <a:gd name="connsiteX8" fmla="*/ 0 w 1669285"/>
                  <a:gd name="connsiteY8" fmla="*/ 1398170 h 1714227"/>
                  <a:gd name="connsiteX9" fmla="*/ 831157 w 1669285"/>
                  <a:gd name="connsiteY9" fmla="*/ 1679 h 1714227"/>
                  <a:gd name="connsiteX10" fmla="*/ 834643 w 1669285"/>
                  <a:gd name="connsiteY10" fmla="*/ 0 h 1714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69285" h="1714227">
                    <a:moveTo>
                      <a:pt x="834643" y="0"/>
                    </a:moveTo>
                    <a:lnTo>
                      <a:pt x="838128" y="1679"/>
                    </a:lnTo>
                    <a:cubicBezTo>
                      <a:pt x="1333202" y="270620"/>
                      <a:pt x="1669285" y="795147"/>
                      <a:pt x="1669285" y="1398170"/>
                    </a:cubicBezTo>
                    <a:lnTo>
                      <a:pt x="1665262" y="1477830"/>
                    </a:lnTo>
                    <a:lnTo>
                      <a:pt x="1591662" y="1522543"/>
                    </a:lnTo>
                    <a:cubicBezTo>
                      <a:pt x="1366628" y="1644789"/>
                      <a:pt x="1108745" y="1714227"/>
                      <a:pt x="834643" y="1714227"/>
                    </a:cubicBezTo>
                    <a:cubicBezTo>
                      <a:pt x="560541" y="1714227"/>
                      <a:pt x="302658" y="1644789"/>
                      <a:pt x="77624" y="1522543"/>
                    </a:cubicBezTo>
                    <a:lnTo>
                      <a:pt x="4023" y="1477829"/>
                    </a:lnTo>
                    <a:lnTo>
                      <a:pt x="0" y="1398170"/>
                    </a:lnTo>
                    <a:cubicBezTo>
                      <a:pt x="0" y="795147"/>
                      <a:pt x="336083" y="270620"/>
                      <a:pt x="831157" y="1679"/>
                    </a:cubicBezTo>
                    <a:lnTo>
                      <a:pt x="834643" y="0"/>
                    </a:lnTo>
                    <a:close/>
                  </a:path>
                </a:pathLst>
              </a:custGeom>
              <a:gradFill flip="none" rotWithShape="1">
                <a:gsLst>
                  <a:gs pos="55800">
                    <a:schemeClr val="accent3"/>
                  </a:gs>
                  <a:gs pos="100000">
                    <a:schemeClr val="accent4"/>
                  </a:gs>
                  <a:gs pos="0">
                    <a:schemeClr val="accent1"/>
                  </a:gs>
                </a:gsLst>
                <a:path path="circle">
                  <a:fillToRect r="100000" b="100000"/>
                </a:path>
                <a:tileRect l="-100000" t="-100000"/>
              </a:gradFill>
              <a:ln w="25400" cap="flat">
                <a:solidFill>
                  <a:schemeClr val="bg1"/>
                </a:solidFill>
                <a:miter lim="400000"/>
              </a:ln>
              <a:effectLst>
                <a:outerShdw blurRad="393700" dist="38100" dir="2700000" algn="tl" rotWithShape="0">
                  <a:schemeClr val="tx1">
                    <a:alpha val="25000"/>
                  </a:schemeClr>
                </a:outerShdw>
              </a:effectLst>
            </p:spPr>
            <p:txBody>
              <a:bodyPr wrap="square" lIns="0" tIns="274320" rIns="0" bIns="0" numCol="1" anchor="ctr">
                <a:noAutofit/>
              </a:bodyPr>
              <a:lstStyle/>
              <a:p>
                <a:pPr algn="ctr" defTabSz="412750" hangingPunct="0">
                  <a:defRPr sz="3200" b="0">
                    <a:solidFill>
                      <a:srgbClr val="FFFFFF"/>
                    </a:solidFill>
                    <a:latin typeface="+mn-lt"/>
                    <a:ea typeface="+mn-ea"/>
                    <a:cs typeface="+mn-cs"/>
                    <a:sym typeface="Helvetica Neue Medium"/>
                  </a:defRPr>
                </a:pPr>
                <a:r>
                  <a:rPr lang="en-US" sz="1400" b="1" kern="0" dirty="0">
                    <a:solidFill>
                      <a:srgbClr val="FFFFFF"/>
                    </a:solidFill>
                    <a:latin typeface="Montserrat" panose="00000500000000000000" pitchFamily="50" charset="0"/>
                    <a:ea typeface="Helvetica Neue Medium"/>
                    <a:cs typeface="Helvetica Neue Medium"/>
                    <a:sym typeface="Helvetica Neue Medium"/>
                  </a:rPr>
                  <a:t>DESIGN INNOVATION</a:t>
                </a:r>
                <a:endParaRPr sz="1400" b="1" kern="0" dirty="0">
                  <a:solidFill>
                    <a:srgbClr val="FFFFFF"/>
                  </a:solidFill>
                  <a:latin typeface="Montserrat" panose="00000500000000000000" pitchFamily="50" charset="0"/>
                  <a:ea typeface="Helvetica Neue Medium"/>
                  <a:cs typeface="Helvetica Neue Medium"/>
                  <a:sym typeface="Helvetica Neue Medium"/>
                </a:endParaRPr>
              </a:p>
            </p:txBody>
          </p:sp>
        </p:grpSp>
        <p:sp>
          <p:nvSpPr>
            <p:cNvPr id="9" name="TextBox 8">
              <a:extLst>
                <a:ext uri="{FF2B5EF4-FFF2-40B4-BE49-F238E27FC236}">
                  <a16:creationId xmlns:a16="http://schemas.microsoft.com/office/drawing/2014/main" id="{C699DDCD-8641-4B78-99A6-FE389497EE4B}"/>
                </a:ext>
              </a:extLst>
            </p:cNvPr>
            <p:cNvSpPr txBox="1"/>
            <p:nvPr/>
          </p:nvSpPr>
          <p:spPr>
            <a:xfrm>
              <a:off x="5295941" y="1723037"/>
              <a:ext cx="1600118" cy="526426"/>
            </a:xfrm>
            <a:prstGeom prst="rect">
              <a:avLst/>
            </a:prstGeom>
            <a:noFill/>
          </p:spPr>
          <p:txBody>
            <a:bodyPr wrap="none" rtlCol="0">
              <a:spAutoFit/>
            </a:bodyPr>
            <a:lstStyle/>
            <a:p>
              <a:pPr algn="ctr">
                <a:lnSpc>
                  <a:spcPts val="1800"/>
                </a:lnSpc>
              </a:pPr>
              <a:r>
                <a:rPr lang="en-US" sz="1200" b="1" dirty="0">
                  <a:solidFill>
                    <a:schemeClr val="bg1"/>
                  </a:solidFill>
                  <a:latin typeface="Montserrat" panose="00000500000000000000" pitchFamily="50" charset="0"/>
                </a:rPr>
                <a:t>HUMAN VALUES</a:t>
              </a:r>
            </a:p>
            <a:p>
              <a:pPr algn="ctr">
                <a:lnSpc>
                  <a:spcPts val="1800"/>
                </a:lnSpc>
              </a:pPr>
              <a:r>
                <a:rPr lang="en-US" sz="1000" dirty="0">
                  <a:solidFill>
                    <a:schemeClr val="bg1"/>
                  </a:solidFill>
                  <a:latin typeface="Montserrat" panose="00000500000000000000" pitchFamily="50" charset="0"/>
                </a:rPr>
                <a:t>(Usability, Desirability)</a:t>
              </a:r>
            </a:p>
          </p:txBody>
        </p:sp>
        <p:sp>
          <p:nvSpPr>
            <p:cNvPr id="20" name="TextBox 19">
              <a:extLst>
                <a:ext uri="{FF2B5EF4-FFF2-40B4-BE49-F238E27FC236}">
                  <a16:creationId xmlns:a16="http://schemas.microsoft.com/office/drawing/2014/main" id="{23AEF958-98C6-48BD-8F75-2D0C68116B9E}"/>
                </a:ext>
              </a:extLst>
            </p:cNvPr>
            <p:cNvSpPr txBox="1"/>
            <p:nvPr/>
          </p:nvSpPr>
          <p:spPr>
            <a:xfrm>
              <a:off x="7012930" y="4075487"/>
              <a:ext cx="994183" cy="526426"/>
            </a:xfrm>
            <a:prstGeom prst="rect">
              <a:avLst/>
            </a:prstGeom>
            <a:noFill/>
          </p:spPr>
          <p:txBody>
            <a:bodyPr wrap="none" rtlCol="0">
              <a:spAutoFit/>
            </a:bodyPr>
            <a:lstStyle/>
            <a:p>
              <a:pPr algn="r">
                <a:lnSpc>
                  <a:spcPts val="1800"/>
                </a:lnSpc>
              </a:pPr>
              <a:r>
                <a:rPr lang="en-US" sz="1200" b="1" dirty="0">
                  <a:solidFill>
                    <a:schemeClr val="bg1"/>
                  </a:solidFill>
                  <a:latin typeface="Montserrat" panose="00000500000000000000" pitchFamily="50" charset="0"/>
                </a:rPr>
                <a:t>BUSINESS</a:t>
              </a:r>
            </a:p>
            <a:p>
              <a:pPr algn="r">
                <a:lnSpc>
                  <a:spcPts val="1800"/>
                </a:lnSpc>
              </a:pPr>
              <a:r>
                <a:rPr lang="en-US" sz="1000" dirty="0">
                  <a:solidFill>
                    <a:schemeClr val="bg1"/>
                  </a:solidFill>
                  <a:latin typeface="Montserrat" panose="00000500000000000000" pitchFamily="50" charset="0"/>
                </a:rPr>
                <a:t>(Viability)</a:t>
              </a:r>
            </a:p>
          </p:txBody>
        </p:sp>
        <p:sp>
          <p:nvSpPr>
            <p:cNvPr id="21" name="TextBox 20">
              <a:extLst>
                <a:ext uri="{FF2B5EF4-FFF2-40B4-BE49-F238E27FC236}">
                  <a16:creationId xmlns:a16="http://schemas.microsoft.com/office/drawing/2014/main" id="{4E1B7E78-698C-4D4D-8E00-2D04D96C55E8}"/>
                </a:ext>
              </a:extLst>
            </p:cNvPr>
            <p:cNvSpPr txBox="1"/>
            <p:nvPr/>
          </p:nvSpPr>
          <p:spPr>
            <a:xfrm>
              <a:off x="4077449" y="4075487"/>
              <a:ext cx="1319592" cy="526426"/>
            </a:xfrm>
            <a:prstGeom prst="rect">
              <a:avLst/>
            </a:prstGeom>
            <a:noFill/>
          </p:spPr>
          <p:txBody>
            <a:bodyPr wrap="none" rtlCol="0">
              <a:spAutoFit/>
            </a:bodyPr>
            <a:lstStyle/>
            <a:p>
              <a:pPr>
                <a:lnSpc>
                  <a:spcPts val="1800"/>
                </a:lnSpc>
              </a:pPr>
              <a:r>
                <a:rPr lang="en-US" sz="1200" b="1" dirty="0">
                  <a:solidFill>
                    <a:schemeClr val="bg1"/>
                  </a:solidFill>
                  <a:latin typeface="Montserrat" panose="00000500000000000000" pitchFamily="50" charset="0"/>
                </a:rPr>
                <a:t>TECHNOLOGY</a:t>
              </a:r>
            </a:p>
            <a:p>
              <a:pPr>
                <a:lnSpc>
                  <a:spcPts val="1800"/>
                </a:lnSpc>
              </a:pPr>
              <a:r>
                <a:rPr lang="en-US" sz="1000" dirty="0">
                  <a:solidFill>
                    <a:schemeClr val="bg1"/>
                  </a:solidFill>
                  <a:latin typeface="Montserrat" panose="00000500000000000000" pitchFamily="50" charset="0"/>
                </a:rPr>
                <a:t>(Feasibility)</a:t>
              </a:r>
            </a:p>
          </p:txBody>
        </p:sp>
        <p:grpSp>
          <p:nvGrpSpPr>
            <p:cNvPr id="55" name="Group 54">
              <a:extLst>
                <a:ext uri="{FF2B5EF4-FFF2-40B4-BE49-F238E27FC236}">
                  <a16:creationId xmlns:a16="http://schemas.microsoft.com/office/drawing/2014/main" id="{30CE7019-A104-4001-BBA2-9A0C08534C32}"/>
                </a:ext>
              </a:extLst>
            </p:cNvPr>
            <p:cNvGrpSpPr/>
            <p:nvPr/>
          </p:nvGrpSpPr>
          <p:grpSpPr>
            <a:xfrm>
              <a:off x="6876406" y="2484256"/>
              <a:ext cx="1238146" cy="703417"/>
              <a:chOff x="6778760" y="2910626"/>
              <a:chExt cx="1085211" cy="616532"/>
            </a:xfrm>
          </p:grpSpPr>
          <p:grpSp>
            <p:nvGrpSpPr>
              <p:cNvPr id="50" name="Group 49">
                <a:extLst>
                  <a:ext uri="{FF2B5EF4-FFF2-40B4-BE49-F238E27FC236}">
                    <a16:creationId xmlns:a16="http://schemas.microsoft.com/office/drawing/2014/main" id="{16563D95-73F7-42E4-8EA8-29C120D36E52}"/>
                  </a:ext>
                </a:extLst>
              </p:cNvPr>
              <p:cNvGrpSpPr/>
              <p:nvPr/>
            </p:nvGrpSpPr>
            <p:grpSpPr>
              <a:xfrm>
                <a:off x="6778760" y="3270118"/>
                <a:ext cx="257040" cy="257040"/>
                <a:chOff x="6764693" y="3300480"/>
                <a:chExt cx="257040" cy="257040"/>
              </a:xfrm>
            </p:grpSpPr>
            <p:sp>
              <p:nvSpPr>
                <p:cNvPr id="49" name="Oval 48">
                  <a:extLst>
                    <a:ext uri="{FF2B5EF4-FFF2-40B4-BE49-F238E27FC236}">
                      <a16:creationId xmlns:a16="http://schemas.microsoft.com/office/drawing/2014/main" id="{19FF5C92-4EA2-42A1-AC44-A86E7D657418}"/>
                    </a:ext>
                  </a:extLst>
                </p:cNvPr>
                <p:cNvSpPr/>
                <p:nvPr/>
              </p:nvSpPr>
              <p:spPr>
                <a:xfrm>
                  <a:off x="6764693" y="3300480"/>
                  <a:ext cx="257040" cy="257040"/>
                </a:xfrm>
                <a:prstGeom prst="ellipse">
                  <a:avLst/>
                </a:prstGeom>
                <a:no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54ABBD56-E307-4B8F-82FA-AC8456E224E0}"/>
                    </a:ext>
                  </a:extLst>
                </p:cNvPr>
                <p:cNvSpPr/>
                <p:nvPr/>
              </p:nvSpPr>
              <p:spPr>
                <a:xfrm>
                  <a:off x="6842530" y="3378317"/>
                  <a:ext cx="101366" cy="10136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53" name="Straight Connector 52">
                <a:extLst>
                  <a:ext uri="{FF2B5EF4-FFF2-40B4-BE49-F238E27FC236}">
                    <a16:creationId xmlns:a16="http://schemas.microsoft.com/office/drawing/2014/main" id="{59EA6828-6AD2-4F9B-BA4D-562808842CC4}"/>
                  </a:ext>
                </a:extLst>
              </p:cNvPr>
              <p:cNvCxnSpPr>
                <a:cxnSpLocks/>
              </p:cNvCxnSpPr>
              <p:nvPr/>
            </p:nvCxnSpPr>
            <p:spPr>
              <a:xfrm flipH="1">
                <a:off x="7023391" y="2910626"/>
                <a:ext cx="840580" cy="432582"/>
              </a:xfrm>
              <a:prstGeom prst="line">
                <a:avLst/>
              </a:prstGeom>
              <a:noFill/>
              <a:ln w="12700" cap="rnd">
                <a:solidFill>
                  <a:schemeClr val="tx2">
                    <a:lumMod val="20000"/>
                    <a:lumOff val="80000"/>
                  </a:schemeClr>
                </a:solidFill>
                <a:head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57" name="Group 56">
              <a:extLst>
                <a:ext uri="{FF2B5EF4-FFF2-40B4-BE49-F238E27FC236}">
                  <a16:creationId xmlns:a16="http://schemas.microsoft.com/office/drawing/2014/main" id="{7A57F1B3-8F59-4BAA-842E-25F169616E4F}"/>
                </a:ext>
              </a:extLst>
            </p:cNvPr>
            <p:cNvGrpSpPr/>
            <p:nvPr/>
          </p:nvGrpSpPr>
          <p:grpSpPr>
            <a:xfrm flipH="1">
              <a:off x="4077450" y="2484256"/>
              <a:ext cx="1238146" cy="703417"/>
              <a:chOff x="6778760" y="2910626"/>
              <a:chExt cx="1085211" cy="616532"/>
            </a:xfrm>
          </p:grpSpPr>
          <p:grpSp>
            <p:nvGrpSpPr>
              <p:cNvPr id="58" name="Group 57">
                <a:extLst>
                  <a:ext uri="{FF2B5EF4-FFF2-40B4-BE49-F238E27FC236}">
                    <a16:creationId xmlns:a16="http://schemas.microsoft.com/office/drawing/2014/main" id="{7048D7A6-B6EA-4F1F-A694-BB54995D6F85}"/>
                  </a:ext>
                </a:extLst>
              </p:cNvPr>
              <p:cNvGrpSpPr/>
              <p:nvPr/>
            </p:nvGrpSpPr>
            <p:grpSpPr>
              <a:xfrm>
                <a:off x="6778760" y="3270118"/>
                <a:ext cx="257040" cy="257040"/>
                <a:chOff x="6764693" y="3300480"/>
                <a:chExt cx="257040" cy="257040"/>
              </a:xfrm>
            </p:grpSpPr>
            <p:sp>
              <p:nvSpPr>
                <p:cNvPr id="60" name="Oval 59">
                  <a:extLst>
                    <a:ext uri="{FF2B5EF4-FFF2-40B4-BE49-F238E27FC236}">
                      <a16:creationId xmlns:a16="http://schemas.microsoft.com/office/drawing/2014/main" id="{0B0FF6AD-F9F1-4C2B-BC22-E0E15D3E1BBF}"/>
                    </a:ext>
                  </a:extLst>
                </p:cNvPr>
                <p:cNvSpPr/>
                <p:nvPr/>
              </p:nvSpPr>
              <p:spPr>
                <a:xfrm>
                  <a:off x="6764693" y="3300480"/>
                  <a:ext cx="257040" cy="257040"/>
                </a:xfrm>
                <a:prstGeom prst="ellipse">
                  <a:avLst/>
                </a:prstGeom>
                <a:no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0FFD4176-D87B-43A1-B8BB-6DDC6C7F7A38}"/>
                    </a:ext>
                  </a:extLst>
                </p:cNvPr>
                <p:cNvSpPr/>
                <p:nvPr/>
              </p:nvSpPr>
              <p:spPr>
                <a:xfrm>
                  <a:off x="6842530" y="3378317"/>
                  <a:ext cx="101366" cy="10136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59" name="Straight Connector 58">
                <a:extLst>
                  <a:ext uri="{FF2B5EF4-FFF2-40B4-BE49-F238E27FC236}">
                    <a16:creationId xmlns:a16="http://schemas.microsoft.com/office/drawing/2014/main" id="{AF0B5A17-62EC-4A66-BB40-7E467C187260}"/>
                  </a:ext>
                </a:extLst>
              </p:cNvPr>
              <p:cNvCxnSpPr>
                <a:cxnSpLocks/>
              </p:cNvCxnSpPr>
              <p:nvPr/>
            </p:nvCxnSpPr>
            <p:spPr>
              <a:xfrm flipH="1">
                <a:off x="7023391" y="2910626"/>
                <a:ext cx="840580" cy="432582"/>
              </a:xfrm>
              <a:prstGeom prst="line">
                <a:avLst/>
              </a:prstGeom>
              <a:noFill/>
              <a:ln w="12700" cap="rnd">
                <a:solidFill>
                  <a:schemeClr val="tx2">
                    <a:lumMod val="20000"/>
                    <a:lumOff val="80000"/>
                  </a:schemeClr>
                </a:solidFill>
                <a:headEnd type="triangle"/>
              </a:ln>
            </p:spPr>
            <p:style>
              <a:lnRef idx="2">
                <a:schemeClr val="accent1">
                  <a:shade val="50000"/>
                </a:schemeClr>
              </a:lnRef>
              <a:fillRef idx="1">
                <a:schemeClr val="accent1"/>
              </a:fillRef>
              <a:effectRef idx="0">
                <a:schemeClr val="accent1"/>
              </a:effectRef>
              <a:fontRef idx="minor">
                <a:schemeClr val="lt1"/>
              </a:fontRef>
            </p:style>
          </p:cxnSp>
        </p:grpSp>
        <p:grpSp>
          <p:nvGrpSpPr>
            <p:cNvPr id="65" name="Group 64">
              <a:extLst>
                <a:ext uri="{FF2B5EF4-FFF2-40B4-BE49-F238E27FC236}">
                  <a16:creationId xmlns:a16="http://schemas.microsoft.com/office/drawing/2014/main" id="{8BD3C065-C2AF-4D3C-96CB-8B6CB697CD26}"/>
                </a:ext>
              </a:extLst>
            </p:cNvPr>
            <p:cNvGrpSpPr/>
            <p:nvPr/>
          </p:nvGrpSpPr>
          <p:grpSpPr>
            <a:xfrm flipH="1">
              <a:off x="5950796" y="4579434"/>
              <a:ext cx="293264" cy="293264"/>
              <a:chOff x="6764693" y="3300480"/>
              <a:chExt cx="257040" cy="257040"/>
            </a:xfrm>
          </p:grpSpPr>
          <p:sp>
            <p:nvSpPr>
              <p:cNvPr id="67" name="Oval 66">
                <a:extLst>
                  <a:ext uri="{FF2B5EF4-FFF2-40B4-BE49-F238E27FC236}">
                    <a16:creationId xmlns:a16="http://schemas.microsoft.com/office/drawing/2014/main" id="{DA6833D5-AAAC-4E04-AF8D-ACEA6A68FD64}"/>
                  </a:ext>
                </a:extLst>
              </p:cNvPr>
              <p:cNvSpPr/>
              <p:nvPr/>
            </p:nvSpPr>
            <p:spPr>
              <a:xfrm>
                <a:off x="6764693" y="3300480"/>
                <a:ext cx="257040" cy="257040"/>
              </a:xfrm>
              <a:prstGeom prst="ellipse">
                <a:avLst/>
              </a:prstGeom>
              <a:noFill/>
              <a:ln w="12700">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B142476F-4D92-42C9-BB19-158A721D340E}"/>
                  </a:ext>
                </a:extLst>
              </p:cNvPr>
              <p:cNvSpPr/>
              <p:nvPr/>
            </p:nvSpPr>
            <p:spPr>
              <a:xfrm>
                <a:off x="6842530" y="3378317"/>
                <a:ext cx="101366" cy="101366"/>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4096" name="Straight Connector 4095">
              <a:extLst>
                <a:ext uri="{FF2B5EF4-FFF2-40B4-BE49-F238E27FC236}">
                  <a16:creationId xmlns:a16="http://schemas.microsoft.com/office/drawing/2014/main" id="{9ACDDE0A-4BE1-41E9-8F90-8E0CE005F2E6}"/>
                </a:ext>
              </a:extLst>
            </p:cNvPr>
            <p:cNvCxnSpPr>
              <a:stCxn id="67" idx="4"/>
            </p:cNvCxnSpPr>
            <p:nvPr/>
          </p:nvCxnSpPr>
          <p:spPr>
            <a:xfrm flipH="1">
              <a:off x="6097425" y="4872698"/>
              <a:ext cx="2" cy="750488"/>
            </a:xfrm>
            <a:prstGeom prst="line">
              <a:avLst/>
            </a:prstGeom>
            <a:noFill/>
            <a:ln w="12700" cap="rnd">
              <a:solidFill>
                <a:schemeClr val="tx2">
                  <a:lumMod val="20000"/>
                  <a:lumOff val="80000"/>
                </a:schemeClr>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10888803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D02E5598-04A2-4204-B4C3-AD7163449452}"/>
              </a:ext>
            </a:extLst>
          </p:cNvPr>
          <p:cNvGrpSpPr/>
          <p:nvPr/>
        </p:nvGrpSpPr>
        <p:grpSpPr>
          <a:xfrm>
            <a:off x="1730636" y="1491576"/>
            <a:ext cx="8730729" cy="4823265"/>
            <a:chOff x="1730636" y="1389976"/>
            <a:chExt cx="8730729" cy="4823265"/>
          </a:xfrm>
        </p:grpSpPr>
        <p:grpSp>
          <p:nvGrpSpPr>
            <p:cNvPr id="16" name="Group 15">
              <a:extLst>
                <a:ext uri="{FF2B5EF4-FFF2-40B4-BE49-F238E27FC236}">
                  <a16:creationId xmlns:a16="http://schemas.microsoft.com/office/drawing/2014/main" id="{00527A6A-D459-4F3E-AF2D-FB387AD14856}"/>
                </a:ext>
              </a:extLst>
            </p:cNvPr>
            <p:cNvGrpSpPr/>
            <p:nvPr/>
          </p:nvGrpSpPr>
          <p:grpSpPr>
            <a:xfrm>
              <a:off x="3949282" y="1389976"/>
              <a:ext cx="4293436" cy="4078048"/>
              <a:chOff x="3804079" y="1389976"/>
              <a:chExt cx="4293436" cy="4078048"/>
            </a:xfrm>
          </p:grpSpPr>
          <p:grpSp>
            <p:nvGrpSpPr>
              <p:cNvPr id="2" name="Group 1">
                <a:extLst>
                  <a:ext uri="{FF2B5EF4-FFF2-40B4-BE49-F238E27FC236}">
                    <a16:creationId xmlns:a16="http://schemas.microsoft.com/office/drawing/2014/main" id="{D50261F2-D605-4617-A4F7-E557C7F16C49}"/>
                  </a:ext>
                </a:extLst>
              </p:cNvPr>
              <p:cNvGrpSpPr/>
              <p:nvPr/>
            </p:nvGrpSpPr>
            <p:grpSpPr>
              <a:xfrm>
                <a:off x="3804079" y="1389976"/>
                <a:ext cx="4293436" cy="4078048"/>
                <a:chOff x="3804079" y="1389976"/>
                <a:chExt cx="4293436" cy="4078048"/>
              </a:xfrm>
            </p:grpSpPr>
            <p:sp>
              <p:nvSpPr>
                <p:cNvPr id="9" name="Freeform: Shape 8">
                  <a:extLst>
                    <a:ext uri="{FF2B5EF4-FFF2-40B4-BE49-F238E27FC236}">
                      <a16:creationId xmlns:a16="http://schemas.microsoft.com/office/drawing/2014/main" id="{64A24889-73F3-4535-8266-126FD0F99193}"/>
                    </a:ext>
                  </a:extLst>
                </p:cNvPr>
                <p:cNvSpPr/>
                <p:nvPr/>
              </p:nvSpPr>
              <p:spPr>
                <a:xfrm>
                  <a:off x="5189342" y="2738901"/>
                  <a:ext cx="1522910" cy="1563910"/>
                </a:xfrm>
                <a:custGeom>
                  <a:avLst/>
                  <a:gdLst>
                    <a:gd name="connsiteX0" fmla="*/ 834643 w 1669285"/>
                    <a:gd name="connsiteY0" fmla="*/ 0 h 1714227"/>
                    <a:gd name="connsiteX1" fmla="*/ 838128 w 1669285"/>
                    <a:gd name="connsiteY1" fmla="*/ 1679 h 1714227"/>
                    <a:gd name="connsiteX2" fmla="*/ 1669285 w 1669285"/>
                    <a:gd name="connsiteY2" fmla="*/ 1398170 h 1714227"/>
                    <a:gd name="connsiteX3" fmla="*/ 1665262 w 1669285"/>
                    <a:gd name="connsiteY3" fmla="*/ 1477830 h 1714227"/>
                    <a:gd name="connsiteX4" fmla="*/ 1591662 w 1669285"/>
                    <a:gd name="connsiteY4" fmla="*/ 1522543 h 1714227"/>
                    <a:gd name="connsiteX5" fmla="*/ 834643 w 1669285"/>
                    <a:gd name="connsiteY5" fmla="*/ 1714227 h 1714227"/>
                    <a:gd name="connsiteX6" fmla="*/ 77624 w 1669285"/>
                    <a:gd name="connsiteY6" fmla="*/ 1522543 h 1714227"/>
                    <a:gd name="connsiteX7" fmla="*/ 4023 w 1669285"/>
                    <a:gd name="connsiteY7" fmla="*/ 1477829 h 1714227"/>
                    <a:gd name="connsiteX8" fmla="*/ 0 w 1669285"/>
                    <a:gd name="connsiteY8" fmla="*/ 1398170 h 1714227"/>
                    <a:gd name="connsiteX9" fmla="*/ 831157 w 1669285"/>
                    <a:gd name="connsiteY9" fmla="*/ 1679 h 1714227"/>
                    <a:gd name="connsiteX10" fmla="*/ 834643 w 1669285"/>
                    <a:gd name="connsiteY10" fmla="*/ 0 h 1714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69285" h="1714227">
                      <a:moveTo>
                        <a:pt x="834643" y="0"/>
                      </a:moveTo>
                      <a:lnTo>
                        <a:pt x="838128" y="1679"/>
                      </a:lnTo>
                      <a:cubicBezTo>
                        <a:pt x="1333202" y="270620"/>
                        <a:pt x="1669285" y="795147"/>
                        <a:pt x="1669285" y="1398170"/>
                      </a:cubicBezTo>
                      <a:lnTo>
                        <a:pt x="1665262" y="1477830"/>
                      </a:lnTo>
                      <a:lnTo>
                        <a:pt x="1591662" y="1522543"/>
                      </a:lnTo>
                      <a:cubicBezTo>
                        <a:pt x="1366628" y="1644789"/>
                        <a:pt x="1108745" y="1714227"/>
                        <a:pt x="834643" y="1714227"/>
                      </a:cubicBezTo>
                      <a:cubicBezTo>
                        <a:pt x="560541" y="1714227"/>
                        <a:pt x="302658" y="1644789"/>
                        <a:pt x="77624" y="1522543"/>
                      </a:cubicBezTo>
                      <a:lnTo>
                        <a:pt x="4023" y="1477829"/>
                      </a:lnTo>
                      <a:lnTo>
                        <a:pt x="0" y="1398170"/>
                      </a:lnTo>
                      <a:cubicBezTo>
                        <a:pt x="0" y="795147"/>
                        <a:pt x="336083" y="270620"/>
                        <a:pt x="831157" y="1679"/>
                      </a:cubicBezTo>
                      <a:lnTo>
                        <a:pt x="834643" y="0"/>
                      </a:lnTo>
                      <a:close/>
                    </a:path>
                  </a:pathLst>
                </a:custGeom>
                <a:gradFill flip="none" rotWithShape="1">
                  <a:gsLst>
                    <a:gs pos="55800">
                      <a:schemeClr val="accent3"/>
                    </a:gs>
                    <a:gs pos="100000">
                      <a:schemeClr val="accent4"/>
                    </a:gs>
                    <a:gs pos="0">
                      <a:schemeClr val="accent1"/>
                    </a:gs>
                  </a:gsLst>
                  <a:path path="circle">
                    <a:fillToRect r="100000" b="100000"/>
                  </a:path>
                  <a:tileRect l="-100000" t="-100000"/>
                </a:gradFill>
                <a:ln w="25400" cap="flat">
                  <a:noFill/>
                  <a:miter lim="400000"/>
                </a:ln>
                <a:effectLst/>
              </p:spPr>
              <p:txBody>
                <a:bodyPr wrap="square" lIns="0" tIns="274320" rIns="0" bIns="0" numCol="1" anchor="ctr">
                  <a:noAutofit/>
                </a:bodyPr>
                <a:lstStyle/>
                <a:p>
                  <a:pPr algn="ctr" defTabSz="412750" hangingPunct="0">
                    <a:defRPr sz="3200" b="0">
                      <a:solidFill>
                        <a:srgbClr val="FFFFFF"/>
                      </a:solidFill>
                      <a:latin typeface="+mn-lt"/>
                      <a:ea typeface="+mn-ea"/>
                      <a:cs typeface="+mn-cs"/>
                      <a:sym typeface="Helvetica Neue Medium"/>
                    </a:defRPr>
                  </a:pPr>
                  <a:endParaRPr sz="1400" b="1" kern="0" dirty="0">
                    <a:solidFill>
                      <a:srgbClr val="FFFFFF"/>
                    </a:solidFill>
                    <a:latin typeface="Montserrat" panose="00000500000000000000" pitchFamily="50" charset="0"/>
                    <a:ea typeface="Helvetica Neue Medium"/>
                    <a:cs typeface="Helvetica Neue Medium"/>
                    <a:sym typeface="Helvetica Neue Medium"/>
                  </a:endParaRPr>
                </a:p>
              </p:txBody>
            </p:sp>
            <p:sp>
              <p:nvSpPr>
                <p:cNvPr id="6" name="Freeform: Shape 5">
                  <a:extLst>
                    <a:ext uri="{FF2B5EF4-FFF2-40B4-BE49-F238E27FC236}">
                      <a16:creationId xmlns:a16="http://schemas.microsoft.com/office/drawing/2014/main" id="{7D68793F-A734-4B5F-9C44-32C61F111DE4}"/>
                    </a:ext>
                  </a:extLst>
                </p:cNvPr>
                <p:cNvSpPr/>
                <p:nvPr/>
              </p:nvSpPr>
              <p:spPr>
                <a:xfrm>
                  <a:off x="4494866" y="2556166"/>
                  <a:ext cx="1455931" cy="1528955"/>
                </a:xfrm>
                <a:custGeom>
                  <a:avLst/>
                  <a:gdLst>
                    <a:gd name="connsiteX0" fmla="*/ 834642 w 1588176"/>
                    <a:gd name="connsiteY0" fmla="*/ 0 h 1667834"/>
                    <a:gd name="connsiteX1" fmla="*/ 1452832 w 1588176"/>
                    <a:gd name="connsiteY1" fmla="*/ 124807 h 1667834"/>
                    <a:gd name="connsiteX2" fmla="*/ 1588176 w 1588176"/>
                    <a:gd name="connsiteY2" fmla="*/ 190005 h 1667834"/>
                    <a:gd name="connsiteX3" fmla="*/ 1584690 w 1588176"/>
                    <a:gd name="connsiteY3" fmla="*/ 191684 h 1667834"/>
                    <a:gd name="connsiteX4" fmla="*/ 753533 w 1588176"/>
                    <a:gd name="connsiteY4" fmla="*/ 1588175 h 1667834"/>
                    <a:gd name="connsiteX5" fmla="*/ 757556 w 1588176"/>
                    <a:gd name="connsiteY5" fmla="*/ 1667834 h 1667834"/>
                    <a:gd name="connsiteX6" fmla="*/ 700212 w 1588176"/>
                    <a:gd name="connsiteY6" fmla="*/ 1632997 h 1667834"/>
                    <a:gd name="connsiteX7" fmla="*/ 0 w 1588176"/>
                    <a:gd name="connsiteY7" fmla="*/ 316057 h 1667834"/>
                    <a:gd name="connsiteX8" fmla="*/ 4023 w 1588176"/>
                    <a:gd name="connsiteY8" fmla="*/ 236397 h 1667834"/>
                    <a:gd name="connsiteX9" fmla="*/ 77623 w 1588176"/>
                    <a:gd name="connsiteY9" fmla="*/ 191684 h 1667834"/>
                    <a:gd name="connsiteX10" fmla="*/ 834642 w 1588176"/>
                    <a:gd name="connsiteY10" fmla="*/ 0 h 1667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8176" h="1667834">
                      <a:moveTo>
                        <a:pt x="834642" y="0"/>
                      </a:moveTo>
                      <a:cubicBezTo>
                        <a:pt x="1053923" y="0"/>
                        <a:pt x="1262825" y="44441"/>
                        <a:pt x="1452832" y="124807"/>
                      </a:cubicBezTo>
                      <a:lnTo>
                        <a:pt x="1588176" y="190005"/>
                      </a:lnTo>
                      <a:lnTo>
                        <a:pt x="1584690" y="191684"/>
                      </a:lnTo>
                      <a:cubicBezTo>
                        <a:pt x="1089616" y="460625"/>
                        <a:pt x="753533" y="985152"/>
                        <a:pt x="753533" y="1588175"/>
                      </a:cubicBezTo>
                      <a:lnTo>
                        <a:pt x="757556" y="1667834"/>
                      </a:lnTo>
                      <a:lnTo>
                        <a:pt x="700212" y="1632997"/>
                      </a:lnTo>
                      <a:cubicBezTo>
                        <a:pt x="277754" y="1347590"/>
                        <a:pt x="0" y="864260"/>
                        <a:pt x="0" y="316057"/>
                      </a:cubicBezTo>
                      <a:lnTo>
                        <a:pt x="4023" y="236397"/>
                      </a:lnTo>
                      <a:lnTo>
                        <a:pt x="77623" y="191684"/>
                      </a:lnTo>
                      <a:cubicBezTo>
                        <a:pt x="302657" y="69439"/>
                        <a:pt x="560540" y="0"/>
                        <a:pt x="834642" y="0"/>
                      </a:cubicBezTo>
                      <a:close/>
                    </a:path>
                  </a:pathLst>
                </a:custGeom>
                <a:pattFill prst="ltDnDiag">
                  <a:fgClr>
                    <a:schemeClr val="accent3">
                      <a:lumMod val="60000"/>
                      <a:lumOff val="40000"/>
                    </a:schemeClr>
                  </a:fgClr>
                  <a:bgClr>
                    <a:schemeClr val="bg1"/>
                  </a:bgClr>
                </a:pattFill>
                <a:ln w="25400" cap="flat">
                  <a:noFill/>
                  <a:miter lim="400000"/>
                </a:ln>
                <a:effectLst/>
              </p:spPr>
              <p:txBody>
                <a:bodyPr wrap="square" lIns="0" tIns="0" rIns="0" bIns="0" numCol="1" anchor="ctr">
                  <a:noAutofit/>
                </a:bodyPr>
                <a:lstStyle/>
                <a:p>
                  <a:pPr algn="ctr" defTabSz="412750" hangingPunct="0">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sp>
              <p:nvSpPr>
                <p:cNvPr id="7" name="Freeform: Shape 6">
                  <a:extLst>
                    <a:ext uri="{FF2B5EF4-FFF2-40B4-BE49-F238E27FC236}">
                      <a16:creationId xmlns:a16="http://schemas.microsoft.com/office/drawing/2014/main" id="{8BE163FD-3495-4E17-A923-136B112465BD}"/>
                    </a:ext>
                  </a:extLst>
                </p:cNvPr>
                <p:cNvSpPr/>
                <p:nvPr/>
              </p:nvSpPr>
              <p:spPr>
                <a:xfrm>
                  <a:off x="5950797" y="2556167"/>
                  <a:ext cx="1455931" cy="1528956"/>
                </a:xfrm>
                <a:custGeom>
                  <a:avLst/>
                  <a:gdLst>
                    <a:gd name="connsiteX0" fmla="*/ 753533 w 1588176"/>
                    <a:gd name="connsiteY0" fmla="*/ 0 h 1667835"/>
                    <a:gd name="connsiteX1" fmla="*/ 1510552 w 1588176"/>
                    <a:gd name="connsiteY1" fmla="*/ 191684 h 1667835"/>
                    <a:gd name="connsiteX2" fmla="*/ 1584153 w 1588176"/>
                    <a:gd name="connsiteY2" fmla="*/ 236398 h 1667835"/>
                    <a:gd name="connsiteX3" fmla="*/ 1588176 w 1588176"/>
                    <a:gd name="connsiteY3" fmla="*/ 316057 h 1667835"/>
                    <a:gd name="connsiteX4" fmla="*/ 887964 w 1588176"/>
                    <a:gd name="connsiteY4" fmla="*/ 1632997 h 1667835"/>
                    <a:gd name="connsiteX5" fmla="*/ 830619 w 1588176"/>
                    <a:gd name="connsiteY5" fmla="*/ 1667835 h 1667835"/>
                    <a:gd name="connsiteX6" fmla="*/ 834642 w 1588176"/>
                    <a:gd name="connsiteY6" fmla="*/ 1588175 h 1667835"/>
                    <a:gd name="connsiteX7" fmla="*/ 3485 w 1588176"/>
                    <a:gd name="connsiteY7" fmla="*/ 191684 h 1667835"/>
                    <a:gd name="connsiteX8" fmla="*/ 0 w 1588176"/>
                    <a:gd name="connsiteY8" fmla="*/ 190005 h 1667835"/>
                    <a:gd name="connsiteX9" fmla="*/ 135343 w 1588176"/>
                    <a:gd name="connsiteY9" fmla="*/ 124807 h 1667835"/>
                    <a:gd name="connsiteX10" fmla="*/ 753533 w 1588176"/>
                    <a:gd name="connsiteY10" fmla="*/ 0 h 166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8176" h="1667835">
                      <a:moveTo>
                        <a:pt x="753533" y="0"/>
                      </a:moveTo>
                      <a:cubicBezTo>
                        <a:pt x="1027635" y="0"/>
                        <a:pt x="1285518" y="69439"/>
                        <a:pt x="1510552" y="191684"/>
                      </a:cubicBezTo>
                      <a:lnTo>
                        <a:pt x="1584153" y="236398"/>
                      </a:lnTo>
                      <a:lnTo>
                        <a:pt x="1588176" y="316057"/>
                      </a:lnTo>
                      <a:cubicBezTo>
                        <a:pt x="1588176" y="864260"/>
                        <a:pt x="1310422" y="1347590"/>
                        <a:pt x="887964" y="1632997"/>
                      </a:cubicBezTo>
                      <a:lnTo>
                        <a:pt x="830619" y="1667835"/>
                      </a:lnTo>
                      <a:lnTo>
                        <a:pt x="834642" y="1588175"/>
                      </a:lnTo>
                      <a:cubicBezTo>
                        <a:pt x="834642" y="985152"/>
                        <a:pt x="498559" y="460625"/>
                        <a:pt x="3485" y="191684"/>
                      </a:cubicBezTo>
                      <a:lnTo>
                        <a:pt x="0" y="190005"/>
                      </a:lnTo>
                      <a:lnTo>
                        <a:pt x="135343" y="124807"/>
                      </a:lnTo>
                      <a:cubicBezTo>
                        <a:pt x="325350" y="44441"/>
                        <a:pt x="534252" y="0"/>
                        <a:pt x="753533" y="0"/>
                      </a:cubicBezTo>
                      <a:close/>
                    </a:path>
                  </a:pathLst>
                </a:custGeom>
                <a:pattFill prst="ltUpDiag">
                  <a:fgClr>
                    <a:schemeClr val="accent2">
                      <a:lumMod val="50000"/>
                      <a:lumOff val="50000"/>
                    </a:schemeClr>
                  </a:fgClr>
                  <a:bgClr>
                    <a:schemeClr val="bg1"/>
                  </a:bgClr>
                </a:pattFill>
                <a:ln w="254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8" name="Freeform: Shape 7">
                  <a:extLst>
                    <a:ext uri="{FF2B5EF4-FFF2-40B4-BE49-F238E27FC236}">
                      <a16:creationId xmlns:a16="http://schemas.microsoft.com/office/drawing/2014/main" id="{812BF9E0-EE05-4419-B253-C18A44F94FCB}"/>
                    </a:ext>
                  </a:extLst>
                </p:cNvPr>
                <p:cNvSpPr/>
                <p:nvPr/>
              </p:nvSpPr>
              <p:spPr>
                <a:xfrm>
                  <a:off x="5189342" y="4085122"/>
                  <a:ext cx="1522910" cy="1208720"/>
                </a:xfrm>
                <a:custGeom>
                  <a:avLst/>
                  <a:gdLst>
                    <a:gd name="connsiteX0" fmla="*/ 0 w 1661239"/>
                    <a:gd name="connsiteY0" fmla="*/ 0 h 1318511"/>
                    <a:gd name="connsiteX1" fmla="*/ 73601 w 1661239"/>
                    <a:gd name="connsiteY1" fmla="*/ 44714 h 1318511"/>
                    <a:gd name="connsiteX2" fmla="*/ 830620 w 1661239"/>
                    <a:gd name="connsiteY2" fmla="*/ 236398 h 1318511"/>
                    <a:gd name="connsiteX3" fmla="*/ 1587639 w 1661239"/>
                    <a:gd name="connsiteY3" fmla="*/ 44714 h 1318511"/>
                    <a:gd name="connsiteX4" fmla="*/ 1661239 w 1661239"/>
                    <a:gd name="connsiteY4" fmla="*/ 1 h 1318511"/>
                    <a:gd name="connsiteX5" fmla="*/ 1657062 w 1661239"/>
                    <a:gd name="connsiteY5" fmla="*/ 82723 h 1318511"/>
                    <a:gd name="connsiteX6" fmla="*/ 834105 w 1661239"/>
                    <a:gd name="connsiteY6" fmla="*/ 1316832 h 1318511"/>
                    <a:gd name="connsiteX7" fmla="*/ 830620 w 1661239"/>
                    <a:gd name="connsiteY7" fmla="*/ 1318511 h 1318511"/>
                    <a:gd name="connsiteX8" fmla="*/ 827134 w 1661239"/>
                    <a:gd name="connsiteY8" fmla="*/ 1316832 h 1318511"/>
                    <a:gd name="connsiteX9" fmla="*/ 4177 w 1661239"/>
                    <a:gd name="connsiteY9" fmla="*/ 82723 h 1318511"/>
                    <a:gd name="connsiteX10" fmla="*/ 0 w 1661239"/>
                    <a:gd name="connsiteY10" fmla="*/ 0 h 131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61239" h="1318511">
                      <a:moveTo>
                        <a:pt x="0" y="0"/>
                      </a:moveTo>
                      <a:lnTo>
                        <a:pt x="73601" y="44714"/>
                      </a:lnTo>
                      <a:cubicBezTo>
                        <a:pt x="298635" y="166960"/>
                        <a:pt x="556518" y="236398"/>
                        <a:pt x="830620" y="236398"/>
                      </a:cubicBezTo>
                      <a:cubicBezTo>
                        <a:pt x="1104722" y="236398"/>
                        <a:pt x="1362605" y="166960"/>
                        <a:pt x="1587639" y="44714"/>
                      </a:cubicBezTo>
                      <a:lnTo>
                        <a:pt x="1661239" y="1"/>
                      </a:lnTo>
                      <a:lnTo>
                        <a:pt x="1657062" y="82723"/>
                      </a:lnTo>
                      <a:cubicBezTo>
                        <a:pt x="1602842" y="616621"/>
                        <a:pt x="1284173" y="1072341"/>
                        <a:pt x="834105" y="1316832"/>
                      </a:cubicBezTo>
                      <a:lnTo>
                        <a:pt x="830620" y="1318511"/>
                      </a:lnTo>
                      <a:lnTo>
                        <a:pt x="827134" y="1316832"/>
                      </a:lnTo>
                      <a:cubicBezTo>
                        <a:pt x="377067" y="1072341"/>
                        <a:pt x="58397" y="616621"/>
                        <a:pt x="4177" y="82723"/>
                      </a:cubicBezTo>
                      <a:lnTo>
                        <a:pt x="0" y="0"/>
                      </a:lnTo>
                      <a:close/>
                    </a:path>
                  </a:pathLst>
                </a:custGeom>
                <a:pattFill prst="ltVert">
                  <a:fgClr>
                    <a:schemeClr val="accent4">
                      <a:lumMod val="40000"/>
                      <a:lumOff val="60000"/>
                    </a:schemeClr>
                  </a:fgClr>
                  <a:bgClr>
                    <a:schemeClr val="bg1"/>
                  </a:bgClr>
                </a:pattFill>
                <a:ln w="254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3" name="Circle">
                  <a:extLst>
                    <a:ext uri="{FF2B5EF4-FFF2-40B4-BE49-F238E27FC236}">
                      <a16:creationId xmlns:a16="http://schemas.microsoft.com/office/drawing/2014/main" id="{915F6A7F-95E6-4A3A-ABE3-16C02635AFDF}"/>
                    </a:ext>
                  </a:extLst>
                </p:cNvPr>
                <p:cNvSpPr/>
                <p:nvPr/>
              </p:nvSpPr>
              <p:spPr>
                <a:xfrm>
                  <a:off x="4494867" y="1389976"/>
                  <a:ext cx="2911861" cy="2911858"/>
                </a:xfrm>
                <a:prstGeom prst="ellipse">
                  <a:avLst/>
                </a:prstGeom>
                <a:noFill/>
                <a:ln w="25400" cap="flat">
                  <a:solidFill>
                    <a:schemeClr val="accent1"/>
                  </a:solid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4" name="Circle">
                  <a:extLst>
                    <a:ext uri="{FF2B5EF4-FFF2-40B4-BE49-F238E27FC236}">
                      <a16:creationId xmlns:a16="http://schemas.microsoft.com/office/drawing/2014/main" id="{D9BEEF21-8A3F-40CA-82A5-6D015D398BE7}"/>
                    </a:ext>
                  </a:extLst>
                </p:cNvPr>
                <p:cNvSpPr/>
                <p:nvPr/>
              </p:nvSpPr>
              <p:spPr>
                <a:xfrm>
                  <a:off x="3804079" y="2556166"/>
                  <a:ext cx="2911861" cy="2911858"/>
                </a:xfrm>
                <a:prstGeom prst="ellipse">
                  <a:avLst/>
                </a:prstGeom>
                <a:noFill/>
                <a:ln w="25400" cap="flat">
                  <a:gradFill>
                    <a:gsLst>
                      <a:gs pos="100000">
                        <a:schemeClr val="accent3"/>
                      </a:gs>
                      <a:gs pos="0">
                        <a:schemeClr val="accent3">
                          <a:lumMod val="60000"/>
                          <a:lumOff val="40000"/>
                        </a:schemeClr>
                      </a:gs>
                    </a:gsLst>
                    <a:lin ang="8100000" scaled="0"/>
                  </a:grad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5" name="Circle">
                  <a:extLst>
                    <a:ext uri="{FF2B5EF4-FFF2-40B4-BE49-F238E27FC236}">
                      <a16:creationId xmlns:a16="http://schemas.microsoft.com/office/drawing/2014/main" id="{5F91C213-A5BD-40A5-A670-B72FE0571357}"/>
                    </a:ext>
                  </a:extLst>
                </p:cNvPr>
                <p:cNvSpPr/>
                <p:nvPr/>
              </p:nvSpPr>
              <p:spPr>
                <a:xfrm>
                  <a:off x="5185654" y="2556166"/>
                  <a:ext cx="2911861" cy="2911858"/>
                </a:xfrm>
                <a:prstGeom prst="ellipse">
                  <a:avLst/>
                </a:prstGeom>
                <a:noFill/>
                <a:ln w="25400" cap="flat">
                  <a:solidFill>
                    <a:schemeClr val="accent4"/>
                  </a:solidFill>
                  <a:prstDash val="solid"/>
                  <a:round/>
                </a:ln>
              </p:spPr>
              <p:txBody>
                <a:bodyPr wrap="square" rtlCol="0" anchor="ctr">
                  <a:noAutofit/>
                </a:bodyPr>
                <a:lstStyle/>
                <a:p>
                  <a:endParaRPr>
                    <a:latin typeface="Montserrat" panose="00000500000000000000" pitchFamily="50" charset="0"/>
                    <a:sym typeface="Helvetica Neue Medium"/>
                  </a:endParaRPr>
                </a:p>
              </p:txBody>
            </p:sp>
          </p:grpSp>
          <p:sp>
            <p:nvSpPr>
              <p:cNvPr id="10" name="TextBox 9">
                <a:extLst>
                  <a:ext uri="{FF2B5EF4-FFF2-40B4-BE49-F238E27FC236}">
                    <a16:creationId xmlns:a16="http://schemas.microsoft.com/office/drawing/2014/main" id="{DDAE80D2-FE8A-4D22-9894-A9A1E368BD64}"/>
                  </a:ext>
                </a:extLst>
              </p:cNvPr>
              <p:cNvSpPr txBox="1"/>
              <p:nvPr/>
            </p:nvSpPr>
            <p:spPr>
              <a:xfrm>
                <a:off x="5378143" y="1578635"/>
                <a:ext cx="1162498" cy="292388"/>
              </a:xfrm>
              <a:prstGeom prst="rect">
                <a:avLst/>
              </a:prstGeom>
              <a:noFill/>
            </p:spPr>
            <p:txBody>
              <a:bodyPr wrap="none" rtlCol="0" anchor="ctr" anchorCtr="0">
                <a:spAutoFit/>
              </a:bodyPr>
              <a:lstStyle/>
              <a:p>
                <a:pPr algn="ctr"/>
                <a:r>
                  <a:rPr lang="en-US" sz="1300" b="1" dirty="0">
                    <a:solidFill>
                      <a:schemeClr val="accent1"/>
                    </a:solidFill>
                    <a:latin typeface="Montserrat" panose="00000500000000000000" pitchFamily="50" charset="0"/>
                  </a:rPr>
                  <a:t>STRATEGIC</a:t>
                </a:r>
              </a:p>
            </p:txBody>
          </p:sp>
          <p:sp>
            <p:nvSpPr>
              <p:cNvPr id="12" name="TextBox 11">
                <a:extLst>
                  <a:ext uri="{FF2B5EF4-FFF2-40B4-BE49-F238E27FC236}">
                    <a16:creationId xmlns:a16="http://schemas.microsoft.com/office/drawing/2014/main" id="{930DFF20-A626-4636-ACB1-DA8F50C58B5A}"/>
                  </a:ext>
                </a:extLst>
              </p:cNvPr>
              <p:cNvSpPr txBox="1"/>
              <p:nvPr/>
            </p:nvSpPr>
            <p:spPr>
              <a:xfrm rot="17987279">
                <a:off x="5604192" y="3231625"/>
                <a:ext cx="2082162" cy="1560940"/>
              </a:xfrm>
              <a:prstGeom prst="rect">
                <a:avLst/>
              </a:prstGeom>
              <a:noFill/>
            </p:spPr>
            <p:txBody>
              <a:bodyPr wrap="none" rtlCol="0" anchor="ctr" anchorCtr="0">
                <a:prstTxWarp prst="textArchDown">
                  <a:avLst>
                    <a:gd name="adj" fmla="val 351390"/>
                  </a:avLst>
                </a:prstTxWarp>
                <a:spAutoFit/>
              </a:bodyPr>
              <a:lstStyle/>
              <a:p>
                <a:pPr algn="ctr"/>
                <a:r>
                  <a:rPr lang="en-US" sz="1300" b="1" dirty="0">
                    <a:solidFill>
                      <a:schemeClr val="accent4"/>
                    </a:solidFill>
                    <a:latin typeface="Montserrat" panose="00000500000000000000" pitchFamily="50" charset="0"/>
                  </a:rPr>
                  <a:t>BUSINESS</a:t>
                </a:r>
              </a:p>
              <a:p>
                <a:pPr algn="ctr"/>
                <a:r>
                  <a:rPr lang="en-US" sz="1300" b="1" dirty="0">
                    <a:solidFill>
                      <a:schemeClr val="accent4"/>
                    </a:solidFill>
                    <a:latin typeface="Montserrat" panose="00000500000000000000" pitchFamily="50" charset="0"/>
                  </a:rPr>
                  <a:t>REQUIREMENTS</a:t>
                </a:r>
              </a:p>
            </p:txBody>
          </p:sp>
          <p:sp>
            <p:nvSpPr>
              <p:cNvPr id="13" name="TextBox 12">
                <a:extLst>
                  <a:ext uri="{FF2B5EF4-FFF2-40B4-BE49-F238E27FC236}">
                    <a16:creationId xmlns:a16="http://schemas.microsoft.com/office/drawing/2014/main" id="{11318268-FFEB-4502-B1AE-973983D630C6}"/>
                  </a:ext>
                </a:extLst>
              </p:cNvPr>
              <p:cNvSpPr txBox="1"/>
              <p:nvPr/>
            </p:nvSpPr>
            <p:spPr>
              <a:xfrm rot="3593083">
                <a:off x="4205446" y="3231625"/>
                <a:ext cx="2109128" cy="1560940"/>
              </a:xfrm>
              <a:prstGeom prst="rect">
                <a:avLst/>
              </a:prstGeom>
              <a:noFill/>
            </p:spPr>
            <p:txBody>
              <a:bodyPr wrap="none" rtlCol="0" anchor="ctr" anchorCtr="0">
                <a:prstTxWarp prst="textArchDown">
                  <a:avLst>
                    <a:gd name="adj" fmla="val 412296"/>
                  </a:avLst>
                </a:prstTxWarp>
                <a:spAutoFit/>
              </a:bodyPr>
              <a:lstStyle/>
              <a:p>
                <a:pPr algn="ctr"/>
                <a:r>
                  <a:rPr lang="en-US" sz="1300" b="1" dirty="0">
                    <a:solidFill>
                      <a:schemeClr val="accent3"/>
                    </a:solidFill>
                    <a:latin typeface="Montserrat" panose="00000500000000000000" pitchFamily="50" charset="0"/>
                  </a:rPr>
                  <a:t>SOLUTION</a:t>
                </a:r>
                <a:br>
                  <a:rPr lang="en-US" sz="1300" b="1" dirty="0">
                    <a:solidFill>
                      <a:schemeClr val="accent3"/>
                    </a:solidFill>
                    <a:latin typeface="Montserrat" panose="00000500000000000000" pitchFamily="50" charset="0"/>
                  </a:rPr>
                </a:br>
                <a:r>
                  <a:rPr lang="en-US" sz="1300" b="1" dirty="0">
                    <a:solidFill>
                      <a:schemeClr val="accent3"/>
                    </a:solidFill>
                    <a:latin typeface="Montserrat" panose="00000500000000000000" pitchFamily="50" charset="0"/>
                  </a:rPr>
                  <a:t>REQUIREMENTS</a:t>
                </a:r>
              </a:p>
            </p:txBody>
          </p:sp>
        </p:grpSp>
        <p:sp>
          <p:nvSpPr>
            <p:cNvPr id="14" name="TextBox 13">
              <a:extLst>
                <a:ext uri="{FF2B5EF4-FFF2-40B4-BE49-F238E27FC236}">
                  <a16:creationId xmlns:a16="http://schemas.microsoft.com/office/drawing/2014/main" id="{995E2FA8-106E-4A1A-AB12-46480BE57682}"/>
                </a:ext>
              </a:extLst>
            </p:cNvPr>
            <p:cNvSpPr txBox="1"/>
            <p:nvPr/>
          </p:nvSpPr>
          <p:spPr>
            <a:xfrm flipH="1">
              <a:off x="1730636" y="3495203"/>
              <a:ext cx="1709422" cy="1613262"/>
            </a:xfrm>
            <a:prstGeom prst="rect">
              <a:avLst/>
            </a:prstGeom>
            <a:noFill/>
          </p:spPr>
          <p:txBody>
            <a:bodyPr wrap="square" rtlCol="0">
              <a:spAutoFit/>
            </a:bodyPr>
            <a:lstStyle/>
            <a:p>
              <a:pPr algn="r">
                <a:lnSpc>
                  <a:spcPts val="1500"/>
                </a:lnSpc>
              </a:pPr>
              <a:r>
                <a:rPr lang="en-US" sz="1000" dirty="0">
                  <a:solidFill>
                    <a:schemeClr val="accent3"/>
                  </a:solidFill>
                  <a:latin typeface="Montserrat" panose="00000500000000000000" pitchFamily="50" charset="0"/>
                </a:rPr>
                <a:t>Non-Functional Requirements</a:t>
              </a:r>
            </a:p>
            <a:p>
              <a:pPr algn="r">
                <a:lnSpc>
                  <a:spcPts val="1500"/>
                </a:lnSpc>
              </a:pPr>
              <a:r>
                <a:rPr lang="en-US" sz="1000" dirty="0">
                  <a:solidFill>
                    <a:schemeClr val="accent3"/>
                  </a:solidFill>
                  <a:latin typeface="Montserrat" panose="00000500000000000000" pitchFamily="50" charset="0"/>
                </a:rPr>
                <a:t>Story Boards</a:t>
              </a:r>
            </a:p>
            <a:p>
              <a:pPr algn="r">
                <a:lnSpc>
                  <a:spcPts val="1500"/>
                </a:lnSpc>
              </a:pPr>
              <a:r>
                <a:rPr lang="en-US" sz="1000" dirty="0">
                  <a:solidFill>
                    <a:schemeClr val="accent3"/>
                  </a:solidFill>
                  <a:latin typeface="Montserrat" panose="00000500000000000000" pitchFamily="50" charset="0"/>
                </a:rPr>
                <a:t>Use Case</a:t>
              </a:r>
            </a:p>
            <a:p>
              <a:pPr algn="r">
                <a:lnSpc>
                  <a:spcPts val="1500"/>
                </a:lnSpc>
              </a:pPr>
              <a:r>
                <a:rPr lang="en-US" sz="1000" dirty="0">
                  <a:solidFill>
                    <a:schemeClr val="accent3"/>
                  </a:solidFill>
                  <a:latin typeface="Montserrat" panose="00000500000000000000" pitchFamily="50" charset="0"/>
                </a:rPr>
                <a:t>State Modelling</a:t>
              </a:r>
            </a:p>
            <a:p>
              <a:pPr algn="r">
                <a:lnSpc>
                  <a:spcPts val="1500"/>
                </a:lnSpc>
              </a:pPr>
              <a:r>
                <a:rPr lang="en-US" sz="1000" dirty="0">
                  <a:solidFill>
                    <a:schemeClr val="accent3"/>
                  </a:solidFill>
                  <a:latin typeface="Montserrat" panose="00000500000000000000" pitchFamily="50" charset="0"/>
                </a:rPr>
                <a:t>User Stories</a:t>
              </a:r>
            </a:p>
            <a:p>
              <a:pPr algn="r">
                <a:lnSpc>
                  <a:spcPts val="1500"/>
                </a:lnSpc>
              </a:pPr>
              <a:r>
                <a:rPr lang="en-US" sz="1000" dirty="0">
                  <a:solidFill>
                    <a:schemeClr val="accent3"/>
                  </a:solidFill>
                  <a:latin typeface="Montserrat" panose="00000500000000000000" pitchFamily="50" charset="0"/>
                </a:rPr>
                <a:t>Data Dictionary</a:t>
              </a:r>
            </a:p>
            <a:p>
              <a:pPr algn="r">
                <a:lnSpc>
                  <a:spcPts val="1500"/>
                </a:lnSpc>
              </a:pPr>
              <a:r>
                <a:rPr lang="en-US" sz="1000" dirty="0">
                  <a:solidFill>
                    <a:schemeClr val="accent3"/>
                  </a:solidFill>
                  <a:latin typeface="Montserrat" panose="00000500000000000000" pitchFamily="50" charset="0"/>
                </a:rPr>
                <a:t>Data Flow Diagram</a:t>
              </a:r>
            </a:p>
          </p:txBody>
        </p:sp>
        <p:sp>
          <p:nvSpPr>
            <p:cNvPr id="15" name="TextBox 14">
              <a:extLst>
                <a:ext uri="{FF2B5EF4-FFF2-40B4-BE49-F238E27FC236}">
                  <a16:creationId xmlns:a16="http://schemas.microsoft.com/office/drawing/2014/main" id="{44890BFA-E998-415C-B39D-282C8D01BB5F}"/>
                </a:ext>
              </a:extLst>
            </p:cNvPr>
            <p:cNvSpPr txBox="1"/>
            <p:nvPr/>
          </p:nvSpPr>
          <p:spPr>
            <a:xfrm flipH="1">
              <a:off x="8751943" y="3495203"/>
              <a:ext cx="1709422" cy="1613262"/>
            </a:xfrm>
            <a:prstGeom prst="rect">
              <a:avLst/>
            </a:prstGeom>
            <a:noFill/>
          </p:spPr>
          <p:txBody>
            <a:bodyPr wrap="square" rtlCol="0">
              <a:spAutoFit/>
            </a:bodyPr>
            <a:lstStyle/>
            <a:p>
              <a:pPr>
                <a:lnSpc>
                  <a:spcPts val="1500"/>
                </a:lnSpc>
              </a:pPr>
              <a:r>
                <a:rPr lang="en-US" sz="1000" dirty="0">
                  <a:solidFill>
                    <a:schemeClr val="accent4"/>
                  </a:solidFill>
                  <a:latin typeface="Montserrat" panose="00000500000000000000" pitchFamily="50" charset="0"/>
                </a:rPr>
                <a:t>Decision Analysis Process Modelling</a:t>
              </a:r>
            </a:p>
            <a:p>
              <a:pPr>
                <a:lnSpc>
                  <a:spcPts val="1500"/>
                </a:lnSpc>
              </a:pPr>
              <a:r>
                <a:rPr lang="en-US" sz="1000" dirty="0">
                  <a:solidFill>
                    <a:schemeClr val="accent4"/>
                  </a:solidFill>
                  <a:latin typeface="Montserrat" panose="00000500000000000000" pitchFamily="50" charset="0"/>
                </a:rPr>
                <a:t>Workshops</a:t>
              </a:r>
            </a:p>
            <a:p>
              <a:pPr>
                <a:lnSpc>
                  <a:spcPts val="1500"/>
                </a:lnSpc>
              </a:pPr>
              <a:r>
                <a:rPr lang="en-US" sz="1000" dirty="0">
                  <a:solidFill>
                    <a:schemeClr val="accent4"/>
                  </a:solidFill>
                  <a:latin typeface="Montserrat" panose="00000500000000000000" pitchFamily="50" charset="0"/>
                </a:rPr>
                <a:t>Interviews</a:t>
              </a:r>
            </a:p>
            <a:p>
              <a:pPr>
                <a:lnSpc>
                  <a:spcPts val="1500"/>
                </a:lnSpc>
              </a:pPr>
              <a:r>
                <a:rPr lang="en-US" sz="1000" dirty="0">
                  <a:solidFill>
                    <a:schemeClr val="accent4"/>
                  </a:solidFill>
                  <a:latin typeface="Montserrat" panose="00000500000000000000" pitchFamily="50" charset="0"/>
                </a:rPr>
                <a:t>Document Analysis</a:t>
              </a:r>
            </a:p>
            <a:p>
              <a:pPr>
                <a:lnSpc>
                  <a:spcPts val="1500"/>
                </a:lnSpc>
              </a:pPr>
              <a:r>
                <a:rPr lang="en-US" sz="1000" dirty="0">
                  <a:solidFill>
                    <a:schemeClr val="accent4"/>
                  </a:solidFill>
                  <a:latin typeface="Montserrat" panose="00000500000000000000" pitchFamily="50" charset="0"/>
                </a:rPr>
                <a:t>Brainstorming</a:t>
              </a:r>
            </a:p>
            <a:p>
              <a:pPr>
                <a:lnSpc>
                  <a:spcPts val="1500"/>
                </a:lnSpc>
              </a:pPr>
              <a:r>
                <a:rPr lang="en-US" sz="1000" dirty="0">
                  <a:solidFill>
                    <a:schemeClr val="accent4"/>
                  </a:solidFill>
                  <a:latin typeface="Montserrat" panose="00000500000000000000" pitchFamily="50" charset="0"/>
                </a:rPr>
                <a:t>Mind Mapping</a:t>
              </a:r>
            </a:p>
            <a:p>
              <a:pPr>
                <a:lnSpc>
                  <a:spcPts val="1500"/>
                </a:lnSpc>
              </a:pPr>
              <a:r>
                <a:rPr lang="en-US" sz="1000" dirty="0">
                  <a:solidFill>
                    <a:schemeClr val="accent4"/>
                  </a:solidFill>
                  <a:latin typeface="Montserrat" panose="00000500000000000000" pitchFamily="50" charset="0"/>
                </a:rPr>
                <a:t>Risk Analysis</a:t>
              </a:r>
            </a:p>
          </p:txBody>
        </p:sp>
        <p:sp>
          <p:nvSpPr>
            <p:cNvPr id="18" name="TextBox 17">
              <a:extLst>
                <a:ext uri="{FF2B5EF4-FFF2-40B4-BE49-F238E27FC236}">
                  <a16:creationId xmlns:a16="http://schemas.microsoft.com/office/drawing/2014/main" id="{A2E7FBE1-C821-4D24-8FEA-AC6BAEF4E622}"/>
                </a:ext>
              </a:extLst>
            </p:cNvPr>
            <p:cNvSpPr txBox="1"/>
            <p:nvPr/>
          </p:nvSpPr>
          <p:spPr>
            <a:xfrm flipH="1">
              <a:off x="5241289" y="1826167"/>
              <a:ext cx="1709422" cy="651460"/>
            </a:xfrm>
            <a:prstGeom prst="rect">
              <a:avLst/>
            </a:prstGeom>
            <a:noFill/>
          </p:spPr>
          <p:txBody>
            <a:bodyPr wrap="square" rtlCol="0">
              <a:spAutoFit/>
            </a:bodyPr>
            <a:lstStyle/>
            <a:p>
              <a:pPr algn="ctr">
                <a:lnSpc>
                  <a:spcPts val="1500"/>
                </a:lnSpc>
              </a:pPr>
              <a:r>
                <a:rPr lang="en-US" sz="1000" dirty="0">
                  <a:solidFill>
                    <a:schemeClr val="accent1"/>
                  </a:solidFill>
                  <a:latin typeface="Montserrat" panose="00000500000000000000" pitchFamily="50" charset="0"/>
                </a:rPr>
                <a:t>Balanced Scorecard</a:t>
              </a:r>
            </a:p>
            <a:p>
              <a:pPr algn="ctr">
                <a:lnSpc>
                  <a:spcPts val="1500"/>
                </a:lnSpc>
              </a:pPr>
              <a:r>
                <a:rPr lang="en-US" sz="1000" dirty="0">
                  <a:solidFill>
                    <a:schemeClr val="accent1"/>
                  </a:solidFill>
                  <a:latin typeface="Montserrat" panose="00000500000000000000" pitchFamily="50" charset="0"/>
                </a:rPr>
                <a:t>Decision Modelling</a:t>
              </a:r>
            </a:p>
            <a:p>
              <a:pPr algn="ctr">
                <a:lnSpc>
                  <a:spcPts val="1500"/>
                </a:lnSpc>
              </a:pPr>
              <a:r>
                <a:rPr lang="en-US" sz="1000" dirty="0">
                  <a:solidFill>
                    <a:schemeClr val="accent1"/>
                  </a:solidFill>
                  <a:latin typeface="Montserrat" panose="00000500000000000000" pitchFamily="50" charset="0"/>
                </a:rPr>
                <a:t>Business Case</a:t>
              </a:r>
            </a:p>
          </p:txBody>
        </p:sp>
        <p:sp>
          <p:nvSpPr>
            <p:cNvPr id="19" name="TextBox 18">
              <a:extLst>
                <a:ext uri="{FF2B5EF4-FFF2-40B4-BE49-F238E27FC236}">
                  <a16:creationId xmlns:a16="http://schemas.microsoft.com/office/drawing/2014/main" id="{70A9D0EA-81A9-4702-B409-B17CEB8BC718}"/>
                </a:ext>
              </a:extLst>
            </p:cNvPr>
            <p:cNvSpPr txBox="1"/>
            <p:nvPr/>
          </p:nvSpPr>
          <p:spPr>
            <a:xfrm flipH="1">
              <a:off x="5241289" y="5754141"/>
              <a:ext cx="1709422" cy="459100"/>
            </a:xfrm>
            <a:prstGeom prst="rect">
              <a:avLst/>
            </a:prstGeom>
            <a:noFill/>
          </p:spPr>
          <p:txBody>
            <a:bodyPr wrap="square" rtlCol="0">
              <a:spAutoFit/>
            </a:bodyPr>
            <a:lstStyle/>
            <a:p>
              <a:pPr algn="ctr">
                <a:lnSpc>
                  <a:spcPts val="1500"/>
                </a:lnSpc>
              </a:pPr>
              <a:r>
                <a:rPr lang="en-US" sz="1000" dirty="0">
                  <a:latin typeface="Montserrat" panose="00000500000000000000" pitchFamily="50" charset="0"/>
                </a:rPr>
                <a:t>Data Modelling</a:t>
              </a:r>
            </a:p>
            <a:p>
              <a:pPr algn="ctr">
                <a:lnSpc>
                  <a:spcPts val="1500"/>
                </a:lnSpc>
              </a:pPr>
              <a:r>
                <a:rPr lang="en-US" sz="1000" dirty="0">
                  <a:latin typeface="Montserrat" panose="00000500000000000000" pitchFamily="50" charset="0"/>
                </a:rPr>
                <a:t>Business Rules Analysis</a:t>
              </a:r>
            </a:p>
          </p:txBody>
        </p:sp>
        <p:cxnSp>
          <p:nvCxnSpPr>
            <p:cNvPr id="20" name="Straight Arrow Connector 19">
              <a:extLst>
                <a:ext uri="{FF2B5EF4-FFF2-40B4-BE49-F238E27FC236}">
                  <a16:creationId xmlns:a16="http://schemas.microsoft.com/office/drawing/2014/main" id="{45A25588-53D8-4628-822E-63A367099BC9}"/>
                </a:ext>
              </a:extLst>
            </p:cNvPr>
            <p:cNvCxnSpPr>
              <a:cxnSpLocks/>
              <a:stCxn id="23" idx="4"/>
              <a:endCxn id="19" idx="0"/>
            </p:cNvCxnSpPr>
            <p:nvPr/>
          </p:nvCxnSpPr>
          <p:spPr>
            <a:xfrm flipH="1">
              <a:off x="6096000" y="4814905"/>
              <a:ext cx="1" cy="93923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7865C3F3-C66A-48B7-8FA9-4C74E7A5F4D4}"/>
                </a:ext>
              </a:extLst>
            </p:cNvPr>
            <p:cNvGrpSpPr/>
            <p:nvPr/>
          </p:nvGrpSpPr>
          <p:grpSpPr>
            <a:xfrm>
              <a:off x="5993679" y="4610262"/>
              <a:ext cx="204643" cy="204643"/>
              <a:chOff x="5920509" y="4516582"/>
              <a:chExt cx="204643" cy="204643"/>
            </a:xfrm>
          </p:grpSpPr>
          <p:sp>
            <p:nvSpPr>
              <p:cNvPr id="23" name="Oval 22">
                <a:extLst>
                  <a:ext uri="{FF2B5EF4-FFF2-40B4-BE49-F238E27FC236}">
                    <a16:creationId xmlns:a16="http://schemas.microsoft.com/office/drawing/2014/main" id="{DCE1596E-BFE9-411C-9ABD-DBBF5B14A154}"/>
                  </a:ext>
                </a:extLst>
              </p:cNvPr>
              <p:cNvSpPr/>
              <p:nvPr/>
            </p:nvSpPr>
            <p:spPr>
              <a:xfrm>
                <a:off x="5920509" y="4516582"/>
                <a:ext cx="204643" cy="204643"/>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2DBE7602-8E75-4655-942E-08AD0F83D9F1}"/>
                  </a:ext>
                </a:extLst>
              </p:cNvPr>
              <p:cNvSpPr/>
              <p:nvPr/>
            </p:nvSpPr>
            <p:spPr>
              <a:xfrm>
                <a:off x="5987760" y="4583835"/>
                <a:ext cx="70140" cy="70138"/>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6" name="Group 35">
              <a:extLst>
                <a:ext uri="{FF2B5EF4-FFF2-40B4-BE49-F238E27FC236}">
                  <a16:creationId xmlns:a16="http://schemas.microsoft.com/office/drawing/2014/main" id="{B1E8C3EE-59B4-49FD-93BD-0A7E343A040A}"/>
                </a:ext>
              </a:extLst>
            </p:cNvPr>
            <p:cNvGrpSpPr/>
            <p:nvPr/>
          </p:nvGrpSpPr>
          <p:grpSpPr>
            <a:xfrm>
              <a:off x="6921572" y="2123434"/>
              <a:ext cx="3295640" cy="1032091"/>
              <a:chOff x="6921572" y="2123434"/>
              <a:chExt cx="3295640" cy="1032091"/>
            </a:xfrm>
          </p:grpSpPr>
          <p:sp>
            <p:nvSpPr>
              <p:cNvPr id="28" name="TextBox 27">
                <a:extLst>
                  <a:ext uri="{FF2B5EF4-FFF2-40B4-BE49-F238E27FC236}">
                    <a16:creationId xmlns:a16="http://schemas.microsoft.com/office/drawing/2014/main" id="{7F24819A-6BD8-430A-99D8-E9890D085ED7}"/>
                  </a:ext>
                </a:extLst>
              </p:cNvPr>
              <p:cNvSpPr txBox="1"/>
              <p:nvPr/>
            </p:nvSpPr>
            <p:spPr>
              <a:xfrm flipH="1">
                <a:off x="8507790" y="2123434"/>
                <a:ext cx="1709422" cy="266740"/>
              </a:xfrm>
              <a:prstGeom prst="rect">
                <a:avLst/>
              </a:prstGeom>
              <a:noFill/>
            </p:spPr>
            <p:txBody>
              <a:bodyPr wrap="square" rtlCol="0">
                <a:spAutoFit/>
              </a:bodyPr>
              <a:lstStyle/>
              <a:p>
                <a:pPr>
                  <a:lnSpc>
                    <a:spcPts val="1500"/>
                  </a:lnSpc>
                </a:pPr>
                <a:r>
                  <a:rPr lang="en-US" sz="1000" dirty="0">
                    <a:latin typeface="Montserrat" panose="00000500000000000000" pitchFamily="50" charset="0"/>
                  </a:rPr>
                  <a:t>Data Mining</a:t>
                </a:r>
              </a:p>
            </p:txBody>
          </p:sp>
          <p:cxnSp>
            <p:nvCxnSpPr>
              <p:cNvPr id="29" name="Straight Arrow Connector 28">
                <a:extLst>
                  <a:ext uri="{FF2B5EF4-FFF2-40B4-BE49-F238E27FC236}">
                    <a16:creationId xmlns:a16="http://schemas.microsoft.com/office/drawing/2014/main" id="{DB05D449-D873-4104-B1DE-828930A98902}"/>
                  </a:ext>
                </a:extLst>
              </p:cNvPr>
              <p:cNvCxnSpPr>
                <a:cxnSpLocks/>
              </p:cNvCxnSpPr>
              <p:nvPr/>
            </p:nvCxnSpPr>
            <p:spPr>
              <a:xfrm flipV="1">
                <a:off x="7126215" y="2390174"/>
                <a:ext cx="1116503" cy="62796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AD1FE3E0-DF77-4628-9762-A08A93B44F2C}"/>
                  </a:ext>
                </a:extLst>
              </p:cNvPr>
              <p:cNvGrpSpPr/>
              <p:nvPr/>
            </p:nvGrpSpPr>
            <p:grpSpPr>
              <a:xfrm>
                <a:off x="6921572" y="2950882"/>
                <a:ext cx="204643" cy="204643"/>
                <a:chOff x="5920509" y="4516582"/>
                <a:chExt cx="204643" cy="204643"/>
              </a:xfrm>
            </p:grpSpPr>
            <p:sp>
              <p:nvSpPr>
                <p:cNvPr id="31" name="Oval 30">
                  <a:extLst>
                    <a:ext uri="{FF2B5EF4-FFF2-40B4-BE49-F238E27FC236}">
                      <a16:creationId xmlns:a16="http://schemas.microsoft.com/office/drawing/2014/main" id="{E982AB19-1FC6-4017-BB01-038CDB295B68}"/>
                    </a:ext>
                  </a:extLst>
                </p:cNvPr>
                <p:cNvSpPr/>
                <p:nvPr/>
              </p:nvSpPr>
              <p:spPr>
                <a:xfrm>
                  <a:off x="5920509" y="4516582"/>
                  <a:ext cx="204643" cy="204643"/>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38276CDE-910A-4858-8117-0E47880BD4F4}"/>
                    </a:ext>
                  </a:extLst>
                </p:cNvPr>
                <p:cNvSpPr/>
                <p:nvPr/>
              </p:nvSpPr>
              <p:spPr>
                <a:xfrm>
                  <a:off x="5987760" y="4583835"/>
                  <a:ext cx="70140" cy="70138"/>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38" name="Group 37">
              <a:extLst>
                <a:ext uri="{FF2B5EF4-FFF2-40B4-BE49-F238E27FC236}">
                  <a16:creationId xmlns:a16="http://schemas.microsoft.com/office/drawing/2014/main" id="{BB58B27E-4BDE-48C1-B02C-6C9866931B28}"/>
                </a:ext>
              </a:extLst>
            </p:cNvPr>
            <p:cNvGrpSpPr/>
            <p:nvPr/>
          </p:nvGrpSpPr>
          <p:grpSpPr>
            <a:xfrm flipH="1">
              <a:off x="1838842" y="2123434"/>
              <a:ext cx="3406581" cy="1032091"/>
              <a:chOff x="6921572" y="2123434"/>
              <a:chExt cx="3406581" cy="1032091"/>
            </a:xfrm>
          </p:grpSpPr>
          <p:sp>
            <p:nvSpPr>
              <p:cNvPr id="39" name="TextBox 38">
                <a:extLst>
                  <a:ext uri="{FF2B5EF4-FFF2-40B4-BE49-F238E27FC236}">
                    <a16:creationId xmlns:a16="http://schemas.microsoft.com/office/drawing/2014/main" id="{751C52F3-51F6-40C2-9BE7-D4B10203E4EF}"/>
                  </a:ext>
                </a:extLst>
              </p:cNvPr>
              <p:cNvSpPr txBox="1"/>
              <p:nvPr/>
            </p:nvSpPr>
            <p:spPr>
              <a:xfrm flipH="1">
                <a:off x="8507790" y="2123434"/>
                <a:ext cx="1820363" cy="651460"/>
              </a:xfrm>
              <a:prstGeom prst="rect">
                <a:avLst/>
              </a:prstGeom>
              <a:noFill/>
            </p:spPr>
            <p:txBody>
              <a:bodyPr wrap="square" rtlCol="0">
                <a:spAutoFit/>
              </a:bodyPr>
              <a:lstStyle/>
              <a:p>
                <a:pPr algn="r">
                  <a:lnSpc>
                    <a:spcPts val="1500"/>
                  </a:lnSpc>
                </a:pPr>
                <a:r>
                  <a:rPr lang="en-US" sz="1000" dirty="0">
                    <a:latin typeface="Montserrat" panose="00000500000000000000" pitchFamily="50" charset="0"/>
                  </a:rPr>
                  <a:t>Business Model Canvas</a:t>
                </a:r>
              </a:p>
              <a:p>
                <a:pPr algn="r">
                  <a:lnSpc>
                    <a:spcPts val="1500"/>
                  </a:lnSpc>
                </a:pPr>
                <a:r>
                  <a:rPr lang="en-US" sz="1000" dirty="0">
                    <a:latin typeface="Montserrat" panose="00000500000000000000" pitchFamily="50" charset="0"/>
                  </a:rPr>
                  <a:t>Organizational Modelling</a:t>
                </a:r>
              </a:p>
              <a:p>
                <a:pPr algn="r">
                  <a:lnSpc>
                    <a:spcPts val="1500"/>
                  </a:lnSpc>
                </a:pPr>
                <a:r>
                  <a:rPr lang="en-US" sz="1000" dirty="0">
                    <a:latin typeface="Montserrat" panose="00000500000000000000" pitchFamily="50" charset="0"/>
                  </a:rPr>
                  <a:t>Target Operating Model</a:t>
                </a:r>
              </a:p>
            </p:txBody>
          </p:sp>
          <p:cxnSp>
            <p:nvCxnSpPr>
              <p:cNvPr id="40" name="Straight Arrow Connector 39">
                <a:extLst>
                  <a:ext uri="{FF2B5EF4-FFF2-40B4-BE49-F238E27FC236}">
                    <a16:creationId xmlns:a16="http://schemas.microsoft.com/office/drawing/2014/main" id="{88BE9D78-9F06-42A6-9A4E-D2F0140D861B}"/>
                  </a:ext>
                </a:extLst>
              </p:cNvPr>
              <p:cNvCxnSpPr>
                <a:cxnSpLocks/>
              </p:cNvCxnSpPr>
              <p:nvPr/>
            </p:nvCxnSpPr>
            <p:spPr>
              <a:xfrm flipV="1">
                <a:off x="7126215" y="2390174"/>
                <a:ext cx="1116503" cy="62796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58C974FC-4812-4D19-9EAC-AA7E2F76DAD9}"/>
                  </a:ext>
                </a:extLst>
              </p:cNvPr>
              <p:cNvGrpSpPr/>
              <p:nvPr/>
            </p:nvGrpSpPr>
            <p:grpSpPr>
              <a:xfrm>
                <a:off x="6921572" y="2950882"/>
                <a:ext cx="204643" cy="204643"/>
                <a:chOff x="5920509" y="4516582"/>
                <a:chExt cx="204643" cy="204643"/>
              </a:xfrm>
            </p:grpSpPr>
            <p:sp>
              <p:nvSpPr>
                <p:cNvPr id="42" name="Oval 41">
                  <a:extLst>
                    <a:ext uri="{FF2B5EF4-FFF2-40B4-BE49-F238E27FC236}">
                      <a16:creationId xmlns:a16="http://schemas.microsoft.com/office/drawing/2014/main" id="{F20E1B1F-802C-47A4-A285-45F15AB01687}"/>
                    </a:ext>
                  </a:extLst>
                </p:cNvPr>
                <p:cNvSpPr/>
                <p:nvPr/>
              </p:nvSpPr>
              <p:spPr>
                <a:xfrm>
                  <a:off x="5920509" y="4516582"/>
                  <a:ext cx="204643" cy="204643"/>
                </a:xfrm>
                <a:prstGeom prst="ellipse">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CDABC831-15DE-43B1-86B7-E891E36EFC5C}"/>
                    </a:ext>
                  </a:extLst>
                </p:cNvPr>
                <p:cNvSpPr/>
                <p:nvPr/>
              </p:nvSpPr>
              <p:spPr>
                <a:xfrm>
                  <a:off x="5987760" y="4583835"/>
                  <a:ext cx="70140" cy="70138"/>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45" name="TextBox 44">
            <a:extLst>
              <a:ext uri="{FF2B5EF4-FFF2-40B4-BE49-F238E27FC236}">
                <a16:creationId xmlns:a16="http://schemas.microsoft.com/office/drawing/2014/main" id="{47CA968C-1AA6-41EF-B80E-FF4F5FE3D937}"/>
              </a:ext>
            </a:extLst>
          </p:cNvPr>
          <p:cNvSpPr txBox="1"/>
          <p:nvPr/>
        </p:nvSpPr>
        <p:spPr>
          <a:xfrm>
            <a:off x="1161143" y="463787"/>
            <a:ext cx="9869714" cy="553998"/>
          </a:xfrm>
          <a:prstGeom prst="rect">
            <a:avLst/>
          </a:prstGeom>
          <a:noFill/>
        </p:spPr>
        <p:txBody>
          <a:bodyPr wrap="square" rtlCol="0">
            <a:spAutoFit/>
          </a:bodyPr>
          <a:lstStyle/>
          <a:p>
            <a:pPr algn="ctr"/>
            <a:r>
              <a:rPr lang="en-US" sz="3000" b="1" dirty="0">
                <a:solidFill>
                  <a:schemeClr val="tx2">
                    <a:lumMod val="40000"/>
                    <a:lumOff val="60000"/>
                  </a:schemeClr>
                </a:solidFill>
                <a:latin typeface="Montserrat" panose="00000500000000000000" pitchFamily="50" charset="0"/>
              </a:rPr>
              <a:t>ANALYTICS &amp; SOLUTION VENN DIAGRAM</a:t>
            </a:r>
          </a:p>
        </p:txBody>
      </p:sp>
    </p:spTree>
    <p:extLst>
      <p:ext uri="{BB962C8B-B14F-4D97-AF65-F5344CB8AC3E}">
        <p14:creationId xmlns:p14="http://schemas.microsoft.com/office/powerpoint/2010/main" val="40740193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Freeform: Shape 77">
            <a:extLst>
              <a:ext uri="{FF2B5EF4-FFF2-40B4-BE49-F238E27FC236}">
                <a16:creationId xmlns:a16="http://schemas.microsoft.com/office/drawing/2014/main" id="{80DAC919-D51B-47D1-A724-A7E521321886}"/>
              </a:ext>
            </a:extLst>
          </p:cNvPr>
          <p:cNvSpPr/>
          <p:nvPr/>
        </p:nvSpPr>
        <p:spPr>
          <a:xfrm>
            <a:off x="1528078" y="942390"/>
            <a:ext cx="3178784" cy="3441493"/>
          </a:xfrm>
          <a:custGeom>
            <a:avLst/>
            <a:gdLst>
              <a:gd name="connsiteX0" fmla="*/ 0 w 2305050"/>
              <a:gd name="connsiteY0" fmla="*/ 887016 h 2495550"/>
              <a:gd name="connsiteX1" fmla="*/ 0 w 2305050"/>
              <a:gd name="connsiteY1" fmla="*/ 1613773 h 2495550"/>
              <a:gd name="connsiteX2" fmla="*/ 261842 w 2305050"/>
              <a:gd name="connsiteY2" fmla="*/ 2067258 h 2495550"/>
              <a:gd name="connsiteX3" fmla="*/ 891254 w 2305050"/>
              <a:gd name="connsiteY3" fmla="*/ 2430637 h 2495550"/>
              <a:gd name="connsiteX4" fmla="*/ 1414939 w 2305050"/>
              <a:gd name="connsiteY4" fmla="*/ 2430637 h 2495550"/>
              <a:gd name="connsiteX5" fmla="*/ 2044351 w 2305050"/>
              <a:gd name="connsiteY5" fmla="*/ 2067258 h 2495550"/>
              <a:gd name="connsiteX6" fmla="*/ 2306193 w 2305050"/>
              <a:gd name="connsiteY6" fmla="*/ 1613773 h 2495550"/>
              <a:gd name="connsiteX7" fmla="*/ 2306193 w 2305050"/>
              <a:gd name="connsiteY7" fmla="*/ 887016 h 2495550"/>
              <a:gd name="connsiteX8" fmla="*/ 2044351 w 2305050"/>
              <a:gd name="connsiteY8" fmla="*/ 433530 h 2495550"/>
              <a:gd name="connsiteX9" fmla="*/ 1414939 w 2305050"/>
              <a:gd name="connsiteY9" fmla="*/ 70152 h 2495550"/>
              <a:gd name="connsiteX10" fmla="*/ 891254 w 2305050"/>
              <a:gd name="connsiteY10" fmla="*/ 70152 h 2495550"/>
              <a:gd name="connsiteX11" fmla="*/ 261842 w 2305050"/>
              <a:gd name="connsiteY11" fmla="*/ 433530 h 2495550"/>
              <a:gd name="connsiteX12" fmla="*/ 0 w 2305050"/>
              <a:gd name="connsiteY12" fmla="*/ 887016 h 249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05050" h="2495550">
                <a:moveTo>
                  <a:pt x="0" y="887016"/>
                </a:moveTo>
                <a:lnTo>
                  <a:pt x="0" y="1613773"/>
                </a:lnTo>
                <a:cubicBezTo>
                  <a:pt x="0" y="1800844"/>
                  <a:pt x="99822" y="1973723"/>
                  <a:pt x="261842" y="2067258"/>
                </a:cubicBezTo>
                <a:lnTo>
                  <a:pt x="891254" y="2430637"/>
                </a:lnTo>
                <a:cubicBezTo>
                  <a:pt x="1053275" y="2524173"/>
                  <a:pt x="1252919" y="2524173"/>
                  <a:pt x="1414939" y="2430637"/>
                </a:cubicBezTo>
                <a:lnTo>
                  <a:pt x="2044351" y="2067258"/>
                </a:lnTo>
                <a:cubicBezTo>
                  <a:pt x="2206371" y="1973723"/>
                  <a:pt x="2306193" y="1800844"/>
                  <a:pt x="2306193" y="1613773"/>
                </a:cubicBezTo>
                <a:lnTo>
                  <a:pt x="2306193" y="887016"/>
                </a:lnTo>
                <a:cubicBezTo>
                  <a:pt x="2306193" y="699945"/>
                  <a:pt x="2206371" y="527066"/>
                  <a:pt x="2044351" y="433530"/>
                </a:cubicBezTo>
                <a:lnTo>
                  <a:pt x="1414939" y="70152"/>
                </a:lnTo>
                <a:cubicBezTo>
                  <a:pt x="1252919" y="-23384"/>
                  <a:pt x="1053275" y="-23384"/>
                  <a:pt x="891254" y="70152"/>
                </a:cubicBezTo>
                <a:lnTo>
                  <a:pt x="261842" y="433530"/>
                </a:lnTo>
                <a:cubicBezTo>
                  <a:pt x="99822" y="527066"/>
                  <a:pt x="0" y="699945"/>
                  <a:pt x="0" y="887016"/>
                </a:cubicBezTo>
                <a:close/>
              </a:path>
            </a:pathLst>
          </a:custGeom>
          <a:gradFill>
            <a:gsLst>
              <a:gs pos="100000">
                <a:schemeClr val="accent1">
                  <a:alpha val="65000"/>
                </a:schemeClr>
              </a:gs>
              <a:gs pos="0">
                <a:schemeClr val="accent1">
                  <a:alpha val="25000"/>
                </a:schemeClr>
              </a:gs>
            </a:gsLst>
            <a:lin ang="16200000" scaled="0"/>
          </a:gradFill>
          <a:ln w="25400" cap="flat">
            <a:noFill/>
            <a:prstDash val="solid"/>
            <a:round/>
          </a:ln>
        </p:spPr>
        <p:txBody>
          <a:bodyPr wrap="square" rtlCol="0" anchor="ctr" anchorCtr="0">
            <a:noAutofit/>
          </a:bodyPr>
          <a:lstStyle/>
          <a:p>
            <a:endParaRPr lang="en-US">
              <a:latin typeface="Montserrat" panose="00000500000000000000" pitchFamily="50" charset="0"/>
            </a:endParaRPr>
          </a:p>
        </p:txBody>
      </p:sp>
      <p:sp>
        <p:nvSpPr>
          <p:cNvPr id="79" name="Freeform: Shape 78">
            <a:extLst>
              <a:ext uri="{FF2B5EF4-FFF2-40B4-BE49-F238E27FC236}">
                <a16:creationId xmlns:a16="http://schemas.microsoft.com/office/drawing/2014/main" id="{1EA5EC31-8B74-4802-80AA-114687641A6C}"/>
              </a:ext>
            </a:extLst>
          </p:cNvPr>
          <p:cNvSpPr/>
          <p:nvPr/>
        </p:nvSpPr>
        <p:spPr>
          <a:xfrm>
            <a:off x="2398433" y="2474117"/>
            <a:ext cx="3178784" cy="3441493"/>
          </a:xfrm>
          <a:custGeom>
            <a:avLst/>
            <a:gdLst>
              <a:gd name="connsiteX0" fmla="*/ 0 w 2305050"/>
              <a:gd name="connsiteY0" fmla="*/ 887016 h 2495550"/>
              <a:gd name="connsiteX1" fmla="*/ 0 w 2305050"/>
              <a:gd name="connsiteY1" fmla="*/ 1613773 h 2495550"/>
              <a:gd name="connsiteX2" fmla="*/ 261842 w 2305050"/>
              <a:gd name="connsiteY2" fmla="*/ 2067258 h 2495550"/>
              <a:gd name="connsiteX3" fmla="*/ 891254 w 2305050"/>
              <a:gd name="connsiteY3" fmla="*/ 2430637 h 2495550"/>
              <a:gd name="connsiteX4" fmla="*/ 1414939 w 2305050"/>
              <a:gd name="connsiteY4" fmla="*/ 2430637 h 2495550"/>
              <a:gd name="connsiteX5" fmla="*/ 2044351 w 2305050"/>
              <a:gd name="connsiteY5" fmla="*/ 2067258 h 2495550"/>
              <a:gd name="connsiteX6" fmla="*/ 2306193 w 2305050"/>
              <a:gd name="connsiteY6" fmla="*/ 1613773 h 2495550"/>
              <a:gd name="connsiteX7" fmla="*/ 2306193 w 2305050"/>
              <a:gd name="connsiteY7" fmla="*/ 887016 h 2495550"/>
              <a:gd name="connsiteX8" fmla="*/ 2044351 w 2305050"/>
              <a:gd name="connsiteY8" fmla="*/ 433530 h 2495550"/>
              <a:gd name="connsiteX9" fmla="*/ 1414939 w 2305050"/>
              <a:gd name="connsiteY9" fmla="*/ 70152 h 2495550"/>
              <a:gd name="connsiteX10" fmla="*/ 891254 w 2305050"/>
              <a:gd name="connsiteY10" fmla="*/ 70152 h 2495550"/>
              <a:gd name="connsiteX11" fmla="*/ 261842 w 2305050"/>
              <a:gd name="connsiteY11" fmla="*/ 433530 h 2495550"/>
              <a:gd name="connsiteX12" fmla="*/ 0 w 2305050"/>
              <a:gd name="connsiteY12" fmla="*/ 887016 h 249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05050" h="2495550">
                <a:moveTo>
                  <a:pt x="0" y="887016"/>
                </a:moveTo>
                <a:lnTo>
                  <a:pt x="0" y="1613773"/>
                </a:lnTo>
                <a:cubicBezTo>
                  <a:pt x="0" y="1800844"/>
                  <a:pt x="99822" y="1973723"/>
                  <a:pt x="261842" y="2067258"/>
                </a:cubicBezTo>
                <a:lnTo>
                  <a:pt x="891254" y="2430637"/>
                </a:lnTo>
                <a:cubicBezTo>
                  <a:pt x="1053275" y="2524173"/>
                  <a:pt x="1252918" y="2524173"/>
                  <a:pt x="1414939" y="2430637"/>
                </a:cubicBezTo>
                <a:lnTo>
                  <a:pt x="2044351" y="2067258"/>
                </a:lnTo>
                <a:cubicBezTo>
                  <a:pt x="2206371" y="1973723"/>
                  <a:pt x="2306193" y="1800844"/>
                  <a:pt x="2306193" y="1613773"/>
                </a:cubicBezTo>
                <a:lnTo>
                  <a:pt x="2306193" y="887016"/>
                </a:lnTo>
                <a:cubicBezTo>
                  <a:pt x="2306193" y="699945"/>
                  <a:pt x="2206371" y="527066"/>
                  <a:pt x="2044351" y="433530"/>
                </a:cubicBezTo>
                <a:lnTo>
                  <a:pt x="1414939" y="70152"/>
                </a:lnTo>
                <a:cubicBezTo>
                  <a:pt x="1252918" y="-23384"/>
                  <a:pt x="1053275" y="-23384"/>
                  <a:pt x="891254" y="70152"/>
                </a:cubicBezTo>
                <a:lnTo>
                  <a:pt x="261842" y="433530"/>
                </a:lnTo>
                <a:cubicBezTo>
                  <a:pt x="99822" y="527066"/>
                  <a:pt x="0" y="699849"/>
                  <a:pt x="0" y="887016"/>
                </a:cubicBezTo>
                <a:close/>
              </a:path>
            </a:pathLst>
          </a:custGeom>
          <a:gradFill>
            <a:gsLst>
              <a:gs pos="100000">
                <a:schemeClr val="accent4">
                  <a:alpha val="75000"/>
                </a:schemeClr>
              </a:gs>
              <a:gs pos="0">
                <a:schemeClr val="accent4">
                  <a:alpha val="25000"/>
                </a:schemeClr>
              </a:gs>
            </a:gsLst>
            <a:lin ang="2700000" scaled="0"/>
          </a:gradFill>
          <a:ln w="25400" cap="flat">
            <a:noFill/>
            <a:prstDash val="solid"/>
            <a:round/>
          </a:ln>
        </p:spPr>
        <p:txBody>
          <a:bodyPr wrap="square" rtlCol="0" anchor="ctr" anchorCtr="0">
            <a:noAutofit/>
          </a:bodyPr>
          <a:lstStyle/>
          <a:p>
            <a:endParaRPr lang="en-US">
              <a:latin typeface="Montserrat" panose="00000500000000000000" pitchFamily="50" charset="0"/>
            </a:endParaRPr>
          </a:p>
        </p:txBody>
      </p:sp>
      <p:sp>
        <p:nvSpPr>
          <p:cNvPr id="80" name="Freeform: Shape 79">
            <a:extLst>
              <a:ext uri="{FF2B5EF4-FFF2-40B4-BE49-F238E27FC236}">
                <a16:creationId xmlns:a16="http://schemas.microsoft.com/office/drawing/2014/main" id="{AC1433AB-371F-4D72-86C9-2682498B2AB6}"/>
              </a:ext>
            </a:extLst>
          </p:cNvPr>
          <p:cNvSpPr/>
          <p:nvPr/>
        </p:nvSpPr>
        <p:spPr>
          <a:xfrm>
            <a:off x="657721" y="2474117"/>
            <a:ext cx="3178784" cy="3441493"/>
          </a:xfrm>
          <a:custGeom>
            <a:avLst/>
            <a:gdLst>
              <a:gd name="connsiteX0" fmla="*/ 0 w 2305050"/>
              <a:gd name="connsiteY0" fmla="*/ 887016 h 2495550"/>
              <a:gd name="connsiteX1" fmla="*/ 0 w 2305050"/>
              <a:gd name="connsiteY1" fmla="*/ 1613773 h 2495550"/>
              <a:gd name="connsiteX2" fmla="*/ 261842 w 2305050"/>
              <a:gd name="connsiteY2" fmla="*/ 2067258 h 2495550"/>
              <a:gd name="connsiteX3" fmla="*/ 891254 w 2305050"/>
              <a:gd name="connsiteY3" fmla="*/ 2430637 h 2495550"/>
              <a:gd name="connsiteX4" fmla="*/ 1414939 w 2305050"/>
              <a:gd name="connsiteY4" fmla="*/ 2430637 h 2495550"/>
              <a:gd name="connsiteX5" fmla="*/ 2044351 w 2305050"/>
              <a:gd name="connsiteY5" fmla="*/ 2067258 h 2495550"/>
              <a:gd name="connsiteX6" fmla="*/ 2306193 w 2305050"/>
              <a:gd name="connsiteY6" fmla="*/ 1613773 h 2495550"/>
              <a:gd name="connsiteX7" fmla="*/ 2306193 w 2305050"/>
              <a:gd name="connsiteY7" fmla="*/ 887016 h 2495550"/>
              <a:gd name="connsiteX8" fmla="*/ 2044351 w 2305050"/>
              <a:gd name="connsiteY8" fmla="*/ 433530 h 2495550"/>
              <a:gd name="connsiteX9" fmla="*/ 1414939 w 2305050"/>
              <a:gd name="connsiteY9" fmla="*/ 70152 h 2495550"/>
              <a:gd name="connsiteX10" fmla="*/ 891254 w 2305050"/>
              <a:gd name="connsiteY10" fmla="*/ 70152 h 2495550"/>
              <a:gd name="connsiteX11" fmla="*/ 261842 w 2305050"/>
              <a:gd name="connsiteY11" fmla="*/ 433530 h 2495550"/>
              <a:gd name="connsiteX12" fmla="*/ 0 w 2305050"/>
              <a:gd name="connsiteY12" fmla="*/ 887016 h 2495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05050" h="2495550">
                <a:moveTo>
                  <a:pt x="0" y="887016"/>
                </a:moveTo>
                <a:lnTo>
                  <a:pt x="0" y="1613773"/>
                </a:lnTo>
                <a:cubicBezTo>
                  <a:pt x="0" y="1800844"/>
                  <a:pt x="99822" y="1973723"/>
                  <a:pt x="261842" y="2067258"/>
                </a:cubicBezTo>
                <a:lnTo>
                  <a:pt x="891254" y="2430637"/>
                </a:lnTo>
                <a:cubicBezTo>
                  <a:pt x="1053275" y="2524173"/>
                  <a:pt x="1252918" y="2524173"/>
                  <a:pt x="1414939" y="2430637"/>
                </a:cubicBezTo>
                <a:lnTo>
                  <a:pt x="2044351" y="2067258"/>
                </a:lnTo>
                <a:cubicBezTo>
                  <a:pt x="2206371" y="1973723"/>
                  <a:pt x="2306193" y="1800844"/>
                  <a:pt x="2306193" y="1613773"/>
                </a:cubicBezTo>
                <a:lnTo>
                  <a:pt x="2306193" y="887016"/>
                </a:lnTo>
                <a:cubicBezTo>
                  <a:pt x="2306193" y="699945"/>
                  <a:pt x="2206371" y="527066"/>
                  <a:pt x="2044351" y="433530"/>
                </a:cubicBezTo>
                <a:lnTo>
                  <a:pt x="1414939" y="70152"/>
                </a:lnTo>
                <a:cubicBezTo>
                  <a:pt x="1252918" y="-23384"/>
                  <a:pt x="1053275" y="-23384"/>
                  <a:pt x="891254" y="70152"/>
                </a:cubicBezTo>
                <a:lnTo>
                  <a:pt x="261842" y="433530"/>
                </a:lnTo>
                <a:cubicBezTo>
                  <a:pt x="99822" y="527066"/>
                  <a:pt x="0" y="699849"/>
                  <a:pt x="0" y="887016"/>
                </a:cubicBezTo>
                <a:close/>
              </a:path>
            </a:pathLst>
          </a:custGeom>
          <a:gradFill>
            <a:gsLst>
              <a:gs pos="100000">
                <a:schemeClr val="accent3">
                  <a:alpha val="75000"/>
                </a:schemeClr>
              </a:gs>
              <a:gs pos="0">
                <a:schemeClr val="accent3">
                  <a:alpha val="25000"/>
                </a:schemeClr>
              </a:gs>
            </a:gsLst>
            <a:lin ang="8100000" scaled="0"/>
          </a:gradFill>
          <a:ln w="25400" cap="flat">
            <a:noFill/>
            <a:prstDash val="solid"/>
            <a:round/>
          </a:ln>
        </p:spPr>
        <p:txBody>
          <a:bodyPr wrap="square" rtlCol="0" anchor="ctr" anchorCtr="0">
            <a:noAutofit/>
          </a:bodyPr>
          <a:lstStyle/>
          <a:p>
            <a:endParaRPr lang="en-US">
              <a:latin typeface="Montserrat" panose="00000500000000000000" pitchFamily="50" charset="0"/>
            </a:endParaRPr>
          </a:p>
        </p:txBody>
      </p:sp>
      <p:sp>
        <p:nvSpPr>
          <p:cNvPr id="81" name="Freeform: Shape 80">
            <a:extLst>
              <a:ext uri="{FF2B5EF4-FFF2-40B4-BE49-F238E27FC236}">
                <a16:creationId xmlns:a16="http://schemas.microsoft.com/office/drawing/2014/main" id="{BD1B144C-83BB-47AE-87F8-003C81026198}"/>
              </a:ext>
            </a:extLst>
          </p:cNvPr>
          <p:cNvSpPr/>
          <p:nvPr/>
        </p:nvSpPr>
        <p:spPr>
          <a:xfrm>
            <a:off x="3118257" y="2473986"/>
            <a:ext cx="1589392" cy="1602527"/>
          </a:xfrm>
          <a:custGeom>
            <a:avLst/>
            <a:gdLst>
              <a:gd name="connsiteX0" fmla="*/ 1153001 w 1152525"/>
              <a:gd name="connsiteY0" fmla="*/ 220361 h 1162050"/>
              <a:gd name="connsiteX1" fmla="*/ 1153001 w 1152525"/>
              <a:gd name="connsiteY1" fmla="*/ 503158 h 1162050"/>
              <a:gd name="connsiteX2" fmla="*/ 891159 w 1152525"/>
              <a:gd name="connsiteY2" fmla="*/ 956643 h 1162050"/>
              <a:gd name="connsiteX3" fmla="*/ 521875 w 1152525"/>
              <a:gd name="connsiteY3" fmla="*/ 1169813 h 1162050"/>
              <a:gd name="connsiteX4" fmla="*/ 521875 w 1152525"/>
              <a:gd name="connsiteY4" fmla="*/ 887111 h 1162050"/>
              <a:gd name="connsiteX5" fmla="*/ 260032 w 1152525"/>
              <a:gd name="connsiteY5" fmla="*/ 433530 h 1162050"/>
              <a:gd name="connsiteX6" fmla="*/ 0 w 1152525"/>
              <a:gd name="connsiteY6" fmla="*/ 283416 h 1162050"/>
              <a:gd name="connsiteX7" fmla="*/ 369284 w 1152525"/>
              <a:gd name="connsiteY7" fmla="*/ 70152 h 1162050"/>
              <a:gd name="connsiteX8" fmla="*/ 892873 w 1152525"/>
              <a:gd name="connsiteY8" fmla="*/ 70152 h 1162050"/>
              <a:gd name="connsiteX9" fmla="*/ 1153001 w 1152525"/>
              <a:gd name="connsiteY9" fmla="*/ 220361 h 116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2525" h="1162050">
                <a:moveTo>
                  <a:pt x="1153001" y="220361"/>
                </a:moveTo>
                <a:lnTo>
                  <a:pt x="1153001" y="503158"/>
                </a:lnTo>
                <a:cubicBezTo>
                  <a:pt x="1153001" y="690229"/>
                  <a:pt x="1053179" y="863108"/>
                  <a:pt x="891159" y="956643"/>
                </a:cubicBezTo>
                <a:lnTo>
                  <a:pt x="521875" y="1169813"/>
                </a:lnTo>
                <a:lnTo>
                  <a:pt x="521875" y="887111"/>
                </a:lnTo>
                <a:cubicBezTo>
                  <a:pt x="521875" y="699945"/>
                  <a:pt x="422053" y="527161"/>
                  <a:pt x="260032" y="433530"/>
                </a:cubicBezTo>
                <a:lnTo>
                  <a:pt x="0" y="283416"/>
                </a:lnTo>
                <a:lnTo>
                  <a:pt x="369284" y="70152"/>
                </a:lnTo>
                <a:cubicBezTo>
                  <a:pt x="531305" y="-23384"/>
                  <a:pt x="730853" y="-23384"/>
                  <a:pt x="892873" y="70152"/>
                </a:cubicBezTo>
                <a:lnTo>
                  <a:pt x="1153001" y="220361"/>
                </a:lnTo>
                <a:close/>
              </a:path>
            </a:pathLst>
          </a:custGeom>
          <a:solidFill>
            <a:schemeClr val="bg1">
              <a:alpha val="60000"/>
            </a:schemeClr>
          </a:solidFill>
          <a:ln w="25400" cap="flat">
            <a:solidFill>
              <a:schemeClr val="bg1"/>
            </a:solidFill>
            <a:prstDash val="solid"/>
            <a:miter/>
          </a:ln>
        </p:spPr>
        <p:txBody>
          <a:bodyPr rtlCol="0" anchor="ctr" anchorCtr="0"/>
          <a:lstStyle/>
          <a:p>
            <a:endParaRPr lang="en-US"/>
          </a:p>
        </p:txBody>
      </p:sp>
      <p:sp>
        <p:nvSpPr>
          <p:cNvPr id="82" name="Freeform: Shape 81">
            <a:extLst>
              <a:ext uri="{FF2B5EF4-FFF2-40B4-BE49-F238E27FC236}">
                <a16:creationId xmlns:a16="http://schemas.microsoft.com/office/drawing/2014/main" id="{C2ED6703-27B1-41A3-801F-833315B8096C}"/>
              </a:ext>
            </a:extLst>
          </p:cNvPr>
          <p:cNvSpPr/>
          <p:nvPr/>
        </p:nvSpPr>
        <p:spPr>
          <a:xfrm>
            <a:off x="1528078" y="2473986"/>
            <a:ext cx="1589392" cy="1602527"/>
          </a:xfrm>
          <a:custGeom>
            <a:avLst/>
            <a:gdLst>
              <a:gd name="connsiteX0" fmla="*/ 1153097 w 1152525"/>
              <a:gd name="connsiteY0" fmla="*/ 283416 h 1162050"/>
              <a:gd name="connsiteX1" fmla="*/ 892969 w 1152525"/>
              <a:gd name="connsiteY1" fmla="*/ 433530 h 1162050"/>
              <a:gd name="connsiteX2" fmla="*/ 631127 w 1152525"/>
              <a:gd name="connsiteY2" fmla="*/ 887111 h 1162050"/>
              <a:gd name="connsiteX3" fmla="*/ 631127 w 1152525"/>
              <a:gd name="connsiteY3" fmla="*/ 1169813 h 1162050"/>
              <a:gd name="connsiteX4" fmla="*/ 261842 w 1152525"/>
              <a:gd name="connsiteY4" fmla="*/ 956643 h 1162050"/>
              <a:gd name="connsiteX5" fmla="*/ 0 w 1152525"/>
              <a:gd name="connsiteY5" fmla="*/ 503158 h 1162050"/>
              <a:gd name="connsiteX6" fmla="*/ 0 w 1152525"/>
              <a:gd name="connsiteY6" fmla="*/ 220266 h 1162050"/>
              <a:gd name="connsiteX7" fmla="*/ 260032 w 1152525"/>
              <a:gd name="connsiteY7" fmla="*/ 70152 h 1162050"/>
              <a:gd name="connsiteX8" fmla="*/ 783717 w 1152525"/>
              <a:gd name="connsiteY8" fmla="*/ 70152 h 1162050"/>
              <a:gd name="connsiteX9" fmla="*/ 1153097 w 1152525"/>
              <a:gd name="connsiteY9" fmla="*/ 283416 h 116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2525" h="1162050">
                <a:moveTo>
                  <a:pt x="1153097" y="283416"/>
                </a:moveTo>
                <a:lnTo>
                  <a:pt x="892969" y="433530"/>
                </a:lnTo>
                <a:cubicBezTo>
                  <a:pt x="730949" y="527161"/>
                  <a:pt x="631127" y="699945"/>
                  <a:pt x="631127" y="887111"/>
                </a:cubicBezTo>
                <a:lnTo>
                  <a:pt x="631127" y="1169813"/>
                </a:lnTo>
                <a:lnTo>
                  <a:pt x="261842" y="956643"/>
                </a:lnTo>
                <a:cubicBezTo>
                  <a:pt x="99822" y="863108"/>
                  <a:pt x="0" y="690229"/>
                  <a:pt x="0" y="503158"/>
                </a:cubicBezTo>
                <a:lnTo>
                  <a:pt x="0" y="220266"/>
                </a:lnTo>
                <a:lnTo>
                  <a:pt x="260032" y="70152"/>
                </a:lnTo>
                <a:cubicBezTo>
                  <a:pt x="422053" y="-23384"/>
                  <a:pt x="621697" y="-23384"/>
                  <a:pt x="783717" y="70152"/>
                </a:cubicBezTo>
                <a:lnTo>
                  <a:pt x="1153097" y="283416"/>
                </a:lnTo>
                <a:close/>
              </a:path>
            </a:pathLst>
          </a:custGeom>
          <a:solidFill>
            <a:schemeClr val="bg1">
              <a:alpha val="60000"/>
            </a:schemeClr>
          </a:solidFill>
          <a:ln w="25400" cap="flat">
            <a:solidFill>
              <a:schemeClr val="bg1"/>
            </a:solidFill>
            <a:prstDash val="solid"/>
            <a:miter/>
          </a:ln>
        </p:spPr>
        <p:txBody>
          <a:bodyPr rtlCol="0" anchor="ctr" anchorCtr="0"/>
          <a:lstStyle/>
          <a:p>
            <a:endParaRPr lang="en-US"/>
          </a:p>
        </p:txBody>
      </p:sp>
      <p:sp>
        <p:nvSpPr>
          <p:cNvPr id="83" name="Freeform: Shape 82">
            <a:extLst>
              <a:ext uri="{FF2B5EF4-FFF2-40B4-BE49-F238E27FC236}">
                <a16:creationId xmlns:a16="http://schemas.microsoft.com/office/drawing/2014/main" id="{12E4F487-25BF-4A86-AFC9-4A6CBB074203}"/>
              </a:ext>
            </a:extLst>
          </p:cNvPr>
          <p:cNvSpPr/>
          <p:nvPr/>
        </p:nvSpPr>
        <p:spPr>
          <a:xfrm>
            <a:off x="2398433" y="2864831"/>
            <a:ext cx="1431766" cy="1523715"/>
          </a:xfrm>
          <a:custGeom>
            <a:avLst/>
            <a:gdLst>
              <a:gd name="connsiteX0" fmla="*/ 1043845 w 1038225"/>
              <a:gd name="connsiteY0" fmla="*/ 603695 h 1104900"/>
              <a:gd name="connsiteX1" fmla="*/ 1043845 w 1038225"/>
              <a:gd name="connsiteY1" fmla="*/ 886397 h 1104900"/>
              <a:gd name="connsiteX2" fmla="*/ 783717 w 1038225"/>
              <a:gd name="connsiteY2" fmla="*/ 1036606 h 1104900"/>
              <a:gd name="connsiteX3" fmla="*/ 260128 w 1038225"/>
              <a:gd name="connsiteY3" fmla="*/ 1036606 h 1104900"/>
              <a:gd name="connsiteX4" fmla="*/ 0 w 1038225"/>
              <a:gd name="connsiteY4" fmla="*/ 886397 h 1104900"/>
              <a:gd name="connsiteX5" fmla="*/ 0 w 1038225"/>
              <a:gd name="connsiteY5" fmla="*/ 603695 h 1104900"/>
              <a:gd name="connsiteX6" fmla="*/ 261842 w 1038225"/>
              <a:gd name="connsiteY6" fmla="*/ 150114 h 1104900"/>
              <a:gd name="connsiteX7" fmla="*/ 521970 w 1038225"/>
              <a:gd name="connsiteY7" fmla="*/ 0 h 1104900"/>
              <a:gd name="connsiteX8" fmla="*/ 782002 w 1038225"/>
              <a:gd name="connsiteY8" fmla="*/ 150114 h 1104900"/>
              <a:gd name="connsiteX9" fmla="*/ 1043845 w 1038225"/>
              <a:gd name="connsiteY9" fmla="*/ 603695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8225" h="1104900">
                <a:moveTo>
                  <a:pt x="1043845" y="603695"/>
                </a:moveTo>
                <a:lnTo>
                  <a:pt x="1043845" y="886397"/>
                </a:lnTo>
                <a:lnTo>
                  <a:pt x="783717" y="1036606"/>
                </a:lnTo>
                <a:cubicBezTo>
                  <a:pt x="621697" y="1130141"/>
                  <a:pt x="422148" y="1130141"/>
                  <a:pt x="260128" y="1036606"/>
                </a:cubicBezTo>
                <a:lnTo>
                  <a:pt x="0" y="886397"/>
                </a:lnTo>
                <a:lnTo>
                  <a:pt x="0" y="603695"/>
                </a:lnTo>
                <a:cubicBezTo>
                  <a:pt x="0" y="416528"/>
                  <a:pt x="99822" y="243745"/>
                  <a:pt x="261842" y="150114"/>
                </a:cubicBezTo>
                <a:lnTo>
                  <a:pt x="521970" y="0"/>
                </a:lnTo>
                <a:lnTo>
                  <a:pt x="782002" y="150114"/>
                </a:lnTo>
                <a:cubicBezTo>
                  <a:pt x="944023" y="243745"/>
                  <a:pt x="1043845" y="416528"/>
                  <a:pt x="1043845" y="603695"/>
                </a:cubicBezTo>
                <a:close/>
              </a:path>
            </a:pathLst>
          </a:custGeom>
          <a:gradFill flip="none" rotWithShape="1">
            <a:gsLst>
              <a:gs pos="55800">
                <a:schemeClr val="accent3"/>
              </a:gs>
              <a:gs pos="100000">
                <a:schemeClr val="accent4"/>
              </a:gs>
              <a:gs pos="0">
                <a:schemeClr val="accent1"/>
              </a:gs>
            </a:gsLst>
            <a:path path="circle">
              <a:fillToRect r="100000" b="100000"/>
            </a:path>
            <a:tileRect l="-100000" t="-100000"/>
          </a:gradFill>
          <a:ln w="25400" cap="flat">
            <a:solidFill>
              <a:schemeClr val="bg1"/>
            </a:solidFill>
            <a:miter lim="400000"/>
          </a:ln>
          <a:effectLst/>
        </p:spPr>
        <p:txBody>
          <a:bodyPr wrap="square" lIns="0" tIns="274320" rIns="0" bIns="0" numCol="1" anchor="ctr" anchorCtr="0">
            <a:noAutofit/>
          </a:bodyPr>
          <a:lstStyle/>
          <a:p>
            <a:pPr algn="ctr" defTabSz="412750" hangingPunct="0"/>
            <a:endParaRPr lang="en-US" sz="1400" b="1" kern="0">
              <a:solidFill>
                <a:srgbClr val="FFFFFF"/>
              </a:solidFill>
              <a:latin typeface="Montserrat" panose="00000500000000000000" pitchFamily="50" charset="0"/>
            </a:endParaRPr>
          </a:p>
        </p:txBody>
      </p:sp>
      <p:sp>
        <p:nvSpPr>
          <p:cNvPr id="84" name="Freeform: Shape 83">
            <a:extLst>
              <a:ext uri="{FF2B5EF4-FFF2-40B4-BE49-F238E27FC236}">
                <a16:creationId xmlns:a16="http://schemas.microsoft.com/office/drawing/2014/main" id="{AB21D012-FC70-4966-90D9-861907E5C411}"/>
              </a:ext>
            </a:extLst>
          </p:cNvPr>
          <p:cNvSpPr/>
          <p:nvPr/>
        </p:nvSpPr>
        <p:spPr>
          <a:xfrm>
            <a:off x="2398433" y="4087217"/>
            <a:ext cx="1431766" cy="1431766"/>
          </a:xfrm>
          <a:custGeom>
            <a:avLst/>
            <a:gdLst>
              <a:gd name="connsiteX0" fmla="*/ 1043845 w 1038225"/>
              <a:gd name="connsiteY0" fmla="*/ 0 h 1038225"/>
              <a:gd name="connsiteX1" fmla="*/ 1043845 w 1038225"/>
              <a:gd name="connsiteY1" fmla="*/ 444056 h 1038225"/>
              <a:gd name="connsiteX2" fmla="*/ 782002 w 1038225"/>
              <a:gd name="connsiteY2" fmla="*/ 897541 h 1038225"/>
              <a:gd name="connsiteX3" fmla="*/ 521970 w 1038225"/>
              <a:gd name="connsiteY3" fmla="*/ 1047655 h 1038225"/>
              <a:gd name="connsiteX4" fmla="*/ 261842 w 1038225"/>
              <a:gd name="connsiteY4" fmla="*/ 897541 h 1038225"/>
              <a:gd name="connsiteX5" fmla="*/ 0 w 1038225"/>
              <a:gd name="connsiteY5" fmla="*/ 444056 h 1038225"/>
              <a:gd name="connsiteX6" fmla="*/ 0 w 1038225"/>
              <a:gd name="connsiteY6" fmla="*/ 0 h 1038225"/>
              <a:gd name="connsiteX7" fmla="*/ 260128 w 1038225"/>
              <a:gd name="connsiteY7" fmla="*/ 150209 h 1038225"/>
              <a:gd name="connsiteX8" fmla="*/ 783717 w 1038225"/>
              <a:gd name="connsiteY8" fmla="*/ 150209 h 1038225"/>
              <a:gd name="connsiteX9" fmla="*/ 1043845 w 1038225"/>
              <a:gd name="connsiteY9" fmla="*/ 0 h 103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8225" h="1038225">
                <a:moveTo>
                  <a:pt x="1043845" y="0"/>
                </a:moveTo>
                <a:lnTo>
                  <a:pt x="1043845" y="444056"/>
                </a:lnTo>
                <a:cubicBezTo>
                  <a:pt x="1043845" y="631126"/>
                  <a:pt x="944023" y="804005"/>
                  <a:pt x="782002" y="897541"/>
                </a:cubicBezTo>
                <a:lnTo>
                  <a:pt x="521970" y="1047655"/>
                </a:lnTo>
                <a:lnTo>
                  <a:pt x="261842" y="897541"/>
                </a:lnTo>
                <a:cubicBezTo>
                  <a:pt x="99822" y="804005"/>
                  <a:pt x="0" y="631126"/>
                  <a:pt x="0" y="444056"/>
                </a:cubicBezTo>
                <a:lnTo>
                  <a:pt x="0" y="0"/>
                </a:lnTo>
                <a:lnTo>
                  <a:pt x="260128" y="150209"/>
                </a:lnTo>
                <a:cubicBezTo>
                  <a:pt x="422148" y="243745"/>
                  <a:pt x="621697" y="243745"/>
                  <a:pt x="783717" y="150209"/>
                </a:cubicBezTo>
                <a:lnTo>
                  <a:pt x="1043845" y="0"/>
                </a:lnTo>
                <a:close/>
              </a:path>
            </a:pathLst>
          </a:custGeom>
          <a:solidFill>
            <a:schemeClr val="bg1">
              <a:alpha val="60000"/>
            </a:schemeClr>
          </a:solidFill>
          <a:ln w="25400" cap="flat">
            <a:solidFill>
              <a:schemeClr val="bg1"/>
            </a:solidFill>
            <a:prstDash val="solid"/>
            <a:miter/>
          </a:ln>
        </p:spPr>
        <p:txBody>
          <a:bodyPr rtlCol="0" anchor="ctr" anchorCtr="0"/>
          <a:lstStyle/>
          <a:p>
            <a:endParaRPr lang="en-US"/>
          </a:p>
        </p:txBody>
      </p:sp>
      <p:sp>
        <p:nvSpPr>
          <p:cNvPr id="85" name="Placeholder Text">
            <a:extLst>
              <a:ext uri="{FF2B5EF4-FFF2-40B4-BE49-F238E27FC236}">
                <a16:creationId xmlns:a16="http://schemas.microsoft.com/office/drawing/2014/main" id="{EE25B53A-077A-471F-9798-6C6B8E736FA8}"/>
              </a:ext>
            </a:extLst>
          </p:cNvPr>
          <p:cNvSpPr txBox="1"/>
          <p:nvPr/>
        </p:nvSpPr>
        <p:spPr>
          <a:xfrm>
            <a:off x="2406221" y="1650178"/>
            <a:ext cx="1417056" cy="48453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chorCtr="0">
            <a:spAutoFit/>
          </a:bodyPr>
          <a:lstStyle>
            <a:lvl1pPr>
              <a:defRPr sz="2500" b="0">
                <a:solidFill>
                  <a:srgbClr val="555454"/>
                </a:solidFill>
                <a:latin typeface="Barlow Medium"/>
                <a:ea typeface="Barlow Medium"/>
                <a:cs typeface="Barlow Medium"/>
                <a:sym typeface="Barlow Medium"/>
              </a:defRPr>
            </a:lvl1pPr>
          </a:lstStyle>
          <a:p>
            <a:pPr algn="ctr" defTabSz="412750" hangingPunct="0"/>
            <a:r>
              <a:rPr sz="1300" b="1" kern="0" dirty="0">
                <a:solidFill>
                  <a:schemeClr val="bg1"/>
                </a:solidFill>
                <a:latin typeface="Montserrat" panose="00000500000000000000" pitchFamily="50" charset="0"/>
              </a:rPr>
              <a:t>Placeholder Text</a:t>
            </a:r>
          </a:p>
        </p:txBody>
      </p:sp>
      <p:sp>
        <p:nvSpPr>
          <p:cNvPr id="86" name="Placeholder Text">
            <a:extLst>
              <a:ext uri="{FF2B5EF4-FFF2-40B4-BE49-F238E27FC236}">
                <a16:creationId xmlns:a16="http://schemas.microsoft.com/office/drawing/2014/main" id="{1DDCF574-67DA-4150-A846-A72730547CD8}"/>
              </a:ext>
            </a:extLst>
          </p:cNvPr>
          <p:cNvSpPr txBox="1"/>
          <p:nvPr/>
        </p:nvSpPr>
        <p:spPr>
          <a:xfrm>
            <a:off x="3999121" y="4274718"/>
            <a:ext cx="1417056" cy="48453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chorCtr="0">
            <a:spAutoFit/>
          </a:bodyPr>
          <a:lstStyle>
            <a:lvl1pPr>
              <a:defRPr sz="2500" b="0">
                <a:solidFill>
                  <a:srgbClr val="555454"/>
                </a:solidFill>
                <a:latin typeface="Barlow Medium"/>
                <a:ea typeface="Barlow Medium"/>
                <a:cs typeface="Barlow Medium"/>
                <a:sym typeface="Barlow Medium"/>
              </a:defRPr>
            </a:lvl1pPr>
          </a:lstStyle>
          <a:p>
            <a:pPr algn="ctr" defTabSz="412750" hangingPunct="0"/>
            <a:r>
              <a:rPr sz="1300" b="1" kern="0" dirty="0">
                <a:solidFill>
                  <a:schemeClr val="bg1"/>
                </a:solidFill>
                <a:latin typeface="Montserrat" panose="00000500000000000000" pitchFamily="50" charset="0"/>
              </a:rPr>
              <a:t>Placeholder Text</a:t>
            </a:r>
          </a:p>
        </p:txBody>
      </p:sp>
      <p:sp>
        <p:nvSpPr>
          <p:cNvPr id="87" name="Placeholder Text">
            <a:extLst>
              <a:ext uri="{FF2B5EF4-FFF2-40B4-BE49-F238E27FC236}">
                <a16:creationId xmlns:a16="http://schemas.microsoft.com/office/drawing/2014/main" id="{61B2CA20-4522-4512-B44C-B058E0B307EF}"/>
              </a:ext>
            </a:extLst>
          </p:cNvPr>
          <p:cNvSpPr txBox="1"/>
          <p:nvPr/>
        </p:nvSpPr>
        <p:spPr>
          <a:xfrm>
            <a:off x="812682" y="4274718"/>
            <a:ext cx="1417056" cy="48453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chorCtr="0">
            <a:spAutoFit/>
          </a:bodyPr>
          <a:lstStyle>
            <a:lvl1pPr>
              <a:defRPr sz="2500" b="0">
                <a:solidFill>
                  <a:srgbClr val="555454"/>
                </a:solidFill>
                <a:latin typeface="Barlow Medium"/>
                <a:ea typeface="Barlow Medium"/>
                <a:cs typeface="Barlow Medium"/>
                <a:sym typeface="Barlow Medium"/>
              </a:defRPr>
            </a:lvl1pPr>
          </a:lstStyle>
          <a:p>
            <a:pPr algn="ctr" defTabSz="412750" hangingPunct="0"/>
            <a:r>
              <a:rPr sz="1300" b="1" kern="0" dirty="0">
                <a:solidFill>
                  <a:schemeClr val="bg1"/>
                </a:solidFill>
                <a:latin typeface="Montserrat" panose="00000500000000000000" pitchFamily="50" charset="0"/>
              </a:rPr>
              <a:t>Placeholder Text</a:t>
            </a:r>
          </a:p>
        </p:txBody>
      </p:sp>
      <p:sp>
        <p:nvSpPr>
          <p:cNvPr id="90" name="Placeholder Text">
            <a:extLst>
              <a:ext uri="{FF2B5EF4-FFF2-40B4-BE49-F238E27FC236}">
                <a16:creationId xmlns:a16="http://schemas.microsoft.com/office/drawing/2014/main" id="{68B59B20-4DAF-4717-99CC-71E68A1E8C7D}"/>
              </a:ext>
            </a:extLst>
          </p:cNvPr>
          <p:cNvSpPr txBox="1"/>
          <p:nvPr/>
        </p:nvSpPr>
        <p:spPr>
          <a:xfrm>
            <a:off x="3809492" y="2846890"/>
            <a:ext cx="757285" cy="550608"/>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chorCtr="0">
            <a:spAutoFit/>
          </a:bodyPr>
          <a:lstStyle>
            <a:lvl1pPr>
              <a:defRPr sz="2500" b="0">
                <a:solidFill>
                  <a:srgbClr val="555454"/>
                </a:solidFill>
                <a:latin typeface="Barlow Medium"/>
                <a:ea typeface="Barlow Medium"/>
                <a:cs typeface="Barlow Medium"/>
                <a:sym typeface="Barlow Medium"/>
              </a:defRPr>
            </a:lvl1pPr>
          </a:lstStyle>
          <a:p>
            <a:pPr algn="ctr" defTabSz="412750" hangingPunct="0"/>
            <a:r>
              <a:rPr lang="en-US" sz="1200" kern="0" dirty="0">
                <a:solidFill>
                  <a:schemeClr val="tx2"/>
                </a:solidFill>
                <a:latin typeface="Montserrat" panose="00000500000000000000" pitchFamily="50" charset="0"/>
              </a:rPr>
              <a:t>Step</a:t>
            </a:r>
          </a:p>
          <a:p>
            <a:pPr algn="ctr" defTabSz="412750" hangingPunct="0"/>
            <a:r>
              <a:rPr lang="en-US" sz="1800" kern="0" dirty="0">
                <a:solidFill>
                  <a:schemeClr val="tx2"/>
                </a:solidFill>
                <a:latin typeface="Montserrat" panose="00000500000000000000" pitchFamily="50" charset="0"/>
              </a:rPr>
              <a:t>01</a:t>
            </a:r>
            <a:endParaRPr sz="1800" kern="0" dirty="0">
              <a:solidFill>
                <a:schemeClr val="tx2"/>
              </a:solidFill>
              <a:latin typeface="Montserrat" panose="00000500000000000000" pitchFamily="50" charset="0"/>
            </a:endParaRPr>
          </a:p>
        </p:txBody>
      </p:sp>
      <p:sp>
        <p:nvSpPr>
          <p:cNvPr id="92" name="Placeholder Text">
            <a:extLst>
              <a:ext uri="{FF2B5EF4-FFF2-40B4-BE49-F238E27FC236}">
                <a16:creationId xmlns:a16="http://schemas.microsoft.com/office/drawing/2014/main" id="{6468ED1F-D3B1-472B-905D-95C2E08BFD18}"/>
              </a:ext>
            </a:extLst>
          </p:cNvPr>
          <p:cNvSpPr txBox="1"/>
          <p:nvPr/>
        </p:nvSpPr>
        <p:spPr>
          <a:xfrm>
            <a:off x="1676369" y="2846890"/>
            <a:ext cx="757285" cy="550608"/>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chorCtr="0">
            <a:spAutoFit/>
          </a:bodyPr>
          <a:lstStyle>
            <a:lvl1pPr>
              <a:defRPr sz="2500" b="0">
                <a:solidFill>
                  <a:srgbClr val="555454"/>
                </a:solidFill>
                <a:latin typeface="Barlow Medium"/>
                <a:ea typeface="Barlow Medium"/>
                <a:cs typeface="Barlow Medium"/>
                <a:sym typeface="Barlow Medium"/>
              </a:defRPr>
            </a:lvl1pPr>
          </a:lstStyle>
          <a:p>
            <a:pPr algn="ctr" defTabSz="412750" hangingPunct="0"/>
            <a:r>
              <a:rPr lang="en-US" sz="1200" kern="0" dirty="0">
                <a:solidFill>
                  <a:schemeClr val="tx2"/>
                </a:solidFill>
                <a:latin typeface="Montserrat" panose="00000500000000000000" pitchFamily="50" charset="0"/>
              </a:rPr>
              <a:t>Step</a:t>
            </a:r>
          </a:p>
          <a:p>
            <a:pPr algn="ctr" defTabSz="412750" hangingPunct="0"/>
            <a:r>
              <a:rPr lang="en-US" sz="1800" kern="0" dirty="0">
                <a:solidFill>
                  <a:schemeClr val="tx2"/>
                </a:solidFill>
                <a:latin typeface="Montserrat" panose="00000500000000000000" pitchFamily="50" charset="0"/>
              </a:rPr>
              <a:t>03</a:t>
            </a:r>
            <a:endParaRPr sz="1800" kern="0" dirty="0">
              <a:solidFill>
                <a:schemeClr val="tx2"/>
              </a:solidFill>
              <a:latin typeface="Montserrat" panose="00000500000000000000" pitchFamily="50" charset="0"/>
            </a:endParaRPr>
          </a:p>
        </p:txBody>
      </p:sp>
      <p:sp>
        <p:nvSpPr>
          <p:cNvPr id="93" name="Placeholder Text">
            <a:extLst>
              <a:ext uri="{FF2B5EF4-FFF2-40B4-BE49-F238E27FC236}">
                <a16:creationId xmlns:a16="http://schemas.microsoft.com/office/drawing/2014/main" id="{55C0AD0C-351C-4D31-8B85-0A54ADF6E88A}"/>
              </a:ext>
            </a:extLst>
          </p:cNvPr>
          <p:cNvSpPr txBox="1"/>
          <p:nvPr/>
        </p:nvSpPr>
        <p:spPr>
          <a:xfrm>
            <a:off x="2732907" y="4597868"/>
            <a:ext cx="757285" cy="550608"/>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chorCtr="0">
            <a:spAutoFit/>
          </a:bodyPr>
          <a:lstStyle>
            <a:lvl1pPr>
              <a:defRPr sz="2500" b="0">
                <a:solidFill>
                  <a:srgbClr val="555454"/>
                </a:solidFill>
                <a:latin typeface="Barlow Medium"/>
                <a:ea typeface="Barlow Medium"/>
                <a:cs typeface="Barlow Medium"/>
                <a:sym typeface="Barlow Medium"/>
              </a:defRPr>
            </a:lvl1pPr>
          </a:lstStyle>
          <a:p>
            <a:pPr algn="ctr" defTabSz="412750" hangingPunct="0"/>
            <a:r>
              <a:rPr lang="en-US" sz="1200" kern="0" dirty="0">
                <a:solidFill>
                  <a:schemeClr val="tx2"/>
                </a:solidFill>
                <a:latin typeface="Montserrat" panose="00000500000000000000" pitchFamily="50" charset="0"/>
              </a:rPr>
              <a:t>Step</a:t>
            </a:r>
          </a:p>
          <a:p>
            <a:pPr algn="ctr" defTabSz="412750" hangingPunct="0"/>
            <a:r>
              <a:rPr lang="en-US" sz="1800" kern="0" dirty="0">
                <a:solidFill>
                  <a:schemeClr val="tx2"/>
                </a:solidFill>
                <a:latin typeface="Montserrat" panose="00000500000000000000" pitchFamily="50" charset="0"/>
              </a:rPr>
              <a:t>02</a:t>
            </a:r>
            <a:endParaRPr sz="1800" kern="0" dirty="0">
              <a:solidFill>
                <a:schemeClr val="tx2"/>
              </a:solidFill>
              <a:latin typeface="Montserrat" panose="00000500000000000000" pitchFamily="50" charset="0"/>
            </a:endParaRPr>
          </a:p>
        </p:txBody>
      </p:sp>
      <p:sp>
        <p:nvSpPr>
          <p:cNvPr id="94" name="Placeholder Text">
            <a:extLst>
              <a:ext uri="{FF2B5EF4-FFF2-40B4-BE49-F238E27FC236}">
                <a16:creationId xmlns:a16="http://schemas.microsoft.com/office/drawing/2014/main" id="{4B5A4836-B9DC-40EA-9CE2-9DEE51E3D903}"/>
              </a:ext>
            </a:extLst>
          </p:cNvPr>
          <p:cNvSpPr txBox="1"/>
          <p:nvPr/>
        </p:nvSpPr>
        <p:spPr>
          <a:xfrm>
            <a:off x="2732907" y="3385460"/>
            <a:ext cx="757285" cy="550608"/>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chorCtr="0">
            <a:spAutoFit/>
          </a:bodyPr>
          <a:lstStyle>
            <a:lvl1pPr>
              <a:defRPr sz="2500" b="0">
                <a:solidFill>
                  <a:srgbClr val="555454"/>
                </a:solidFill>
                <a:latin typeface="Barlow Medium"/>
                <a:ea typeface="Barlow Medium"/>
                <a:cs typeface="Barlow Medium"/>
                <a:sym typeface="Barlow Medium"/>
              </a:defRPr>
            </a:lvl1pPr>
          </a:lstStyle>
          <a:p>
            <a:pPr algn="ctr" defTabSz="412750" hangingPunct="0"/>
            <a:r>
              <a:rPr lang="en-US" sz="1200" kern="0" dirty="0">
                <a:solidFill>
                  <a:schemeClr val="bg1"/>
                </a:solidFill>
                <a:latin typeface="Montserrat" panose="00000500000000000000" pitchFamily="50" charset="0"/>
              </a:rPr>
              <a:t>Step</a:t>
            </a:r>
          </a:p>
          <a:p>
            <a:pPr algn="ctr" defTabSz="412750" hangingPunct="0"/>
            <a:r>
              <a:rPr lang="en-US" sz="1800" b="1" kern="0" dirty="0">
                <a:solidFill>
                  <a:schemeClr val="bg1"/>
                </a:solidFill>
                <a:latin typeface="Montserrat" panose="00000500000000000000" pitchFamily="50" charset="0"/>
              </a:rPr>
              <a:t>04</a:t>
            </a:r>
            <a:endParaRPr sz="1800" b="1" kern="0" dirty="0">
              <a:solidFill>
                <a:schemeClr val="bg1"/>
              </a:solidFill>
              <a:latin typeface="Montserrat" panose="00000500000000000000" pitchFamily="50" charset="0"/>
            </a:endParaRPr>
          </a:p>
        </p:txBody>
      </p:sp>
      <p:sp>
        <p:nvSpPr>
          <p:cNvPr id="160" name="Rounded Rectangle"/>
          <p:cNvSpPr/>
          <p:nvPr/>
        </p:nvSpPr>
        <p:spPr>
          <a:xfrm>
            <a:off x="6145669" y="942390"/>
            <a:ext cx="5388610" cy="1039650"/>
          </a:xfrm>
          <a:prstGeom prst="roundRect">
            <a:avLst>
              <a:gd name="adj" fmla="val 17454"/>
            </a:avLst>
          </a:prstGeom>
          <a:gradFill>
            <a:gsLst>
              <a:gs pos="9000">
                <a:srgbClr val="C0E2F2"/>
              </a:gs>
              <a:gs pos="23000">
                <a:schemeClr val="tx2">
                  <a:lumMod val="10000"/>
                  <a:lumOff val="90000"/>
                </a:schemeClr>
              </a:gs>
            </a:gsLst>
            <a:lin ang="0" scaled="0"/>
          </a:gradFill>
          <a:ln w="12700" cap="flat">
            <a:noFill/>
            <a:miter lim="400000"/>
          </a:ln>
          <a:effectLst/>
        </p:spPr>
        <p:txBody>
          <a:bodyPr wrap="square" lIns="0" tIns="0" rIns="0" bIns="0" numCol="1" anchor="ctr">
            <a:noAutofit/>
          </a:bodyPr>
          <a:lstStyle/>
          <a:p>
            <a:pPr algn="ctr" defTabSz="412750" hangingPunct="0">
              <a:defRPr sz="3200" b="0">
                <a:solidFill>
                  <a:srgbClr val="FFFFFF"/>
                </a:solidFill>
                <a:latin typeface="+mn-lt"/>
                <a:ea typeface="+mn-ea"/>
                <a:cs typeface="+mn-cs"/>
                <a:sym typeface="Helvetica Neue Medium"/>
              </a:defRPr>
            </a:pPr>
            <a:endParaRPr sz="1600" kern="0">
              <a:solidFill>
                <a:srgbClr val="C1E3F3"/>
              </a:solidFill>
              <a:latin typeface="Helvetica Neue Medium"/>
              <a:ea typeface="Helvetica Neue Medium"/>
              <a:cs typeface="Helvetica Neue Medium"/>
              <a:sym typeface="Helvetica Neue Medium"/>
            </a:endParaRPr>
          </a:p>
        </p:txBody>
      </p:sp>
      <p:sp>
        <p:nvSpPr>
          <p:cNvPr id="162" name="Lorem Ipsum is simply dummy text of the printing and typesetting industry. Lorem Ipsum has been the industry's standard dummy text ever since the"/>
          <p:cNvSpPr txBox="1"/>
          <p:nvPr/>
        </p:nvSpPr>
        <p:spPr>
          <a:xfrm>
            <a:off x="7298766" y="1099423"/>
            <a:ext cx="3865943" cy="71923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chorCtr="0">
            <a:spAutoFit/>
          </a:bodyPr>
          <a:lstStyle>
            <a:lvl1pPr algn="l">
              <a:defRPr sz="2500" b="0">
                <a:solidFill>
                  <a:srgbClr val="9FA09E"/>
                </a:solidFill>
                <a:latin typeface="Barlow Medium"/>
                <a:ea typeface="Barlow Medium"/>
                <a:cs typeface="Barlow Medium"/>
                <a:sym typeface="Barlow Medium"/>
              </a:defRPr>
            </a:lvl1pPr>
          </a:lstStyle>
          <a:p>
            <a:pPr defTabSz="412750" hangingPunct="0">
              <a:lnSpc>
                <a:spcPts val="1800"/>
              </a:lnSpc>
            </a:pPr>
            <a:r>
              <a:rPr sz="1100" kern="0" dirty="0">
                <a:solidFill>
                  <a:schemeClr val="tx1"/>
                </a:solidFill>
                <a:latin typeface="Montserrat" panose="00000500000000000000" pitchFamily="50" charset="0"/>
              </a:rPr>
              <a:t>Lorem Ipsum is simply dummy text of the printing </a:t>
            </a:r>
            <a:r>
              <a:rPr lang="en-US" sz="1100" kern="0" dirty="0">
                <a:solidFill>
                  <a:schemeClr val="tx1"/>
                </a:solidFill>
                <a:latin typeface="Montserrat" panose="00000500000000000000" pitchFamily="50" charset="0"/>
              </a:rPr>
              <a:t>&amp;</a:t>
            </a:r>
            <a:r>
              <a:rPr sz="1100" kern="0" dirty="0">
                <a:solidFill>
                  <a:schemeClr val="tx1"/>
                </a:solidFill>
                <a:latin typeface="Montserrat" panose="00000500000000000000" pitchFamily="50" charset="0"/>
              </a:rPr>
              <a:t> typesetting industry. Lorem Ipsum has been the industry's standard dummy text ever since the</a:t>
            </a:r>
          </a:p>
        </p:txBody>
      </p:sp>
      <p:sp>
        <p:nvSpPr>
          <p:cNvPr id="96" name="Step #01">
            <a:extLst>
              <a:ext uri="{FF2B5EF4-FFF2-40B4-BE49-F238E27FC236}">
                <a16:creationId xmlns:a16="http://schemas.microsoft.com/office/drawing/2014/main" id="{4118601D-0098-458B-AA23-1BA2C0CE9F74}"/>
              </a:ext>
            </a:extLst>
          </p:cNvPr>
          <p:cNvSpPr txBox="1"/>
          <p:nvPr/>
        </p:nvSpPr>
        <p:spPr>
          <a:xfrm>
            <a:off x="6404033" y="1128791"/>
            <a:ext cx="580378" cy="66684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chorCtr="0">
            <a:spAutoFit/>
          </a:bodyPr>
          <a:lstStyle/>
          <a:p>
            <a:pPr algn="ctr" defTabSz="412750" hangingPunct="0">
              <a:defRPr sz="2500" b="0">
                <a:solidFill>
                  <a:srgbClr val="F7F6F6"/>
                </a:solidFill>
                <a:latin typeface="Barlow Medium"/>
                <a:ea typeface="Barlow Medium"/>
                <a:cs typeface="Barlow Medium"/>
                <a:sym typeface="Barlow Medium"/>
              </a:defRPr>
            </a:pPr>
            <a:r>
              <a:rPr lang="en-US" sz="4000" kern="0" dirty="0">
                <a:solidFill>
                  <a:schemeClr val="bg1"/>
                </a:solidFill>
                <a:latin typeface="Montserrat" panose="00000500000000000000" pitchFamily="50" charset="0"/>
                <a:cs typeface="Barlow Medium"/>
                <a:sym typeface="Barlow Medium"/>
              </a:rPr>
              <a:t>01</a:t>
            </a:r>
            <a:endParaRPr sz="4000" kern="0" dirty="0">
              <a:solidFill>
                <a:schemeClr val="bg1"/>
              </a:solidFill>
              <a:latin typeface="Montserrat" panose="00000500000000000000" pitchFamily="50" charset="0"/>
              <a:ea typeface="Barlow Bold"/>
              <a:cs typeface="Barlow Bold"/>
              <a:sym typeface="Barlow Bold"/>
            </a:endParaRPr>
          </a:p>
        </p:txBody>
      </p:sp>
      <p:sp>
        <p:nvSpPr>
          <p:cNvPr id="100" name="Rounded Rectangle">
            <a:extLst>
              <a:ext uri="{FF2B5EF4-FFF2-40B4-BE49-F238E27FC236}">
                <a16:creationId xmlns:a16="http://schemas.microsoft.com/office/drawing/2014/main" id="{AAFC7FB3-F0FA-4C02-800E-52CCA70B6A95}"/>
              </a:ext>
            </a:extLst>
          </p:cNvPr>
          <p:cNvSpPr/>
          <p:nvPr/>
        </p:nvSpPr>
        <p:spPr>
          <a:xfrm>
            <a:off x="6145669" y="4873172"/>
            <a:ext cx="5388610" cy="1039650"/>
          </a:xfrm>
          <a:prstGeom prst="roundRect">
            <a:avLst>
              <a:gd name="adj" fmla="val 17454"/>
            </a:avLst>
          </a:prstGeom>
          <a:gradFill>
            <a:gsLst>
              <a:gs pos="9000">
                <a:schemeClr val="accent1">
                  <a:lumMod val="40000"/>
                  <a:lumOff val="60000"/>
                </a:schemeClr>
              </a:gs>
              <a:gs pos="23000">
                <a:schemeClr val="tx2">
                  <a:lumMod val="10000"/>
                  <a:lumOff val="90000"/>
                </a:schemeClr>
              </a:gs>
            </a:gsLst>
            <a:lin ang="0" scaled="0"/>
          </a:gradFill>
          <a:ln w="12700" cap="flat">
            <a:noFill/>
            <a:miter lim="400000"/>
          </a:ln>
          <a:effectLst/>
        </p:spPr>
        <p:txBody>
          <a:bodyPr wrap="square" lIns="0" tIns="0" rIns="0" bIns="0" numCol="1" anchor="ctr">
            <a:noAutofit/>
          </a:bodyPr>
          <a:lstStyle/>
          <a:p>
            <a:pPr algn="ctr" defTabSz="412750" hangingPunct="0">
              <a:defRPr sz="3200" b="0">
                <a:solidFill>
                  <a:srgbClr val="FFFFFF"/>
                </a:solidFill>
                <a:latin typeface="+mn-lt"/>
                <a:ea typeface="+mn-ea"/>
                <a:cs typeface="+mn-cs"/>
                <a:sym typeface="Helvetica Neue Medium"/>
              </a:defRPr>
            </a:pPr>
            <a:endParaRPr sz="1600" kern="0">
              <a:solidFill>
                <a:srgbClr val="C1E3F3"/>
              </a:solidFill>
              <a:latin typeface="Helvetica Neue Medium"/>
              <a:ea typeface="Helvetica Neue Medium"/>
              <a:cs typeface="Helvetica Neue Medium"/>
              <a:sym typeface="Helvetica Neue Medium"/>
            </a:endParaRPr>
          </a:p>
        </p:txBody>
      </p:sp>
      <p:sp>
        <p:nvSpPr>
          <p:cNvPr id="101" name="Lorem Ipsum is simply dummy text of the printing and typesetting industry. Lorem Ipsum has been the industry's standard dummy text ever since the">
            <a:extLst>
              <a:ext uri="{FF2B5EF4-FFF2-40B4-BE49-F238E27FC236}">
                <a16:creationId xmlns:a16="http://schemas.microsoft.com/office/drawing/2014/main" id="{C65C2443-07DD-40D0-9A3E-7DF9A3366196}"/>
              </a:ext>
            </a:extLst>
          </p:cNvPr>
          <p:cNvSpPr txBox="1"/>
          <p:nvPr/>
        </p:nvSpPr>
        <p:spPr>
          <a:xfrm>
            <a:off x="7298766" y="5030205"/>
            <a:ext cx="3865943" cy="71923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chorCtr="0">
            <a:spAutoFit/>
          </a:bodyPr>
          <a:lstStyle>
            <a:lvl1pPr algn="l">
              <a:defRPr sz="2500" b="0">
                <a:solidFill>
                  <a:srgbClr val="9FA09E"/>
                </a:solidFill>
                <a:latin typeface="Barlow Medium"/>
                <a:ea typeface="Barlow Medium"/>
                <a:cs typeface="Barlow Medium"/>
                <a:sym typeface="Barlow Medium"/>
              </a:defRPr>
            </a:lvl1pPr>
          </a:lstStyle>
          <a:p>
            <a:pPr defTabSz="412750" hangingPunct="0">
              <a:lnSpc>
                <a:spcPts val="1800"/>
              </a:lnSpc>
            </a:pPr>
            <a:r>
              <a:rPr sz="1100" kern="0" dirty="0">
                <a:solidFill>
                  <a:schemeClr val="tx1"/>
                </a:solidFill>
                <a:latin typeface="Montserrat" panose="00000500000000000000" pitchFamily="50" charset="0"/>
              </a:rPr>
              <a:t>Lorem Ipsum is simply dummy text of the printing </a:t>
            </a:r>
            <a:r>
              <a:rPr lang="en-US" sz="1100" kern="0" dirty="0">
                <a:solidFill>
                  <a:schemeClr val="tx1"/>
                </a:solidFill>
                <a:latin typeface="Montserrat" panose="00000500000000000000" pitchFamily="50" charset="0"/>
              </a:rPr>
              <a:t>&amp;</a:t>
            </a:r>
            <a:r>
              <a:rPr sz="1100" kern="0" dirty="0">
                <a:solidFill>
                  <a:schemeClr val="tx1"/>
                </a:solidFill>
                <a:latin typeface="Montserrat" panose="00000500000000000000" pitchFamily="50" charset="0"/>
              </a:rPr>
              <a:t> typesetting industry. Lorem Ipsum has been the industry's standard dummy text ever since the</a:t>
            </a:r>
          </a:p>
        </p:txBody>
      </p:sp>
      <p:sp>
        <p:nvSpPr>
          <p:cNvPr id="102" name="Step #01">
            <a:extLst>
              <a:ext uri="{FF2B5EF4-FFF2-40B4-BE49-F238E27FC236}">
                <a16:creationId xmlns:a16="http://schemas.microsoft.com/office/drawing/2014/main" id="{F3228776-D782-4896-90D7-07B90C5757E2}"/>
              </a:ext>
            </a:extLst>
          </p:cNvPr>
          <p:cNvSpPr txBox="1"/>
          <p:nvPr/>
        </p:nvSpPr>
        <p:spPr>
          <a:xfrm>
            <a:off x="6249000" y="5059573"/>
            <a:ext cx="890444" cy="66684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chorCtr="0">
            <a:spAutoFit/>
          </a:bodyPr>
          <a:lstStyle/>
          <a:p>
            <a:pPr algn="ctr" defTabSz="412750" hangingPunct="0">
              <a:defRPr sz="2500" b="0">
                <a:solidFill>
                  <a:srgbClr val="F7F6F6"/>
                </a:solidFill>
                <a:latin typeface="Barlow Medium"/>
                <a:ea typeface="Barlow Medium"/>
                <a:cs typeface="Barlow Medium"/>
                <a:sym typeface="Barlow Medium"/>
              </a:defRPr>
            </a:pPr>
            <a:r>
              <a:rPr lang="en-US" sz="4000" kern="0" dirty="0">
                <a:solidFill>
                  <a:schemeClr val="bg1"/>
                </a:solidFill>
                <a:latin typeface="Montserrat" panose="00000500000000000000" pitchFamily="50" charset="0"/>
                <a:cs typeface="Barlow Medium"/>
                <a:sym typeface="Barlow Medium"/>
              </a:rPr>
              <a:t>04</a:t>
            </a:r>
            <a:endParaRPr sz="4000" kern="0" dirty="0">
              <a:solidFill>
                <a:schemeClr val="bg1"/>
              </a:solidFill>
              <a:latin typeface="Montserrat" panose="00000500000000000000" pitchFamily="50" charset="0"/>
              <a:ea typeface="Barlow Bold"/>
              <a:cs typeface="Barlow Bold"/>
              <a:sym typeface="Barlow Bold"/>
            </a:endParaRPr>
          </a:p>
        </p:txBody>
      </p:sp>
      <p:sp>
        <p:nvSpPr>
          <p:cNvPr id="104" name="Rounded Rectangle">
            <a:extLst>
              <a:ext uri="{FF2B5EF4-FFF2-40B4-BE49-F238E27FC236}">
                <a16:creationId xmlns:a16="http://schemas.microsoft.com/office/drawing/2014/main" id="{739CAA5D-CC9A-4E13-BCED-E8AC2985E61B}"/>
              </a:ext>
            </a:extLst>
          </p:cNvPr>
          <p:cNvSpPr/>
          <p:nvPr/>
        </p:nvSpPr>
        <p:spPr>
          <a:xfrm>
            <a:off x="6145669" y="3562912"/>
            <a:ext cx="5388610" cy="1039650"/>
          </a:xfrm>
          <a:prstGeom prst="roundRect">
            <a:avLst>
              <a:gd name="adj" fmla="val 17454"/>
            </a:avLst>
          </a:prstGeom>
          <a:gradFill>
            <a:gsLst>
              <a:gs pos="9000">
                <a:schemeClr val="accent3">
                  <a:lumMod val="40000"/>
                  <a:lumOff val="60000"/>
                </a:schemeClr>
              </a:gs>
              <a:gs pos="23000">
                <a:schemeClr val="tx2">
                  <a:lumMod val="10000"/>
                  <a:lumOff val="90000"/>
                </a:schemeClr>
              </a:gs>
            </a:gsLst>
            <a:lin ang="0" scaled="0"/>
          </a:gradFill>
          <a:ln w="12700" cap="flat">
            <a:noFill/>
            <a:miter lim="400000"/>
          </a:ln>
          <a:effectLst/>
        </p:spPr>
        <p:txBody>
          <a:bodyPr wrap="square" lIns="0" tIns="0" rIns="0" bIns="0" numCol="1" anchor="ctr">
            <a:noAutofit/>
          </a:bodyPr>
          <a:lstStyle/>
          <a:p>
            <a:pPr algn="ctr" defTabSz="412750" hangingPunct="0">
              <a:defRPr sz="3200" b="0">
                <a:solidFill>
                  <a:srgbClr val="FFFFFF"/>
                </a:solidFill>
                <a:latin typeface="+mn-lt"/>
                <a:ea typeface="+mn-ea"/>
                <a:cs typeface="+mn-cs"/>
                <a:sym typeface="Helvetica Neue Medium"/>
              </a:defRPr>
            </a:pPr>
            <a:endParaRPr sz="1600" kern="0">
              <a:solidFill>
                <a:srgbClr val="C1E3F3"/>
              </a:solidFill>
              <a:latin typeface="Helvetica Neue Medium"/>
              <a:ea typeface="Helvetica Neue Medium"/>
              <a:cs typeface="Helvetica Neue Medium"/>
              <a:sym typeface="Helvetica Neue Medium"/>
            </a:endParaRPr>
          </a:p>
        </p:txBody>
      </p:sp>
      <p:sp>
        <p:nvSpPr>
          <p:cNvPr id="105" name="Lorem Ipsum is simply dummy text of the printing and typesetting industry. Lorem Ipsum has been the industry's standard dummy text ever since the">
            <a:extLst>
              <a:ext uri="{FF2B5EF4-FFF2-40B4-BE49-F238E27FC236}">
                <a16:creationId xmlns:a16="http://schemas.microsoft.com/office/drawing/2014/main" id="{FF9F367C-718C-48F9-9BB1-C476D03B1F3E}"/>
              </a:ext>
            </a:extLst>
          </p:cNvPr>
          <p:cNvSpPr txBox="1"/>
          <p:nvPr/>
        </p:nvSpPr>
        <p:spPr>
          <a:xfrm>
            <a:off x="7298766" y="3719945"/>
            <a:ext cx="3865943" cy="71923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chorCtr="0">
            <a:spAutoFit/>
          </a:bodyPr>
          <a:lstStyle>
            <a:lvl1pPr algn="l">
              <a:defRPr sz="2500" b="0">
                <a:solidFill>
                  <a:srgbClr val="9FA09E"/>
                </a:solidFill>
                <a:latin typeface="Barlow Medium"/>
                <a:ea typeface="Barlow Medium"/>
                <a:cs typeface="Barlow Medium"/>
                <a:sym typeface="Barlow Medium"/>
              </a:defRPr>
            </a:lvl1pPr>
          </a:lstStyle>
          <a:p>
            <a:pPr defTabSz="412750" hangingPunct="0">
              <a:lnSpc>
                <a:spcPts val="1800"/>
              </a:lnSpc>
            </a:pPr>
            <a:r>
              <a:rPr sz="1100" kern="0" dirty="0">
                <a:solidFill>
                  <a:schemeClr val="tx1"/>
                </a:solidFill>
                <a:latin typeface="Montserrat" panose="00000500000000000000" pitchFamily="50" charset="0"/>
              </a:rPr>
              <a:t>Lorem Ipsum is simply dummy text of the printing </a:t>
            </a:r>
            <a:r>
              <a:rPr lang="en-US" sz="1100" kern="0" dirty="0">
                <a:solidFill>
                  <a:schemeClr val="tx1"/>
                </a:solidFill>
                <a:latin typeface="Montserrat" panose="00000500000000000000" pitchFamily="50" charset="0"/>
              </a:rPr>
              <a:t>&amp;</a:t>
            </a:r>
            <a:r>
              <a:rPr sz="1100" kern="0" dirty="0">
                <a:solidFill>
                  <a:schemeClr val="tx1"/>
                </a:solidFill>
                <a:latin typeface="Montserrat" panose="00000500000000000000" pitchFamily="50" charset="0"/>
              </a:rPr>
              <a:t> typesetting industry. Lorem Ipsum has been the industry's standard dummy text ever since the</a:t>
            </a:r>
          </a:p>
        </p:txBody>
      </p:sp>
      <p:sp>
        <p:nvSpPr>
          <p:cNvPr id="106" name="Step #01">
            <a:extLst>
              <a:ext uri="{FF2B5EF4-FFF2-40B4-BE49-F238E27FC236}">
                <a16:creationId xmlns:a16="http://schemas.microsoft.com/office/drawing/2014/main" id="{4AEC5CBE-6782-4C64-991B-7FF6018F532B}"/>
              </a:ext>
            </a:extLst>
          </p:cNvPr>
          <p:cNvSpPr txBox="1"/>
          <p:nvPr/>
        </p:nvSpPr>
        <p:spPr>
          <a:xfrm>
            <a:off x="6249000" y="3749313"/>
            <a:ext cx="890444" cy="66684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chorCtr="0">
            <a:spAutoFit/>
          </a:bodyPr>
          <a:lstStyle/>
          <a:p>
            <a:pPr algn="ctr" defTabSz="412750" hangingPunct="0">
              <a:defRPr sz="2500" b="0">
                <a:solidFill>
                  <a:srgbClr val="F7F6F6"/>
                </a:solidFill>
                <a:latin typeface="Barlow Medium"/>
                <a:ea typeface="Barlow Medium"/>
                <a:cs typeface="Barlow Medium"/>
                <a:sym typeface="Barlow Medium"/>
              </a:defRPr>
            </a:pPr>
            <a:r>
              <a:rPr lang="en-US" sz="4000" kern="0" dirty="0">
                <a:solidFill>
                  <a:schemeClr val="bg1"/>
                </a:solidFill>
                <a:latin typeface="Montserrat" panose="00000500000000000000" pitchFamily="50" charset="0"/>
                <a:cs typeface="Barlow Medium"/>
                <a:sym typeface="Barlow Medium"/>
              </a:rPr>
              <a:t>03</a:t>
            </a:r>
            <a:endParaRPr sz="4000" kern="0" dirty="0">
              <a:solidFill>
                <a:schemeClr val="bg1"/>
              </a:solidFill>
              <a:latin typeface="Montserrat" panose="00000500000000000000" pitchFamily="50" charset="0"/>
              <a:ea typeface="Barlow Bold"/>
              <a:cs typeface="Barlow Bold"/>
              <a:sym typeface="Barlow Bold"/>
            </a:endParaRPr>
          </a:p>
        </p:txBody>
      </p:sp>
      <p:sp>
        <p:nvSpPr>
          <p:cNvPr id="108" name="Rounded Rectangle">
            <a:extLst>
              <a:ext uri="{FF2B5EF4-FFF2-40B4-BE49-F238E27FC236}">
                <a16:creationId xmlns:a16="http://schemas.microsoft.com/office/drawing/2014/main" id="{37064F46-3A87-4C0B-A6A3-8B50F98BE761}"/>
              </a:ext>
            </a:extLst>
          </p:cNvPr>
          <p:cNvSpPr/>
          <p:nvPr/>
        </p:nvSpPr>
        <p:spPr>
          <a:xfrm>
            <a:off x="6145669" y="2252651"/>
            <a:ext cx="5388610" cy="1039650"/>
          </a:xfrm>
          <a:prstGeom prst="roundRect">
            <a:avLst>
              <a:gd name="adj" fmla="val 17454"/>
            </a:avLst>
          </a:prstGeom>
          <a:gradFill>
            <a:gsLst>
              <a:gs pos="9000">
                <a:schemeClr val="accent2">
                  <a:lumMod val="25000"/>
                  <a:lumOff val="75000"/>
                </a:schemeClr>
              </a:gs>
              <a:gs pos="23000">
                <a:schemeClr val="tx2">
                  <a:lumMod val="10000"/>
                  <a:lumOff val="90000"/>
                </a:schemeClr>
              </a:gs>
            </a:gsLst>
            <a:lin ang="0" scaled="0"/>
          </a:gradFill>
          <a:ln w="12700" cap="flat">
            <a:noFill/>
            <a:miter lim="400000"/>
          </a:ln>
          <a:effectLst/>
        </p:spPr>
        <p:txBody>
          <a:bodyPr wrap="square" lIns="0" tIns="0" rIns="0" bIns="0" numCol="1" anchor="ctr">
            <a:noAutofit/>
          </a:bodyPr>
          <a:lstStyle/>
          <a:p>
            <a:pPr algn="ctr" defTabSz="412750" hangingPunct="0">
              <a:defRPr sz="3200" b="0">
                <a:solidFill>
                  <a:srgbClr val="FFFFFF"/>
                </a:solidFill>
                <a:latin typeface="+mn-lt"/>
                <a:ea typeface="+mn-ea"/>
                <a:cs typeface="+mn-cs"/>
                <a:sym typeface="Helvetica Neue Medium"/>
              </a:defRPr>
            </a:pPr>
            <a:endParaRPr sz="1600" kern="0">
              <a:solidFill>
                <a:srgbClr val="C1E3F3"/>
              </a:solidFill>
              <a:latin typeface="Helvetica Neue Medium"/>
              <a:ea typeface="Helvetica Neue Medium"/>
              <a:cs typeface="Helvetica Neue Medium"/>
              <a:sym typeface="Helvetica Neue Medium"/>
            </a:endParaRPr>
          </a:p>
        </p:txBody>
      </p:sp>
      <p:sp>
        <p:nvSpPr>
          <p:cNvPr id="109" name="Lorem Ipsum is simply dummy text of the printing and typesetting industry. Lorem Ipsum has been the industry's standard dummy text ever since the">
            <a:extLst>
              <a:ext uri="{FF2B5EF4-FFF2-40B4-BE49-F238E27FC236}">
                <a16:creationId xmlns:a16="http://schemas.microsoft.com/office/drawing/2014/main" id="{94D81FF9-8090-489D-BEE5-C2ADD0685F2D}"/>
              </a:ext>
            </a:extLst>
          </p:cNvPr>
          <p:cNvSpPr txBox="1"/>
          <p:nvPr/>
        </p:nvSpPr>
        <p:spPr>
          <a:xfrm>
            <a:off x="7298766" y="2412858"/>
            <a:ext cx="3865943" cy="71923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chorCtr="0">
            <a:spAutoFit/>
          </a:bodyPr>
          <a:lstStyle>
            <a:lvl1pPr algn="l">
              <a:defRPr sz="2500" b="0">
                <a:solidFill>
                  <a:srgbClr val="9FA09E"/>
                </a:solidFill>
                <a:latin typeface="Barlow Medium"/>
                <a:ea typeface="Barlow Medium"/>
                <a:cs typeface="Barlow Medium"/>
                <a:sym typeface="Barlow Medium"/>
              </a:defRPr>
            </a:lvl1pPr>
          </a:lstStyle>
          <a:p>
            <a:pPr defTabSz="412750" hangingPunct="0">
              <a:lnSpc>
                <a:spcPts val="1800"/>
              </a:lnSpc>
            </a:pPr>
            <a:r>
              <a:rPr sz="1100" kern="0" dirty="0">
                <a:solidFill>
                  <a:schemeClr val="tx1"/>
                </a:solidFill>
                <a:latin typeface="Montserrat" panose="00000500000000000000" pitchFamily="50" charset="0"/>
              </a:rPr>
              <a:t>Lorem Ipsum is simply dummy text of the printing </a:t>
            </a:r>
            <a:r>
              <a:rPr lang="en-US" sz="1100" kern="0" dirty="0">
                <a:solidFill>
                  <a:schemeClr val="tx1"/>
                </a:solidFill>
                <a:latin typeface="Montserrat" panose="00000500000000000000" pitchFamily="50" charset="0"/>
              </a:rPr>
              <a:t>&amp;</a:t>
            </a:r>
            <a:r>
              <a:rPr sz="1100" kern="0" dirty="0">
                <a:solidFill>
                  <a:schemeClr val="tx1"/>
                </a:solidFill>
                <a:latin typeface="Montserrat" panose="00000500000000000000" pitchFamily="50" charset="0"/>
              </a:rPr>
              <a:t> typesetting industry. Lorem Ipsum has been the industry's standard dummy text ever since the</a:t>
            </a:r>
          </a:p>
        </p:txBody>
      </p:sp>
      <p:sp>
        <p:nvSpPr>
          <p:cNvPr id="110" name="Step #01">
            <a:extLst>
              <a:ext uri="{FF2B5EF4-FFF2-40B4-BE49-F238E27FC236}">
                <a16:creationId xmlns:a16="http://schemas.microsoft.com/office/drawing/2014/main" id="{6DAC06B0-5C56-47D3-9AB0-2C85E9E027D8}"/>
              </a:ext>
            </a:extLst>
          </p:cNvPr>
          <p:cNvSpPr txBox="1"/>
          <p:nvPr/>
        </p:nvSpPr>
        <p:spPr>
          <a:xfrm>
            <a:off x="6249000" y="2439052"/>
            <a:ext cx="890444" cy="66684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chorCtr="0">
            <a:spAutoFit/>
          </a:bodyPr>
          <a:lstStyle/>
          <a:p>
            <a:pPr algn="ctr" defTabSz="412750" hangingPunct="0">
              <a:defRPr sz="2500" b="0">
                <a:solidFill>
                  <a:srgbClr val="F7F6F6"/>
                </a:solidFill>
                <a:latin typeface="Barlow Medium"/>
                <a:ea typeface="Barlow Medium"/>
                <a:cs typeface="Barlow Medium"/>
                <a:sym typeface="Barlow Medium"/>
              </a:defRPr>
            </a:pPr>
            <a:r>
              <a:rPr lang="en-US" sz="4000" kern="0" dirty="0">
                <a:solidFill>
                  <a:schemeClr val="bg1"/>
                </a:solidFill>
                <a:latin typeface="Montserrat" panose="00000500000000000000" pitchFamily="50" charset="0"/>
                <a:cs typeface="Barlow Medium"/>
                <a:sym typeface="Barlow Medium"/>
              </a:rPr>
              <a:t>02</a:t>
            </a:r>
            <a:endParaRPr sz="4000" kern="0" dirty="0">
              <a:solidFill>
                <a:schemeClr val="bg1"/>
              </a:solidFill>
              <a:latin typeface="Montserrat" panose="00000500000000000000" pitchFamily="50" charset="0"/>
              <a:ea typeface="Barlow Bold"/>
              <a:cs typeface="Barlow Bold"/>
              <a:sym typeface="Barlow Bold"/>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1500"/>
                                        <p:tgtEl>
                                          <p:spTgt spid="78"/>
                                        </p:tgtEl>
                                      </p:cBhvr>
                                    </p:animEffect>
                                  </p:childTnLst>
                                </p:cTn>
                              </p:par>
                              <p:par>
                                <p:cTn id="8" presetID="23" presetClass="entr" presetSubtype="272" fill="hold" grpId="1" nodeType="withEffect">
                                  <p:stCondLst>
                                    <p:cond delay="0"/>
                                  </p:stCondLst>
                                  <p:childTnLst>
                                    <p:set>
                                      <p:cBhvr>
                                        <p:cTn id="9" dur="1" fill="hold">
                                          <p:stCondLst>
                                            <p:cond delay="0"/>
                                          </p:stCondLst>
                                        </p:cTn>
                                        <p:tgtEl>
                                          <p:spTgt spid="78"/>
                                        </p:tgtEl>
                                        <p:attrNameLst>
                                          <p:attrName>style.visibility</p:attrName>
                                        </p:attrNameLst>
                                      </p:cBhvr>
                                      <p:to>
                                        <p:strVal val="visible"/>
                                      </p:to>
                                    </p:set>
                                    <p:anim calcmode="lin" valueType="num">
                                      <p:cBhvr>
                                        <p:cTn id="10" dur="1500" fill="hold"/>
                                        <p:tgtEl>
                                          <p:spTgt spid="78"/>
                                        </p:tgtEl>
                                        <p:attrNameLst>
                                          <p:attrName>ppt_w</p:attrName>
                                        </p:attrNameLst>
                                      </p:cBhvr>
                                      <p:tavLst>
                                        <p:tav tm="0">
                                          <p:val>
                                            <p:strVal val="2/3*#ppt_w"/>
                                          </p:val>
                                        </p:tav>
                                        <p:tav tm="100000">
                                          <p:val>
                                            <p:strVal val="#ppt_w"/>
                                          </p:val>
                                        </p:tav>
                                      </p:tavLst>
                                    </p:anim>
                                    <p:anim calcmode="lin" valueType="num">
                                      <p:cBhvr>
                                        <p:cTn id="11" dur="1500" fill="hold"/>
                                        <p:tgtEl>
                                          <p:spTgt spid="78"/>
                                        </p:tgtEl>
                                        <p:attrNameLst>
                                          <p:attrName>ppt_h</p:attrName>
                                        </p:attrNameLst>
                                      </p:cBhvr>
                                      <p:tavLst>
                                        <p:tav tm="0">
                                          <p:val>
                                            <p:strVal val="2/3*#ppt_h"/>
                                          </p:val>
                                        </p:tav>
                                        <p:tav tm="100000">
                                          <p:val>
                                            <p:strVal val="#ppt_h"/>
                                          </p:val>
                                        </p:tav>
                                      </p:tavLst>
                                    </p:anim>
                                  </p:childTnLst>
                                </p:cTn>
                              </p:par>
                              <p:par>
                                <p:cTn id="12" presetID="42" presetClass="path" presetSubtype="0" accel="50000" decel="50000" fill="hold" grpId="2" nodeType="withEffect">
                                  <p:stCondLst>
                                    <p:cond delay="0"/>
                                  </p:stCondLst>
                                  <p:childTnLst>
                                    <p:animMotion origin="layout" path="M 8.33333E-7 -0.12315 L 8.33333E-7 1.48148E-6 " pathEditMode="relative" rAng="0" ptsTypes="AA">
                                      <p:cBhvr>
                                        <p:cTn id="13" dur="1500" fill="hold"/>
                                        <p:tgtEl>
                                          <p:spTgt spid="78"/>
                                        </p:tgtEl>
                                        <p:attrNameLst>
                                          <p:attrName>ppt_x</p:attrName>
                                          <p:attrName>ppt_y</p:attrName>
                                        </p:attrNameLst>
                                      </p:cBhvr>
                                      <p:rCtr x="0" y="6088"/>
                                    </p:animMotion>
                                  </p:childTnLst>
                                </p:cTn>
                              </p:par>
                              <p:par>
                                <p:cTn id="14" presetID="10" presetClass="entr" presetSubtype="0" fill="hold" grpId="0" nodeType="withEffect">
                                  <p:stCondLst>
                                    <p:cond delay="0"/>
                                  </p:stCondLst>
                                  <p:childTnLst>
                                    <p:set>
                                      <p:cBhvr>
                                        <p:cTn id="15" dur="1" fill="hold">
                                          <p:stCondLst>
                                            <p:cond delay="0"/>
                                          </p:stCondLst>
                                        </p:cTn>
                                        <p:tgtEl>
                                          <p:spTgt spid="79"/>
                                        </p:tgtEl>
                                        <p:attrNameLst>
                                          <p:attrName>style.visibility</p:attrName>
                                        </p:attrNameLst>
                                      </p:cBhvr>
                                      <p:to>
                                        <p:strVal val="visible"/>
                                      </p:to>
                                    </p:set>
                                    <p:animEffect transition="in" filter="fade">
                                      <p:cBhvr>
                                        <p:cTn id="16" dur="1500"/>
                                        <p:tgtEl>
                                          <p:spTgt spid="79"/>
                                        </p:tgtEl>
                                      </p:cBhvr>
                                    </p:animEffect>
                                  </p:childTnLst>
                                </p:cTn>
                              </p:par>
                              <p:par>
                                <p:cTn id="17" presetID="23" presetClass="entr" presetSubtype="272" fill="hold" grpId="1" nodeType="withEffect">
                                  <p:stCondLst>
                                    <p:cond delay="0"/>
                                  </p:stCondLst>
                                  <p:childTnLst>
                                    <p:set>
                                      <p:cBhvr>
                                        <p:cTn id="18" dur="1" fill="hold">
                                          <p:stCondLst>
                                            <p:cond delay="0"/>
                                          </p:stCondLst>
                                        </p:cTn>
                                        <p:tgtEl>
                                          <p:spTgt spid="79"/>
                                        </p:tgtEl>
                                        <p:attrNameLst>
                                          <p:attrName>style.visibility</p:attrName>
                                        </p:attrNameLst>
                                      </p:cBhvr>
                                      <p:to>
                                        <p:strVal val="visible"/>
                                      </p:to>
                                    </p:set>
                                    <p:anim calcmode="lin" valueType="num">
                                      <p:cBhvr>
                                        <p:cTn id="19" dur="1500" fill="hold"/>
                                        <p:tgtEl>
                                          <p:spTgt spid="79"/>
                                        </p:tgtEl>
                                        <p:attrNameLst>
                                          <p:attrName>ppt_w</p:attrName>
                                        </p:attrNameLst>
                                      </p:cBhvr>
                                      <p:tavLst>
                                        <p:tav tm="0">
                                          <p:val>
                                            <p:strVal val="2/3*#ppt_w"/>
                                          </p:val>
                                        </p:tav>
                                        <p:tav tm="100000">
                                          <p:val>
                                            <p:strVal val="#ppt_w"/>
                                          </p:val>
                                        </p:tav>
                                      </p:tavLst>
                                    </p:anim>
                                    <p:anim calcmode="lin" valueType="num">
                                      <p:cBhvr>
                                        <p:cTn id="20" dur="1500" fill="hold"/>
                                        <p:tgtEl>
                                          <p:spTgt spid="79"/>
                                        </p:tgtEl>
                                        <p:attrNameLst>
                                          <p:attrName>ppt_h</p:attrName>
                                        </p:attrNameLst>
                                      </p:cBhvr>
                                      <p:tavLst>
                                        <p:tav tm="0">
                                          <p:val>
                                            <p:strVal val="2/3*#ppt_h"/>
                                          </p:val>
                                        </p:tav>
                                        <p:tav tm="100000">
                                          <p:val>
                                            <p:strVal val="#ppt_h"/>
                                          </p:val>
                                        </p:tav>
                                      </p:tavLst>
                                    </p:anim>
                                  </p:childTnLst>
                                </p:cTn>
                              </p:par>
                              <p:par>
                                <p:cTn id="21" presetID="42" presetClass="path" presetSubtype="0" accel="50000" decel="50000" fill="hold" grpId="2" nodeType="withEffect">
                                  <p:stCondLst>
                                    <p:cond delay="0"/>
                                  </p:stCondLst>
                                  <p:childTnLst>
                                    <p:animMotion origin="layout" path="M 0.06784 0.1213 L -3.33333E-6 -4.07407E-6 " pathEditMode="relative" rAng="0" ptsTypes="AA">
                                      <p:cBhvr>
                                        <p:cTn id="22" dur="1500" fill="hold"/>
                                        <p:tgtEl>
                                          <p:spTgt spid="79"/>
                                        </p:tgtEl>
                                        <p:attrNameLst>
                                          <p:attrName>ppt_x</p:attrName>
                                          <p:attrName>ppt_y</p:attrName>
                                        </p:attrNameLst>
                                      </p:cBhvr>
                                      <p:rCtr x="-3398" y="-6065"/>
                                    </p:animMotion>
                                  </p:childTnLst>
                                </p:cTn>
                              </p:par>
                              <p:par>
                                <p:cTn id="23" presetID="10" presetClass="entr" presetSubtype="0" fill="hold" grpId="0" nodeType="withEffect">
                                  <p:stCondLst>
                                    <p:cond delay="0"/>
                                  </p:stCondLst>
                                  <p:childTnLst>
                                    <p:set>
                                      <p:cBhvr>
                                        <p:cTn id="24" dur="1" fill="hold">
                                          <p:stCondLst>
                                            <p:cond delay="0"/>
                                          </p:stCondLst>
                                        </p:cTn>
                                        <p:tgtEl>
                                          <p:spTgt spid="80"/>
                                        </p:tgtEl>
                                        <p:attrNameLst>
                                          <p:attrName>style.visibility</p:attrName>
                                        </p:attrNameLst>
                                      </p:cBhvr>
                                      <p:to>
                                        <p:strVal val="visible"/>
                                      </p:to>
                                    </p:set>
                                    <p:animEffect transition="in" filter="fade">
                                      <p:cBhvr>
                                        <p:cTn id="25" dur="1500"/>
                                        <p:tgtEl>
                                          <p:spTgt spid="80"/>
                                        </p:tgtEl>
                                      </p:cBhvr>
                                    </p:animEffect>
                                  </p:childTnLst>
                                </p:cTn>
                              </p:par>
                              <p:par>
                                <p:cTn id="26" presetID="23" presetClass="entr" presetSubtype="272" fill="hold" grpId="1" nodeType="withEffect">
                                  <p:stCondLst>
                                    <p:cond delay="0"/>
                                  </p:stCondLst>
                                  <p:childTnLst>
                                    <p:set>
                                      <p:cBhvr>
                                        <p:cTn id="27" dur="1" fill="hold">
                                          <p:stCondLst>
                                            <p:cond delay="0"/>
                                          </p:stCondLst>
                                        </p:cTn>
                                        <p:tgtEl>
                                          <p:spTgt spid="80"/>
                                        </p:tgtEl>
                                        <p:attrNameLst>
                                          <p:attrName>style.visibility</p:attrName>
                                        </p:attrNameLst>
                                      </p:cBhvr>
                                      <p:to>
                                        <p:strVal val="visible"/>
                                      </p:to>
                                    </p:set>
                                    <p:anim calcmode="lin" valueType="num">
                                      <p:cBhvr>
                                        <p:cTn id="28" dur="1500" fill="hold"/>
                                        <p:tgtEl>
                                          <p:spTgt spid="80"/>
                                        </p:tgtEl>
                                        <p:attrNameLst>
                                          <p:attrName>ppt_w</p:attrName>
                                        </p:attrNameLst>
                                      </p:cBhvr>
                                      <p:tavLst>
                                        <p:tav tm="0">
                                          <p:val>
                                            <p:strVal val="2/3*#ppt_w"/>
                                          </p:val>
                                        </p:tav>
                                        <p:tav tm="100000">
                                          <p:val>
                                            <p:strVal val="#ppt_w"/>
                                          </p:val>
                                        </p:tav>
                                      </p:tavLst>
                                    </p:anim>
                                    <p:anim calcmode="lin" valueType="num">
                                      <p:cBhvr>
                                        <p:cTn id="29" dur="1500" fill="hold"/>
                                        <p:tgtEl>
                                          <p:spTgt spid="80"/>
                                        </p:tgtEl>
                                        <p:attrNameLst>
                                          <p:attrName>ppt_h</p:attrName>
                                        </p:attrNameLst>
                                      </p:cBhvr>
                                      <p:tavLst>
                                        <p:tav tm="0">
                                          <p:val>
                                            <p:strVal val="2/3*#ppt_h"/>
                                          </p:val>
                                        </p:tav>
                                        <p:tav tm="100000">
                                          <p:val>
                                            <p:strVal val="#ppt_h"/>
                                          </p:val>
                                        </p:tav>
                                      </p:tavLst>
                                    </p:anim>
                                  </p:childTnLst>
                                </p:cTn>
                              </p:par>
                              <p:par>
                                <p:cTn id="30" presetID="42" presetClass="path" presetSubtype="0" accel="50000" decel="50000" fill="hold" grpId="2" nodeType="withEffect">
                                  <p:stCondLst>
                                    <p:cond delay="0"/>
                                  </p:stCondLst>
                                  <p:childTnLst>
                                    <p:animMotion origin="layout" path="M -0.0677 0.1213 L -4.79167E-6 -4.07407E-6 " pathEditMode="relative" rAng="0" ptsTypes="AA">
                                      <p:cBhvr>
                                        <p:cTn id="31" dur="1500" fill="hold"/>
                                        <p:tgtEl>
                                          <p:spTgt spid="80"/>
                                        </p:tgtEl>
                                        <p:attrNameLst>
                                          <p:attrName>ppt_x</p:attrName>
                                          <p:attrName>ppt_y</p:attrName>
                                        </p:attrNameLst>
                                      </p:cBhvr>
                                      <p:rCtr x="3385" y="-6065"/>
                                    </p:animMotion>
                                  </p:childTnLst>
                                </p:cTn>
                              </p:par>
                              <p:par>
                                <p:cTn id="32" presetID="10" presetClass="entr" presetSubtype="0" fill="hold" grpId="0" nodeType="withEffect">
                                  <p:stCondLst>
                                    <p:cond delay="1500"/>
                                  </p:stCondLst>
                                  <p:childTnLst>
                                    <p:set>
                                      <p:cBhvr>
                                        <p:cTn id="33" dur="1" fill="hold">
                                          <p:stCondLst>
                                            <p:cond delay="0"/>
                                          </p:stCondLst>
                                        </p:cTn>
                                        <p:tgtEl>
                                          <p:spTgt spid="81"/>
                                        </p:tgtEl>
                                        <p:attrNameLst>
                                          <p:attrName>style.visibility</p:attrName>
                                        </p:attrNameLst>
                                      </p:cBhvr>
                                      <p:to>
                                        <p:strVal val="visible"/>
                                      </p:to>
                                    </p:set>
                                    <p:animEffect transition="in" filter="fade">
                                      <p:cBhvr>
                                        <p:cTn id="34" dur="1000"/>
                                        <p:tgtEl>
                                          <p:spTgt spid="81"/>
                                        </p:tgtEl>
                                      </p:cBhvr>
                                    </p:animEffect>
                                  </p:childTnLst>
                                </p:cTn>
                              </p:par>
                              <p:par>
                                <p:cTn id="35" presetID="10" presetClass="entr" presetSubtype="0" fill="hold" grpId="0" nodeType="withEffect">
                                  <p:stCondLst>
                                    <p:cond delay="1500"/>
                                  </p:stCondLst>
                                  <p:childTnLst>
                                    <p:set>
                                      <p:cBhvr>
                                        <p:cTn id="36" dur="1" fill="hold">
                                          <p:stCondLst>
                                            <p:cond delay="0"/>
                                          </p:stCondLst>
                                        </p:cTn>
                                        <p:tgtEl>
                                          <p:spTgt spid="82"/>
                                        </p:tgtEl>
                                        <p:attrNameLst>
                                          <p:attrName>style.visibility</p:attrName>
                                        </p:attrNameLst>
                                      </p:cBhvr>
                                      <p:to>
                                        <p:strVal val="visible"/>
                                      </p:to>
                                    </p:set>
                                    <p:animEffect transition="in" filter="fade">
                                      <p:cBhvr>
                                        <p:cTn id="37" dur="1000"/>
                                        <p:tgtEl>
                                          <p:spTgt spid="82"/>
                                        </p:tgtEl>
                                      </p:cBhvr>
                                    </p:animEffect>
                                  </p:childTnLst>
                                </p:cTn>
                              </p:par>
                              <p:par>
                                <p:cTn id="38" presetID="10" presetClass="entr" presetSubtype="0" fill="hold" grpId="0" nodeType="withEffect">
                                  <p:stCondLst>
                                    <p:cond delay="1500"/>
                                  </p:stCondLst>
                                  <p:childTnLst>
                                    <p:set>
                                      <p:cBhvr>
                                        <p:cTn id="39" dur="1" fill="hold">
                                          <p:stCondLst>
                                            <p:cond delay="0"/>
                                          </p:stCondLst>
                                        </p:cTn>
                                        <p:tgtEl>
                                          <p:spTgt spid="83"/>
                                        </p:tgtEl>
                                        <p:attrNameLst>
                                          <p:attrName>style.visibility</p:attrName>
                                        </p:attrNameLst>
                                      </p:cBhvr>
                                      <p:to>
                                        <p:strVal val="visible"/>
                                      </p:to>
                                    </p:set>
                                    <p:animEffect transition="in" filter="fade">
                                      <p:cBhvr>
                                        <p:cTn id="40" dur="1000"/>
                                        <p:tgtEl>
                                          <p:spTgt spid="83"/>
                                        </p:tgtEl>
                                      </p:cBhvr>
                                    </p:animEffect>
                                  </p:childTnLst>
                                </p:cTn>
                              </p:par>
                              <p:par>
                                <p:cTn id="41" presetID="10" presetClass="entr" presetSubtype="0" fill="hold" grpId="0" nodeType="withEffect">
                                  <p:stCondLst>
                                    <p:cond delay="1500"/>
                                  </p:stCondLst>
                                  <p:childTnLst>
                                    <p:set>
                                      <p:cBhvr>
                                        <p:cTn id="42" dur="1" fill="hold">
                                          <p:stCondLst>
                                            <p:cond delay="0"/>
                                          </p:stCondLst>
                                        </p:cTn>
                                        <p:tgtEl>
                                          <p:spTgt spid="84"/>
                                        </p:tgtEl>
                                        <p:attrNameLst>
                                          <p:attrName>style.visibility</p:attrName>
                                        </p:attrNameLst>
                                      </p:cBhvr>
                                      <p:to>
                                        <p:strVal val="visible"/>
                                      </p:to>
                                    </p:set>
                                    <p:animEffect transition="in" filter="fade">
                                      <p:cBhvr>
                                        <p:cTn id="43" dur="1000"/>
                                        <p:tgtEl>
                                          <p:spTgt spid="84"/>
                                        </p:tgtEl>
                                      </p:cBhvr>
                                    </p:animEffect>
                                  </p:childTnLst>
                                </p:cTn>
                              </p:par>
                              <p:par>
                                <p:cTn id="44" presetID="10" presetClass="entr" presetSubtype="0" fill="hold" grpId="0" nodeType="withEffect">
                                  <p:stCondLst>
                                    <p:cond delay="2000"/>
                                  </p:stCondLst>
                                  <p:childTnLst>
                                    <p:set>
                                      <p:cBhvr>
                                        <p:cTn id="45" dur="1" fill="hold">
                                          <p:stCondLst>
                                            <p:cond delay="0"/>
                                          </p:stCondLst>
                                        </p:cTn>
                                        <p:tgtEl>
                                          <p:spTgt spid="87"/>
                                        </p:tgtEl>
                                        <p:attrNameLst>
                                          <p:attrName>style.visibility</p:attrName>
                                        </p:attrNameLst>
                                      </p:cBhvr>
                                      <p:to>
                                        <p:strVal val="visible"/>
                                      </p:to>
                                    </p:set>
                                    <p:animEffect transition="in" filter="fade">
                                      <p:cBhvr>
                                        <p:cTn id="46" dur="500"/>
                                        <p:tgtEl>
                                          <p:spTgt spid="87"/>
                                        </p:tgtEl>
                                      </p:cBhvr>
                                    </p:animEffect>
                                  </p:childTnLst>
                                </p:cTn>
                              </p:par>
                              <p:par>
                                <p:cTn id="47" presetID="10" presetClass="entr" presetSubtype="0" fill="hold" grpId="0" nodeType="withEffect">
                                  <p:stCondLst>
                                    <p:cond delay="2000"/>
                                  </p:stCondLst>
                                  <p:childTnLst>
                                    <p:set>
                                      <p:cBhvr>
                                        <p:cTn id="48" dur="1" fill="hold">
                                          <p:stCondLst>
                                            <p:cond delay="0"/>
                                          </p:stCondLst>
                                        </p:cTn>
                                        <p:tgtEl>
                                          <p:spTgt spid="86"/>
                                        </p:tgtEl>
                                        <p:attrNameLst>
                                          <p:attrName>style.visibility</p:attrName>
                                        </p:attrNameLst>
                                      </p:cBhvr>
                                      <p:to>
                                        <p:strVal val="visible"/>
                                      </p:to>
                                    </p:set>
                                    <p:animEffect transition="in" filter="fade">
                                      <p:cBhvr>
                                        <p:cTn id="49" dur="500"/>
                                        <p:tgtEl>
                                          <p:spTgt spid="86"/>
                                        </p:tgtEl>
                                      </p:cBhvr>
                                    </p:animEffect>
                                  </p:childTnLst>
                                </p:cTn>
                              </p:par>
                              <p:par>
                                <p:cTn id="50" presetID="10" presetClass="entr" presetSubtype="0" fill="hold" grpId="0" nodeType="withEffect">
                                  <p:stCondLst>
                                    <p:cond delay="2000"/>
                                  </p:stCondLst>
                                  <p:childTnLst>
                                    <p:set>
                                      <p:cBhvr>
                                        <p:cTn id="51" dur="1" fill="hold">
                                          <p:stCondLst>
                                            <p:cond delay="0"/>
                                          </p:stCondLst>
                                        </p:cTn>
                                        <p:tgtEl>
                                          <p:spTgt spid="85"/>
                                        </p:tgtEl>
                                        <p:attrNameLst>
                                          <p:attrName>style.visibility</p:attrName>
                                        </p:attrNameLst>
                                      </p:cBhvr>
                                      <p:to>
                                        <p:strVal val="visible"/>
                                      </p:to>
                                    </p:set>
                                    <p:animEffect transition="in" filter="fade">
                                      <p:cBhvr>
                                        <p:cTn id="52" dur="500"/>
                                        <p:tgtEl>
                                          <p:spTgt spid="85"/>
                                        </p:tgtEl>
                                      </p:cBhvr>
                                    </p:animEffect>
                                  </p:childTnLst>
                                </p:cTn>
                              </p:par>
                              <p:par>
                                <p:cTn id="53" presetID="10" presetClass="entr" presetSubtype="0" fill="hold" grpId="0" nodeType="withEffect">
                                  <p:stCondLst>
                                    <p:cond delay="2500"/>
                                  </p:stCondLst>
                                  <p:childTnLst>
                                    <p:set>
                                      <p:cBhvr>
                                        <p:cTn id="54" dur="1" fill="hold">
                                          <p:stCondLst>
                                            <p:cond delay="0"/>
                                          </p:stCondLst>
                                        </p:cTn>
                                        <p:tgtEl>
                                          <p:spTgt spid="92"/>
                                        </p:tgtEl>
                                        <p:attrNameLst>
                                          <p:attrName>style.visibility</p:attrName>
                                        </p:attrNameLst>
                                      </p:cBhvr>
                                      <p:to>
                                        <p:strVal val="visible"/>
                                      </p:to>
                                    </p:set>
                                    <p:animEffect transition="in" filter="fade">
                                      <p:cBhvr>
                                        <p:cTn id="55" dur="500"/>
                                        <p:tgtEl>
                                          <p:spTgt spid="92"/>
                                        </p:tgtEl>
                                      </p:cBhvr>
                                    </p:animEffect>
                                  </p:childTnLst>
                                </p:cTn>
                              </p:par>
                              <p:par>
                                <p:cTn id="56" presetID="10" presetClass="entr" presetSubtype="0" fill="hold" grpId="0" nodeType="withEffect">
                                  <p:stCondLst>
                                    <p:cond delay="2500"/>
                                  </p:stCondLst>
                                  <p:childTnLst>
                                    <p:set>
                                      <p:cBhvr>
                                        <p:cTn id="57" dur="1" fill="hold">
                                          <p:stCondLst>
                                            <p:cond delay="0"/>
                                          </p:stCondLst>
                                        </p:cTn>
                                        <p:tgtEl>
                                          <p:spTgt spid="90"/>
                                        </p:tgtEl>
                                        <p:attrNameLst>
                                          <p:attrName>style.visibility</p:attrName>
                                        </p:attrNameLst>
                                      </p:cBhvr>
                                      <p:to>
                                        <p:strVal val="visible"/>
                                      </p:to>
                                    </p:set>
                                    <p:animEffect transition="in" filter="fade">
                                      <p:cBhvr>
                                        <p:cTn id="58" dur="500"/>
                                        <p:tgtEl>
                                          <p:spTgt spid="90"/>
                                        </p:tgtEl>
                                      </p:cBhvr>
                                    </p:animEffect>
                                  </p:childTnLst>
                                </p:cTn>
                              </p:par>
                              <p:par>
                                <p:cTn id="59" presetID="10" presetClass="entr" presetSubtype="0" fill="hold" grpId="0" nodeType="withEffect">
                                  <p:stCondLst>
                                    <p:cond delay="2500"/>
                                  </p:stCondLst>
                                  <p:childTnLst>
                                    <p:set>
                                      <p:cBhvr>
                                        <p:cTn id="60" dur="1" fill="hold">
                                          <p:stCondLst>
                                            <p:cond delay="0"/>
                                          </p:stCondLst>
                                        </p:cTn>
                                        <p:tgtEl>
                                          <p:spTgt spid="93"/>
                                        </p:tgtEl>
                                        <p:attrNameLst>
                                          <p:attrName>style.visibility</p:attrName>
                                        </p:attrNameLst>
                                      </p:cBhvr>
                                      <p:to>
                                        <p:strVal val="visible"/>
                                      </p:to>
                                    </p:set>
                                    <p:animEffect transition="in" filter="fade">
                                      <p:cBhvr>
                                        <p:cTn id="61" dur="500"/>
                                        <p:tgtEl>
                                          <p:spTgt spid="93"/>
                                        </p:tgtEl>
                                      </p:cBhvr>
                                    </p:animEffect>
                                  </p:childTnLst>
                                </p:cTn>
                              </p:par>
                              <p:par>
                                <p:cTn id="62" presetID="10" presetClass="entr" presetSubtype="0" fill="hold" grpId="0" nodeType="withEffect">
                                  <p:stCondLst>
                                    <p:cond delay="3000"/>
                                  </p:stCondLst>
                                  <p:childTnLst>
                                    <p:set>
                                      <p:cBhvr>
                                        <p:cTn id="63" dur="1" fill="hold">
                                          <p:stCondLst>
                                            <p:cond delay="0"/>
                                          </p:stCondLst>
                                        </p:cTn>
                                        <p:tgtEl>
                                          <p:spTgt spid="94"/>
                                        </p:tgtEl>
                                        <p:attrNameLst>
                                          <p:attrName>style.visibility</p:attrName>
                                        </p:attrNameLst>
                                      </p:cBhvr>
                                      <p:to>
                                        <p:strVal val="visible"/>
                                      </p:to>
                                    </p:set>
                                    <p:animEffect transition="in" filter="fade">
                                      <p:cBhvr>
                                        <p:cTn id="64" dur="500"/>
                                        <p:tgtEl>
                                          <p:spTgt spid="94"/>
                                        </p:tgtEl>
                                      </p:cBhvr>
                                    </p:animEffect>
                                  </p:childTnLst>
                                </p:cTn>
                              </p:par>
                              <p:par>
                                <p:cTn id="65" presetID="22" presetClass="entr" presetSubtype="8" fill="hold" grpId="0" nodeType="withEffect">
                                  <p:stCondLst>
                                    <p:cond delay="3000"/>
                                  </p:stCondLst>
                                  <p:childTnLst>
                                    <p:set>
                                      <p:cBhvr>
                                        <p:cTn id="66" dur="1" fill="hold">
                                          <p:stCondLst>
                                            <p:cond delay="0"/>
                                          </p:stCondLst>
                                        </p:cTn>
                                        <p:tgtEl>
                                          <p:spTgt spid="160"/>
                                        </p:tgtEl>
                                        <p:attrNameLst>
                                          <p:attrName>style.visibility</p:attrName>
                                        </p:attrNameLst>
                                      </p:cBhvr>
                                      <p:to>
                                        <p:strVal val="visible"/>
                                      </p:to>
                                    </p:set>
                                    <p:animEffect transition="in" filter="wipe(left)">
                                      <p:cBhvr>
                                        <p:cTn id="67" dur="2000"/>
                                        <p:tgtEl>
                                          <p:spTgt spid="160"/>
                                        </p:tgtEl>
                                      </p:cBhvr>
                                    </p:animEffect>
                                  </p:childTnLst>
                                </p:cTn>
                              </p:par>
                              <p:par>
                                <p:cTn id="68" presetID="22" presetClass="entr" presetSubtype="8" fill="hold" grpId="0" nodeType="withEffect">
                                  <p:stCondLst>
                                    <p:cond delay="3000"/>
                                  </p:stCondLst>
                                  <p:childTnLst>
                                    <p:set>
                                      <p:cBhvr>
                                        <p:cTn id="69" dur="1" fill="hold">
                                          <p:stCondLst>
                                            <p:cond delay="0"/>
                                          </p:stCondLst>
                                        </p:cTn>
                                        <p:tgtEl>
                                          <p:spTgt spid="108"/>
                                        </p:tgtEl>
                                        <p:attrNameLst>
                                          <p:attrName>style.visibility</p:attrName>
                                        </p:attrNameLst>
                                      </p:cBhvr>
                                      <p:to>
                                        <p:strVal val="visible"/>
                                      </p:to>
                                    </p:set>
                                    <p:animEffect transition="in" filter="wipe(left)">
                                      <p:cBhvr>
                                        <p:cTn id="70" dur="2000"/>
                                        <p:tgtEl>
                                          <p:spTgt spid="108"/>
                                        </p:tgtEl>
                                      </p:cBhvr>
                                    </p:animEffect>
                                  </p:childTnLst>
                                </p:cTn>
                              </p:par>
                              <p:par>
                                <p:cTn id="71" presetID="22" presetClass="entr" presetSubtype="8" fill="hold" grpId="0" nodeType="withEffect">
                                  <p:stCondLst>
                                    <p:cond delay="3000"/>
                                  </p:stCondLst>
                                  <p:childTnLst>
                                    <p:set>
                                      <p:cBhvr>
                                        <p:cTn id="72" dur="1" fill="hold">
                                          <p:stCondLst>
                                            <p:cond delay="0"/>
                                          </p:stCondLst>
                                        </p:cTn>
                                        <p:tgtEl>
                                          <p:spTgt spid="104"/>
                                        </p:tgtEl>
                                        <p:attrNameLst>
                                          <p:attrName>style.visibility</p:attrName>
                                        </p:attrNameLst>
                                      </p:cBhvr>
                                      <p:to>
                                        <p:strVal val="visible"/>
                                      </p:to>
                                    </p:set>
                                    <p:animEffect transition="in" filter="wipe(left)">
                                      <p:cBhvr>
                                        <p:cTn id="73" dur="2000"/>
                                        <p:tgtEl>
                                          <p:spTgt spid="104"/>
                                        </p:tgtEl>
                                      </p:cBhvr>
                                    </p:animEffect>
                                  </p:childTnLst>
                                </p:cTn>
                              </p:par>
                              <p:par>
                                <p:cTn id="74" presetID="22" presetClass="entr" presetSubtype="8" fill="hold" grpId="0" nodeType="withEffect">
                                  <p:stCondLst>
                                    <p:cond delay="3000"/>
                                  </p:stCondLst>
                                  <p:childTnLst>
                                    <p:set>
                                      <p:cBhvr>
                                        <p:cTn id="75" dur="1" fill="hold">
                                          <p:stCondLst>
                                            <p:cond delay="0"/>
                                          </p:stCondLst>
                                        </p:cTn>
                                        <p:tgtEl>
                                          <p:spTgt spid="100"/>
                                        </p:tgtEl>
                                        <p:attrNameLst>
                                          <p:attrName>style.visibility</p:attrName>
                                        </p:attrNameLst>
                                      </p:cBhvr>
                                      <p:to>
                                        <p:strVal val="visible"/>
                                      </p:to>
                                    </p:set>
                                    <p:animEffect transition="in" filter="wipe(left)">
                                      <p:cBhvr>
                                        <p:cTn id="76" dur="2000"/>
                                        <p:tgtEl>
                                          <p:spTgt spid="100"/>
                                        </p:tgtEl>
                                      </p:cBhvr>
                                    </p:animEffect>
                                  </p:childTnLst>
                                </p:cTn>
                              </p:par>
                              <p:par>
                                <p:cTn id="77" presetID="12" presetClass="entr" presetSubtype="8" fill="hold" grpId="0" nodeType="withEffect">
                                  <p:stCondLst>
                                    <p:cond delay="3500"/>
                                  </p:stCondLst>
                                  <p:childTnLst>
                                    <p:set>
                                      <p:cBhvr>
                                        <p:cTn id="78" dur="1" fill="hold">
                                          <p:stCondLst>
                                            <p:cond delay="0"/>
                                          </p:stCondLst>
                                        </p:cTn>
                                        <p:tgtEl>
                                          <p:spTgt spid="162"/>
                                        </p:tgtEl>
                                        <p:attrNameLst>
                                          <p:attrName>style.visibility</p:attrName>
                                        </p:attrNameLst>
                                      </p:cBhvr>
                                      <p:to>
                                        <p:strVal val="visible"/>
                                      </p:to>
                                    </p:set>
                                    <p:anim calcmode="lin" valueType="num">
                                      <p:cBhvr additive="base">
                                        <p:cTn id="79" dur="1500"/>
                                        <p:tgtEl>
                                          <p:spTgt spid="162"/>
                                        </p:tgtEl>
                                        <p:attrNameLst>
                                          <p:attrName>ppt_x</p:attrName>
                                        </p:attrNameLst>
                                      </p:cBhvr>
                                      <p:tavLst>
                                        <p:tav tm="0">
                                          <p:val>
                                            <p:strVal val="#ppt_x-#ppt_w*1.125000"/>
                                          </p:val>
                                        </p:tav>
                                        <p:tav tm="100000">
                                          <p:val>
                                            <p:strVal val="#ppt_x"/>
                                          </p:val>
                                        </p:tav>
                                      </p:tavLst>
                                    </p:anim>
                                    <p:animEffect transition="in" filter="wipe(right)">
                                      <p:cBhvr>
                                        <p:cTn id="80" dur="1500"/>
                                        <p:tgtEl>
                                          <p:spTgt spid="162"/>
                                        </p:tgtEl>
                                      </p:cBhvr>
                                    </p:animEffect>
                                  </p:childTnLst>
                                </p:cTn>
                              </p:par>
                              <p:par>
                                <p:cTn id="81" presetID="12" presetClass="entr" presetSubtype="8" fill="hold" grpId="0" nodeType="withEffect">
                                  <p:stCondLst>
                                    <p:cond delay="3500"/>
                                  </p:stCondLst>
                                  <p:childTnLst>
                                    <p:set>
                                      <p:cBhvr>
                                        <p:cTn id="82" dur="1" fill="hold">
                                          <p:stCondLst>
                                            <p:cond delay="0"/>
                                          </p:stCondLst>
                                        </p:cTn>
                                        <p:tgtEl>
                                          <p:spTgt spid="109"/>
                                        </p:tgtEl>
                                        <p:attrNameLst>
                                          <p:attrName>style.visibility</p:attrName>
                                        </p:attrNameLst>
                                      </p:cBhvr>
                                      <p:to>
                                        <p:strVal val="visible"/>
                                      </p:to>
                                    </p:set>
                                    <p:anim calcmode="lin" valueType="num">
                                      <p:cBhvr additive="base">
                                        <p:cTn id="83" dur="1500"/>
                                        <p:tgtEl>
                                          <p:spTgt spid="109"/>
                                        </p:tgtEl>
                                        <p:attrNameLst>
                                          <p:attrName>ppt_x</p:attrName>
                                        </p:attrNameLst>
                                      </p:cBhvr>
                                      <p:tavLst>
                                        <p:tav tm="0">
                                          <p:val>
                                            <p:strVal val="#ppt_x-#ppt_w*1.125000"/>
                                          </p:val>
                                        </p:tav>
                                        <p:tav tm="100000">
                                          <p:val>
                                            <p:strVal val="#ppt_x"/>
                                          </p:val>
                                        </p:tav>
                                      </p:tavLst>
                                    </p:anim>
                                    <p:animEffect transition="in" filter="wipe(right)">
                                      <p:cBhvr>
                                        <p:cTn id="84" dur="1500"/>
                                        <p:tgtEl>
                                          <p:spTgt spid="109"/>
                                        </p:tgtEl>
                                      </p:cBhvr>
                                    </p:animEffect>
                                  </p:childTnLst>
                                </p:cTn>
                              </p:par>
                              <p:par>
                                <p:cTn id="85" presetID="12" presetClass="entr" presetSubtype="8" fill="hold" grpId="0" nodeType="withEffect">
                                  <p:stCondLst>
                                    <p:cond delay="3500"/>
                                  </p:stCondLst>
                                  <p:childTnLst>
                                    <p:set>
                                      <p:cBhvr>
                                        <p:cTn id="86" dur="1" fill="hold">
                                          <p:stCondLst>
                                            <p:cond delay="0"/>
                                          </p:stCondLst>
                                        </p:cTn>
                                        <p:tgtEl>
                                          <p:spTgt spid="105"/>
                                        </p:tgtEl>
                                        <p:attrNameLst>
                                          <p:attrName>style.visibility</p:attrName>
                                        </p:attrNameLst>
                                      </p:cBhvr>
                                      <p:to>
                                        <p:strVal val="visible"/>
                                      </p:to>
                                    </p:set>
                                    <p:anim calcmode="lin" valueType="num">
                                      <p:cBhvr additive="base">
                                        <p:cTn id="87" dur="1500"/>
                                        <p:tgtEl>
                                          <p:spTgt spid="105"/>
                                        </p:tgtEl>
                                        <p:attrNameLst>
                                          <p:attrName>ppt_x</p:attrName>
                                        </p:attrNameLst>
                                      </p:cBhvr>
                                      <p:tavLst>
                                        <p:tav tm="0">
                                          <p:val>
                                            <p:strVal val="#ppt_x-#ppt_w*1.125000"/>
                                          </p:val>
                                        </p:tav>
                                        <p:tav tm="100000">
                                          <p:val>
                                            <p:strVal val="#ppt_x"/>
                                          </p:val>
                                        </p:tav>
                                      </p:tavLst>
                                    </p:anim>
                                    <p:animEffect transition="in" filter="wipe(right)">
                                      <p:cBhvr>
                                        <p:cTn id="88" dur="1500"/>
                                        <p:tgtEl>
                                          <p:spTgt spid="105"/>
                                        </p:tgtEl>
                                      </p:cBhvr>
                                    </p:animEffect>
                                  </p:childTnLst>
                                </p:cTn>
                              </p:par>
                              <p:par>
                                <p:cTn id="89" presetID="12" presetClass="entr" presetSubtype="8" fill="hold" grpId="0" nodeType="withEffect">
                                  <p:stCondLst>
                                    <p:cond delay="3500"/>
                                  </p:stCondLst>
                                  <p:childTnLst>
                                    <p:set>
                                      <p:cBhvr>
                                        <p:cTn id="90" dur="1" fill="hold">
                                          <p:stCondLst>
                                            <p:cond delay="0"/>
                                          </p:stCondLst>
                                        </p:cTn>
                                        <p:tgtEl>
                                          <p:spTgt spid="101"/>
                                        </p:tgtEl>
                                        <p:attrNameLst>
                                          <p:attrName>style.visibility</p:attrName>
                                        </p:attrNameLst>
                                      </p:cBhvr>
                                      <p:to>
                                        <p:strVal val="visible"/>
                                      </p:to>
                                    </p:set>
                                    <p:anim calcmode="lin" valueType="num">
                                      <p:cBhvr additive="base">
                                        <p:cTn id="91" dur="1500"/>
                                        <p:tgtEl>
                                          <p:spTgt spid="101"/>
                                        </p:tgtEl>
                                        <p:attrNameLst>
                                          <p:attrName>ppt_x</p:attrName>
                                        </p:attrNameLst>
                                      </p:cBhvr>
                                      <p:tavLst>
                                        <p:tav tm="0">
                                          <p:val>
                                            <p:strVal val="#ppt_x-#ppt_w*1.125000"/>
                                          </p:val>
                                        </p:tav>
                                        <p:tav tm="100000">
                                          <p:val>
                                            <p:strVal val="#ppt_x"/>
                                          </p:val>
                                        </p:tav>
                                      </p:tavLst>
                                    </p:anim>
                                    <p:animEffect transition="in" filter="wipe(right)">
                                      <p:cBhvr>
                                        <p:cTn id="92" dur="150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78" grpId="1" animBg="1"/>
      <p:bldP spid="78" grpId="2" animBg="1"/>
      <p:bldP spid="79" grpId="0" animBg="1"/>
      <p:bldP spid="79" grpId="1" animBg="1"/>
      <p:bldP spid="79" grpId="2" animBg="1"/>
      <p:bldP spid="80" grpId="0" animBg="1"/>
      <p:bldP spid="80" grpId="1" animBg="1"/>
      <p:bldP spid="80" grpId="2" animBg="1"/>
      <p:bldP spid="81" grpId="0" animBg="1"/>
      <p:bldP spid="82" grpId="0" animBg="1"/>
      <p:bldP spid="83" grpId="0" animBg="1"/>
      <p:bldP spid="84" grpId="0" animBg="1"/>
      <p:bldP spid="85" grpId="0"/>
      <p:bldP spid="86" grpId="0"/>
      <p:bldP spid="87" grpId="0"/>
      <p:bldP spid="90" grpId="0"/>
      <p:bldP spid="92" grpId="0"/>
      <p:bldP spid="93" grpId="0"/>
      <p:bldP spid="94" grpId="0"/>
      <p:bldP spid="160" grpId="0" animBg="1"/>
      <p:bldP spid="162" grpId="0"/>
      <p:bldP spid="100" grpId="0" animBg="1"/>
      <p:bldP spid="101" grpId="0"/>
      <p:bldP spid="104" grpId="0" animBg="1"/>
      <p:bldP spid="105" grpId="0"/>
      <p:bldP spid="108" grpId="0" animBg="1"/>
      <p:bldP spid="10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48BCDF36-037A-421B-8809-51BF0F88BE19}"/>
              </a:ext>
            </a:extLst>
          </p:cNvPr>
          <p:cNvSpPr txBox="1"/>
          <p:nvPr/>
        </p:nvSpPr>
        <p:spPr>
          <a:xfrm>
            <a:off x="903762" y="2921169"/>
            <a:ext cx="3169345" cy="1015663"/>
          </a:xfrm>
          <a:prstGeom prst="rect">
            <a:avLst/>
          </a:prstGeom>
          <a:noFill/>
        </p:spPr>
        <p:txBody>
          <a:bodyPr wrap="square" rtlCol="0">
            <a:spAutoFit/>
          </a:bodyPr>
          <a:lstStyle/>
          <a:p>
            <a:r>
              <a:rPr lang="en-US" sz="3000" b="1" dirty="0">
                <a:solidFill>
                  <a:schemeClr val="tx2">
                    <a:lumMod val="40000"/>
                    <a:lumOff val="60000"/>
                  </a:schemeClr>
                </a:solidFill>
                <a:latin typeface="Montserrat" panose="00000500000000000000" pitchFamily="50" charset="0"/>
              </a:rPr>
              <a:t>COMPETITIVE ANALYSIS</a:t>
            </a:r>
          </a:p>
        </p:txBody>
      </p:sp>
      <p:grpSp>
        <p:nvGrpSpPr>
          <p:cNvPr id="35" name="Group 34">
            <a:extLst>
              <a:ext uri="{FF2B5EF4-FFF2-40B4-BE49-F238E27FC236}">
                <a16:creationId xmlns:a16="http://schemas.microsoft.com/office/drawing/2014/main" id="{FC5C717D-59FE-4B91-88B7-3ABF4E98F528}"/>
              </a:ext>
            </a:extLst>
          </p:cNvPr>
          <p:cNvGrpSpPr/>
          <p:nvPr/>
        </p:nvGrpSpPr>
        <p:grpSpPr>
          <a:xfrm>
            <a:off x="4593529" y="552450"/>
            <a:ext cx="6770801" cy="5648644"/>
            <a:chOff x="4980302" y="552450"/>
            <a:chExt cx="6770801" cy="5648644"/>
          </a:xfrm>
        </p:grpSpPr>
        <p:grpSp>
          <p:nvGrpSpPr>
            <p:cNvPr id="17" name="Group 16">
              <a:extLst>
                <a:ext uri="{FF2B5EF4-FFF2-40B4-BE49-F238E27FC236}">
                  <a16:creationId xmlns:a16="http://schemas.microsoft.com/office/drawing/2014/main" id="{B917CD2E-FEA7-47FC-9589-94075F2412F8}"/>
                </a:ext>
              </a:extLst>
            </p:cNvPr>
            <p:cNvGrpSpPr/>
            <p:nvPr/>
          </p:nvGrpSpPr>
          <p:grpSpPr>
            <a:xfrm>
              <a:off x="4980302" y="552450"/>
              <a:ext cx="5946986" cy="5648644"/>
              <a:chOff x="1222703" y="1411896"/>
              <a:chExt cx="4293436" cy="4078048"/>
            </a:xfrm>
          </p:grpSpPr>
          <p:sp>
            <p:nvSpPr>
              <p:cNvPr id="18" name="Circle">
                <a:extLst>
                  <a:ext uri="{FF2B5EF4-FFF2-40B4-BE49-F238E27FC236}">
                    <a16:creationId xmlns:a16="http://schemas.microsoft.com/office/drawing/2014/main" id="{3C7818AD-1E76-4B54-B634-F8E723675B54}"/>
                  </a:ext>
                </a:extLst>
              </p:cNvPr>
              <p:cNvSpPr/>
              <p:nvPr/>
            </p:nvSpPr>
            <p:spPr>
              <a:xfrm>
                <a:off x="1913491" y="1411896"/>
                <a:ext cx="2911861" cy="2911858"/>
              </a:xfrm>
              <a:prstGeom prst="ellipse">
                <a:avLst/>
              </a:prstGeom>
              <a:gradFill>
                <a:gsLst>
                  <a:gs pos="100000">
                    <a:schemeClr val="accent1">
                      <a:alpha val="50000"/>
                    </a:schemeClr>
                  </a:gs>
                  <a:gs pos="0">
                    <a:schemeClr val="accent1">
                      <a:alpha val="10000"/>
                    </a:schemeClr>
                  </a:gs>
                </a:gsLst>
                <a:lin ang="16200000" scaled="0"/>
              </a:gradFill>
              <a:ln w="25400" cap="flat">
                <a:solidFill>
                  <a:schemeClr val="bg1"/>
                </a:solid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19" name="Circle">
                <a:extLst>
                  <a:ext uri="{FF2B5EF4-FFF2-40B4-BE49-F238E27FC236}">
                    <a16:creationId xmlns:a16="http://schemas.microsoft.com/office/drawing/2014/main" id="{4A7E8070-E64C-4D93-9206-E7DF0FC7E85E}"/>
                  </a:ext>
                </a:extLst>
              </p:cNvPr>
              <p:cNvSpPr/>
              <p:nvPr/>
            </p:nvSpPr>
            <p:spPr>
              <a:xfrm>
                <a:off x="1222703" y="2578086"/>
                <a:ext cx="2911861" cy="2911858"/>
              </a:xfrm>
              <a:prstGeom prst="ellipse">
                <a:avLst/>
              </a:prstGeom>
              <a:gradFill>
                <a:gsLst>
                  <a:gs pos="100000">
                    <a:schemeClr val="accent3">
                      <a:alpha val="50000"/>
                    </a:schemeClr>
                  </a:gs>
                  <a:gs pos="0">
                    <a:schemeClr val="accent3">
                      <a:alpha val="10000"/>
                    </a:schemeClr>
                  </a:gs>
                </a:gsLst>
                <a:lin ang="8100000" scaled="0"/>
              </a:gradFill>
              <a:ln w="25400" cap="flat">
                <a:solidFill>
                  <a:schemeClr val="bg1"/>
                </a:solid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20" name="Circle">
                <a:extLst>
                  <a:ext uri="{FF2B5EF4-FFF2-40B4-BE49-F238E27FC236}">
                    <a16:creationId xmlns:a16="http://schemas.microsoft.com/office/drawing/2014/main" id="{895533AF-3859-4BEC-BB01-94E89DB57086}"/>
                  </a:ext>
                </a:extLst>
              </p:cNvPr>
              <p:cNvSpPr/>
              <p:nvPr/>
            </p:nvSpPr>
            <p:spPr>
              <a:xfrm>
                <a:off x="2604278" y="2578086"/>
                <a:ext cx="2911861" cy="2911858"/>
              </a:xfrm>
              <a:prstGeom prst="ellipse">
                <a:avLst/>
              </a:prstGeom>
              <a:gradFill>
                <a:gsLst>
                  <a:gs pos="100000">
                    <a:schemeClr val="accent4">
                      <a:alpha val="50000"/>
                    </a:schemeClr>
                  </a:gs>
                  <a:gs pos="0">
                    <a:schemeClr val="accent4">
                      <a:alpha val="10000"/>
                    </a:schemeClr>
                  </a:gs>
                </a:gsLst>
                <a:lin ang="2700000" scaled="0"/>
              </a:gradFill>
              <a:ln w="25400" cap="flat">
                <a:solidFill>
                  <a:schemeClr val="bg1"/>
                </a:solid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21" name="Freeform: Shape 20">
                <a:extLst>
                  <a:ext uri="{FF2B5EF4-FFF2-40B4-BE49-F238E27FC236}">
                    <a16:creationId xmlns:a16="http://schemas.microsoft.com/office/drawing/2014/main" id="{E2BCDBF6-3AD9-4F17-873F-4FB6E001FF0B}"/>
                  </a:ext>
                </a:extLst>
              </p:cNvPr>
              <p:cNvSpPr/>
              <p:nvPr/>
            </p:nvSpPr>
            <p:spPr>
              <a:xfrm>
                <a:off x="2607966" y="2760821"/>
                <a:ext cx="1522910" cy="1563910"/>
              </a:xfrm>
              <a:custGeom>
                <a:avLst/>
                <a:gdLst>
                  <a:gd name="connsiteX0" fmla="*/ 834643 w 1669285"/>
                  <a:gd name="connsiteY0" fmla="*/ 0 h 1714227"/>
                  <a:gd name="connsiteX1" fmla="*/ 838128 w 1669285"/>
                  <a:gd name="connsiteY1" fmla="*/ 1679 h 1714227"/>
                  <a:gd name="connsiteX2" fmla="*/ 1669285 w 1669285"/>
                  <a:gd name="connsiteY2" fmla="*/ 1398170 h 1714227"/>
                  <a:gd name="connsiteX3" fmla="*/ 1665262 w 1669285"/>
                  <a:gd name="connsiteY3" fmla="*/ 1477830 h 1714227"/>
                  <a:gd name="connsiteX4" fmla="*/ 1591662 w 1669285"/>
                  <a:gd name="connsiteY4" fmla="*/ 1522543 h 1714227"/>
                  <a:gd name="connsiteX5" fmla="*/ 834643 w 1669285"/>
                  <a:gd name="connsiteY5" fmla="*/ 1714227 h 1714227"/>
                  <a:gd name="connsiteX6" fmla="*/ 77624 w 1669285"/>
                  <a:gd name="connsiteY6" fmla="*/ 1522543 h 1714227"/>
                  <a:gd name="connsiteX7" fmla="*/ 4023 w 1669285"/>
                  <a:gd name="connsiteY7" fmla="*/ 1477829 h 1714227"/>
                  <a:gd name="connsiteX8" fmla="*/ 0 w 1669285"/>
                  <a:gd name="connsiteY8" fmla="*/ 1398170 h 1714227"/>
                  <a:gd name="connsiteX9" fmla="*/ 831157 w 1669285"/>
                  <a:gd name="connsiteY9" fmla="*/ 1679 h 1714227"/>
                  <a:gd name="connsiteX10" fmla="*/ 834643 w 1669285"/>
                  <a:gd name="connsiteY10" fmla="*/ 0 h 1714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69285" h="1714227">
                    <a:moveTo>
                      <a:pt x="834643" y="0"/>
                    </a:moveTo>
                    <a:lnTo>
                      <a:pt x="838128" y="1679"/>
                    </a:lnTo>
                    <a:cubicBezTo>
                      <a:pt x="1333202" y="270620"/>
                      <a:pt x="1669285" y="795147"/>
                      <a:pt x="1669285" y="1398170"/>
                    </a:cubicBezTo>
                    <a:lnTo>
                      <a:pt x="1665262" y="1477830"/>
                    </a:lnTo>
                    <a:lnTo>
                      <a:pt x="1591662" y="1522543"/>
                    </a:lnTo>
                    <a:cubicBezTo>
                      <a:pt x="1366628" y="1644789"/>
                      <a:pt x="1108745" y="1714227"/>
                      <a:pt x="834643" y="1714227"/>
                    </a:cubicBezTo>
                    <a:cubicBezTo>
                      <a:pt x="560541" y="1714227"/>
                      <a:pt x="302658" y="1644789"/>
                      <a:pt x="77624" y="1522543"/>
                    </a:cubicBezTo>
                    <a:lnTo>
                      <a:pt x="4023" y="1477829"/>
                    </a:lnTo>
                    <a:lnTo>
                      <a:pt x="0" y="1398170"/>
                    </a:lnTo>
                    <a:cubicBezTo>
                      <a:pt x="0" y="795147"/>
                      <a:pt x="336083" y="270620"/>
                      <a:pt x="831157" y="1679"/>
                    </a:cubicBezTo>
                    <a:lnTo>
                      <a:pt x="834643" y="0"/>
                    </a:lnTo>
                    <a:close/>
                  </a:path>
                </a:pathLst>
              </a:custGeom>
              <a:solidFill>
                <a:schemeClr val="bg1"/>
              </a:solidFill>
              <a:ln w="25400" cap="flat">
                <a:noFill/>
                <a:miter lim="400000"/>
              </a:ln>
              <a:effectLst/>
            </p:spPr>
            <p:txBody>
              <a:bodyPr wrap="square" lIns="0" tIns="274320" rIns="0" bIns="0" numCol="1" anchor="ctr">
                <a:noAutofit/>
              </a:bodyPr>
              <a:lstStyle/>
              <a:p>
                <a:pPr algn="ctr" defTabSz="412750" hangingPunct="0">
                  <a:defRPr sz="3200" b="0">
                    <a:solidFill>
                      <a:srgbClr val="FFFFFF"/>
                    </a:solidFill>
                    <a:latin typeface="+mn-lt"/>
                    <a:ea typeface="+mn-ea"/>
                    <a:cs typeface="+mn-cs"/>
                    <a:sym typeface="Helvetica Neue Medium"/>
                  </a:defRPr>
                </a:pPr>
                <a:endParaRPr sz="1400" b="1" kern="0" dirty="0">
                  <a:solidFill>
                    <a:srgbClr val="FFFFFF"/>
                  </a:solidFill>
                  <a:latin typeface="Montserrat" panose="00000500000000000000" pitchFamily="50" charset="0"/>
                  <a:ea typeface="Helvetica Neue Medium"/>
                  <a:cs typeface="Helvetica Neue Medium"/>
                  <a:sym typeface="Helvetica Neue Medium"/>
                </a:endParaRPr>
              </a:p>
            </p:txBody>
          </p:sp>
          <p:sp>
            <p:nvSpPr>
              <p:cNvPr id="22" name="Freeform: Shape 21">
                <a:extLst>
                  <a:ext uri="{FF2B5EF4-FFF2-40B4-BE49-F238E27FC236}">
                    <a16:creationId xmlns:a16="http://schemas.microsoft.com/office/drawing/2014/main" id="{15D1A2E8-413D-46C2-BEF6-22C69B0BCC36}"/>
                  </a:ext>
                </a:extLst>
              </p:cNvPr>
              <p:cNvSpPr/>
              <p:nvPr/>
            </p:nvSpPr>
            <p:spPr>
              <a:xfrm>
                <a:off x="1913490" y="2578086"/>
                <a:ext cx="1455931" cy="1528955"/>
              </a:xfrm>
              <a:custGeom>
                <a:avLst/>
                <a:gdLst>
                  <a:gd name="connsiteX0" fmla="*/ 834642 w 1588176"/>
                  <a:gd name="connsiteY0" fmla="*/ 0 h 1667834"/>
                  <a:gd name="connsiteX1" fmla="*/ 1452832 w 1588176"/>
                  <a:gd name="connsiteY1" fmla="*/ 124807 h 1667834"/>
                  <a:gd name="connsiteX2" fmla="*/ 1588176 w 1588176"/>
                  <a:gd name="connsiteY2" fmla="*/ 190005 h 1667834"/>
                  <a:gd name="connsiteX3" fmla="*/ 1584690 w 1588176"/>
                  <a:gd name="connsiteY3" fmla="*/ 191684 h 1667834"/>
                  <a:gd name="connsiteX4" fmla="*/ 753533 w 1588176"/>
                  <a:gd name="connsiteY4" fmla="*/ 1588175 h 1667834"/>
                  <a:gd name="connsiteX5" fmla="*/ 757556 w 1588176"/>
                  <a:gd name="connsiteY5" fmla="*/ 1667834 h 1667834"/>
                  <a:gd name="connsiteX6" fmla="*/ 700212 w 1588176"/>
                  <a:gd name="connsiteY6" fmla="*/ 1632997 h 1667834"/>
                  <a:gd name="connsiteX7" fmla="*/ 0 w 1588176"/>
                  <a:gd name="connsiteY7" fmla="*/ 316057 h 1667834"/>
                  <a:gd name="connsiteX8" fmla="*/ 4023 w 1588176"/>
                  <a:gd name="connsiteY8" fmla="*/ 236397 h 1667834"/>
                  <a:gd name="connsiteX9" fmla="*/ 77623 w 1588176"/>
                  <a:gd name="connsiteY9" fmla="*/ 191684 h 1667834"/>
                  <a:gd name="connsiteX10" fmla="*/ 834642 w 1588176"/>
                  <a:gd name="connsiteY10" fmla="*/ 0 h 1667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8176" h="1667834">
                    <a:moveTo>
                      <a:pt x="834642" y="0"/>
                    </a:moveTo>
                    <a:cubicBezTo>
                      <a:pt x="1053923" y="0"/>
                      <a:pt x="1262825" y="44441"/>
                      <a:pt x="1452832" y="124807"/>
                    </a:cubicBezTo>
                    <a:lnTo>
                      <a:pt x="1588176" y="190005"/>
                    </a:lnTo>
                    <a:lnTo>
                      <a:pt x="1584690" y="191684"/>
                    </a:lnTo>
                    <a:cubicBezTo>
                      <a:pt x="1089616" y="460625"/>
                      <a:pt x="753533" y="985152"/>
                      <a:pt x="753533" y="1588175"/>
                    </a:cubicBezTo>
                    <a:lnTo>
                      <a:pt x="757556" y="1667834"/>
                    </a:lnTo>
                    <a:lnTo>
                      <a:pt x="700212" y="1632997"/>
                    </a:lnTo>
                    <a:cubicBezTo>
                      <a:pt x="277754" y="1347590"/>
                      <a:pt x="0" y="864260"/>
                      <a:pt x="0" y="316057"/>
                    </a:cubicBezTo>
                    <a:lnTo>
                      <a:pt x="4023" y="236397"/>
                    </a:lnTo>
                    <a:lnTo>
                      <a:pt x="77623" y="191684"/>
                    </a:lnTo>
                    <a:cubicBezTo>
                      <a:pt x="302657" y="69439"/>
                      <a:pt x="560540" y="0"/>
                      <a:pt x="834642" y="0"/>
                    </a:cubicBezTo>
                    <a:close/>
                  </a:path>
                </a:pathLst>
              </a:custGeom>
              <a:solidFill>
                <a:schemeClr val="bg1">
                  <a:alpha val="50000"/>
                </a:schemeClr>
              </a:solidFill>
              <a:ln w="25400" cap="flat">
                <a:solidFill>
                  <a:schemeClr val="bg1"/>
                </a:solidFill>
                <a:miter lim="400000"/>
              </a:ln>
              <a:effectLst/>
            </p:spPr>
            <p:txBody>
              <a:bodyPr wrap="square" lIns="0" tIns="0" rIns="0" bIns="0" numCol="1" anchor="ctr">
                <a:noAutofit/>
              </a:bodyPr>
              <a:lstStyle/>
              <a:p>
                <a:pPr algn="ctr" defTabSz="412750" hangingPunct="0">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sp>
            <p:nvSpPr>
              <p:cNvPr id="23" name="Freeform: Shape 22">
                <a:extLst>
                  <a:ext uri="{FF2B5EF4-FFF2-40B4-BE49-F238E27FC236}">
                    <a16:creationId xmlns:a16="http://schemas.microsoft.com/office/drawing/2014/main" id="{74501767-81E2-484C-9014-C9F6908DCE48}"/>
                  </a:ext>
                </a:extLst>
              </p:cNvPr>
              <p:cNvSpPr/>
              <p:nvPr/>
            </p:nvSpPr>
            <p:spPr>
              <a:xfrm>
                <a:off x="3369421" y="2578087"/>
                <a:ext cx="1455931" cy="1528956"/>
              </a:xfrm>
              <a:custGeom>
                <a:avLst/>
                <a:gdLst>
                  <a:gd name="connsiteX0" fmla="*/ 753533 w 1588176"/>
                  <a:gd name="connsiteY0" fmla="*/ 0 h 1667835"/>
                  <a:gd name="connsiteX1" fmla="*/ 1510552 w 1588176"/>
                  <a:gd name="connsiteY1" fmla="*/ 191684 h 1667835"/>
                  <a:gd name="connsiteX2" fmla="*/ 1584153 w 1588176"/>
                  <a:gd name="connsiteY2" fmla="*/ 236398 h 1667835"/>
                  <a:gd name="connsiteX3" fmla="*/ 1588176 w 1588176"/>
                  <a:gd name="connsiteY3" fmla="*/ 316057 h 1667835"/>
                  <a:gd name="connsiteX4" fmla="*/ 887964 w 1588176"/>
                  <a:gd name="connsiteY4" fmla="*/ 1632997 h 1667835"/>
                  <a:gd name="connsiteX5" fmla="*/ 830619 w 1588176"/>
                  <a:gd name="connsiteY5" fmla="*/ 1667835 h 1667835"/>
                  <a:gd name="connsiteX6" fmla="*/ 834642 w 1588176"/>
                  <a:gd name="connsiteY6" fmla="*/ 1588175 h 1667835"/>
                  <a:gd name="connsiteX7" fmla="*/ 3485 w 1588176"/>
                  <a:gd name="connsiteY7" fmla="*/ 191684 h 1667835"/>
                  <a:gd name="connsiteX8" fmla="*/ 0 w 1588176"/>
                  <a:gd name="connsiteY8" fmla="*/ 190005 h 1667835"/>
                  <a:gd name="connsiteX9" fmla="*/ 135343 w 1588176"/>
                  <a:gd name="connsiteY9" fmla="*/ 124807 h 1667835"/>
                  <a:gd name="connsiteX10" fmla="*/ 753533 w 1588176"/>
                  <a:gd name="connsiteY10" fmla="*/ 0 h 166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8176" h="1667835">
                    <a:moveTo>
                      <a:pt x="753533" y="0"/>
                    </a:moveTo>
                    <a:cubicBezTo>
                      <a:pt x="1027635" y="0"/>
                      <a:pt x="1285518" y="69439"/>
                      <a:pt x="1510552" y="191684"/>
                    </a:cubicBezTo>
                    <a:lnTo>
                      <a:pt x="1584153" y="236398"/>
                    </a:lnTo>
                    <a:lnTo>
                      <a:pt x="1588176" y="316057"/>
                    </a:lnTo>
                    <a:cubicBezTo>
                      <a:pt x="1588176" y="864260"/>
                      <a:pt x="1310422" y="1347590"/>
                      <a:pt x="887964" y="1632997"/>
                    </a:cubicBezTo>
                    <a:lnTo>
                      <a:pt x="830619" y="1667835"/>
                    </a:lnTo>
                    <a:lnTo>
                      <a:pt x="834642" y="1588175"/>
                    </a:lnTo>
                    <a:cubicBezTo>
                      <a:pt x="834642" y="985152"/>
                      <a:pt x="498559" y="460625"/>
                      <a:pt x="3485" y="191684"/>
                    </a:cubicBezTo>
                    <a:lnTo>
                      <a:pt x="0" y="190005"/>
                    </a:lnTo>
                    <a:lnTo>
                      <a:pt x="135343" y="124807"/>
                    </a:lnTo>
                    <a:cubicBezTo>
                      <a:pt x="325350" y="44441"/>
                      <a:pt x="534252" y="0"/>
                      <a:pt x="753533" y="0"/>
                    </a:cubicBezTo>
                    <a:close/>
                  </a:path>
                </a:pathLst>
              </a:custGeom>
              <a:solidFill>
                <a:schemeClr val="bg1">
                  <a:alpha val="50000"/>
                </a:schemeClr>
              </a:solidFill>
              <a:ln w="25400" cap="flat">
                <a:solidFill>
                  <a:schemeClr val="bg1"/>
                </a:solid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24" name="Freeform: Shape 23">
                <a:extLst>
                  <a:ext uri="{FF2B5EF4-FFF2-40B4-BE49-F238E27FC236}">
                    <a16:creationId xmlns:a16="http://schemas.microsoft.com/office/drawing/2014/main" id="{89F19889-505F-4AE8-B99C-158ED708DA39}"/>
                  </a:ext>
                </a:extLst>
              </p:cNvPr>
              <p:cNvSpPr/>
              <p:nvPr/>
            </p:nvSpPr>
            <p:spPr>
              <a:xfrm>
                <a:off x="2607966" y="4107042"/>
                <a:ext cx="1522910" cy="1208720"/>
              </a:xfrm>
              <a:custGeom>
                <a:avLst/>
                <a:gdLst>
                  <a:gd name="connsiteX0" fmla="*/ 0 w 1661239"/>
                  <a:gd name="connsiteY0" fmla="*/ 0 h 1318511"/>
                  <a:gd name="connsiteX1" fmla="*/ 73601 w 1661239"/>
                  <a:gd name="connsiteY1" fmla="*/ 44714 h 1318511"/>
                  <a:gd name="connsiteX2" fmla="*/ 830620 w 1661239"/>
                  <a:gd name="connsiteY2" fmla="*/ 236398 h 1318511"/>
                  <a:gd name="connsiteX3" fmla="*/ 1587639 w 1661239"/>
                  <a:gd name="connsiteY3" fmla="*/ 44714 h 1318511"/>
                  <a:gd name="connsiteX4" fmla="*/ 1661239 w 1661239"/>
                  <a:gd name="connsiteY4" fmla="*/ 1 h 1318511"/>
                  <a:gd name="connsiteX5" fmla="*/ 1657062 w 1661239"/>
                  <a:gd name="connsiteY5" fmla="*/ 82723 h 1318511"/>
                  <a:gd name="connsiteX6" fmla="*/ 834105 w 1661239"/>
                  <a:gd name="connsiteY6" fmla="*/ 1316832 h 1318511"/>
                  <a:gd name="connsiteX7" fmla="*/ 830620 w 1661239"/>
                  <a:gd name="connsiteY7" fmla="*/ 1318511 h 1318511"/>
                  <a:gd name="connsiteX8" fmla="*/ 827134 w 1661239"/>
                  <a:gd name="connsiteY8" fmla="*/ 1316832 h 1318511"/>
                  <a:gd name="connsiteX9" fmla="*/ 4177 w 1661239"/>
                  <a:gd name="connsiteY9" fmla="*/ 82723 h 1318511"/>
                  <a:gd name="connsiteX10" fmla="*/ 0 w 1661239"/>
                  <a:gd name="connsiteY10" fmla="*/ 0 h 131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61239" h="1318511">
                    <a:moveTo>
                      <a:pt x="0" y="0"/>
                    </a:moveTo>
                    <a:lnTo>
                      <a:pt x="73601" y="44714"/>
                    </a:lnTo>
                    <a:cubicBezTo>
                      <a:pt x="298635" y="166960"/>
                      <a:pt x="556518" y="236398"/>
                      <a:pt x="830620" y="236398"/>
                    </a:cubicBezTo>
                    <a:cubicBezTo>
                      <a:pt x="1104722" y="236398"/>
                      <a:pt x="1362605" y="166960"/>
                      <a:pt x="1587639" y="44714"/>
                    </a:cubicBezTo>
                    <a:lnTo>
                      <a:pt x="1661239" y="1"/>
                    </a:lnTo>
                    <a:lnTo>
                      <a:pt x="1657062" y="82723"/>
                    </a:lnTo>
                    <a:cubicBezTo>
                      <a:pt x="1602842" y="616621"/>
                      <a:pt x="1284173" y="1072341"/>
                      <a:pt x="834105" y="1316832"/>
                    </a:cubicBezTo>
                    <a:lnTo>
                      <a:pt x="830620" y="1318511"/>
                    </a:lnTo>
                    <a:lnTo>
                      <a:pt x="827134" y="1316832"/>
                    </a:lnTo>
                    <a:cubicBezTo>
                      <a:pt x="377067" y="1072341"/>
                      <a:pt x="58397" y="616621"/>
                      <a:pt x="4177" y="82723"/>
                    </a:cubicBezTo>
                    <a:lnTo>
                      <a:pt x="0" y="0"/>
                    </a:lnTo>
                    <a:close/>
                  </a:path>
                </a:pathLst>
              </a:custGeom>
              <a:solidFill>
                <a:schemeClr val="bg1">
                  <a:alpha val="50000"/>
                </a:schemeClr>
              </a:solidFill>
              <a:ln w="25400" cap="flat">
                <a:solidFill>
                  <a:schemeClr val="bg1"/>
                </a:solid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grpSp>
        <p:sp>
          <p:nvSpPr>
            <p:cNvPr id="31" name="TextBox 30">
              <a:extLst>
                <a:ext uri="{FF2B5EF4-FFF2-40B4-BE49-F238E27FC236}">
                  <a16:creationId xmlns:a16="http://schemas.microsoft.com/office/drawing/2014/main" id="{18F07927-1E59-41AC-B6DD-C691F5B9A2FC}"/>
                </a:ext>
              </a:extLst>
            </p:cNvPr>
            <p:cNvSpPr txBox="1"/>
            <p:nvPr/>
          </p:nvSpPr>
          <p:spPr>
            <a:xfrm>
              <a:off x="7154536" y="1237586"/>
              <a:ext cx="1598515" cy="400110"/>
            </a:xfrm>
            <a:prstGeom prst="rect">
              <a:avLst/>
            </a:prstGeom>
            <a:noFill/>
          </p:spPr>
          <p:txBody>
            <a:bodyPr wrap="none" rtlCol="0">
              <a:spAutoFit/>
            </a:bodyPr>
            <a:lstStyle/>
            <a:p>
              <a:pPr algn="ctr"/>
              <a:r>
                <a:rPr lang="en-US" sz="2000" b="1" dirty="0">
                  <a:solidFill>
                    <a:schemeClr val="bg1"/>
                  </a:solidFill>
                  <a:latin typeface="Montserrat" panose="00000500000000000000" pitchFamily="50" charset="0"/>
                </a:rPr>
                <a:t>COMPANY</a:t>
              </a:r>
            </a:p>
          </p:txBody>
        </p:sp>
        <p:sp>
          <p:nvSpPr>
            <p:cNvPr id="36" name="TextBox 35">
              <a:extLst>
                <a:ext uri="{FF2B5EF4-FFF2-40B4-BE49-F238E27FC236}">
                  <a16:creationId xmlns:a16="http://schemas.microsoft.com/office/drawing/2014/main" id="{AE3E4F3B-57A8-4BDB-A089-B1D423625466}"/>
                </a:ext>
              </a:extLst>
            </p:cNvPr>
            <p:cNvSpPr txBox="1"/>
            <p:nvPr/>
          </p:nvSpPr>
          <p:spPr>
            <a:xfrm rot="18031690">
              <a:off x="7221010" y="2876081"/>
              <a:ext cx="3384346" cy="2616712"/>
            </a:xfrm>
            <a:prstGeom prst="rect">
              <a:avLst/>
            </a:prstGeom>
            <a:noFill/>
          </p:spPr>
          <p:txBody>
            <a:bodyPr wrap="none" rtlCol="0">
              <a:prstTxWarp prst="textArchDown">
                <a:avLst>
                  <a:gd name="adj" fmla="val 358717"/>
                </a:avLst>
              </a:prstTxWarp>
              <a:spAutoFit/>
            </a:bodyPr>
            <a:lstStyle/>
            <a:p>
              <a:pPr algn="ctr"/>
              <a:r>
                <a:rPr lang="en-US" sz="2000" b="1" dirty="0">
                  <a:solidFill>
                    <a:schemeClr val="bg1"/>
                  </a:solidFill>
                  <a:latin typeface="Montserrat" panose="00000500000000000000" pitchFamily="50" charset="0"/>
                </a:rPr>
                <a:t>CUSTOMER</a:t>
              </a:r>
            </a:p>
          </p:txBody>
        </p:sp>
        <p:sp>
          <p:nvSpPr>
            <p:cNvPr id="37" name="TextBox 36">
              <a:extLst>
                <a:ext uri="{FF2B5EF4-FFF2-40B4-BE49-F238E27FC236}">
                  <a16:creationId xmlns:a16="http://schemas.microsoft.com/office/drawing/2014/main" id="{37509E3A-16B6-4E55-8F76-CBC407093606}"/>
                </a:ext>
              </a:extLst>
            </p:cNvPr>
            <p:cNvSpPr txBox="1"/>
            <p:nvPr/>
          </p:nvSpPr>
          <p:spPr>
            <a:xfrm rot="3608676">
              <a:off x="5401936" y="2876079"/>
              <a:ext cx="3195158" cy="2616712"/>
            </a:xfrm>
            <a:prstGeom prst="rect">
              <a:avLst/>
            </a:prstGeom>
            <a:noFill/>
          </p:spPr>
          <p:txBody>
            <a:bodyPr wrap="none" rtlCol="0">
              <a:prstTxWarp prst="textArchDown">
                <a:avLst>
                  <a:gd name="adj" fmla="val 739953"/>
                </a:avLst>
              </a:prstTxWarp>
              <a:spAutoFit/>
            </a:bodyPr>
            <a:lstStyle/>
            <a:p>
              <a:pPr algn="ctr"/>
              <a:r>
                <a:rPr lang="en-US" sz="2000" b="1" dirty="0">
                  <a:solidFill>
                    <a:schemeClr val="bg1"/>
                  </a:solidFill>
                  <a:latin typeface="Montserrat" panose="00000500000000000000" pitchFamily="50" charset="0"/>
                </a:rPr>
                <a:t>COMPETITOR</a:t>
              </a:r>
            </a:p>
          </p:txBody>
        </p:sp>
        <p:grpSp>
          <p:nvGrpSpPr>
            <p:cNvPr id="30" name="Group 29">
              <a:extLst>
                <a:ext uri="{FF2B5EF4-FFF2-40B4-BE49-F238E27FC236}">
                  <a16:creationId xmlns:a16="http://schemas.microsoft.com/office/drawing/2014/main" id="{0F116916-BD9E-4767-8FBC-63767215CEAE}"/>
                </a:ext>
              </a:extLst>
            </p:cNvPr>
            <p:cNvGrpSpPr/>
            <p:nvPr/>
          </p:nvGrpSpPr>
          <p:grpSpPr>
            <a:xfrm>
              <a:off x="9132948" y="2538899"/>
              <a:ext cx="2258979" cy="307841"/>
              <a:chOff x="7378347" y="1244392"/>
              <a:chExt cx="2258979" cy="307841"/>
            </a:xfrm>
          </p:grpSpPr>
          <p:sp>
            <p:nvSpPr>
              <p:cNvPr id="28" name="Freeform: Shape 27">
                <a:extLst>
                  <a:ext uri="{FF2B5EF4-FFF2-40B4-BE49-F238E27FC236}">
                    <a16:creationId xmlns:a16="http://schemas.microsoft.com/office/drawing/2014/main" id="{24E7A300-0BDA-4DE8-9D42-1F9FBB923B44}"/>
                  </a:ext>
                </a:extLst>
              </p:cNvPr>
              <p:cNvSpPr/>
              <p:nvPr/>
            </p:nvSpPr>
            <p:spPr>
              <a:xfrm rot="8100000">
                <a:off x="7378347" y="1244392"/>
                <a:ext cx="272008" cy="272010"/>
              </a:xfrm>
              <a:custGeom>
                <a:avLst/>
                <a:gdLst>
                  <a:gd name="connsiteX0" fmla="*/ 256449 w 914400"/>
                  <a:gd name="connsiteY0" fmla="*/ 657951 h 914400"/>
                  <a:gd name="connsiteX1" fmla="*/ 457200 w 914400"/>
                  <a:gd name="connsiteY1" fmla="*/ 741105 h 914400"/>
                  <a:gd name="connsiteX2" fmla="*/ 741105 w 914400"/>
                  <a:gd name="connsiteY2" fmla="*/ 457200 h 914400"/>
                  <a:gd name="connsiteX3" fmla="*/ 457200 w 914400"/>
                  <a:gd name="connsiteY3" fmla="*/ 173295 h 914400"/>
                  <a:gd name="connsiteX4" fmla="*/ 173295 w 914400"/>
                  <a:gd name="connsiteY4" fmla="*/ 457200 h 914400"/>
                  <a:gd name="connsiteX5" fmla="*/ 256449 w 914400"/>
                  <a:gd name="connsiteY5" fmla="*/ 657951 h 914400"/>
                  <a:gd name="connsiteX6" fmla="*/ 133911 w 914400"/>
                  <a:gd name="connsiteY6" fmla="*/ 780489 h 914400"/>
                  <a:gd name="connsiteX7" fmla="*/ 0 w 914400"/>
                  <a:gd name="connsiteY7" fmla="*/ 457200 h 914400"/>
                  <a:gd name="connsiteX8" fmla="*/ 457200 w 914400"/>
                  <a:gd name="connsiteY8" fmla="*/ 0 h 914400"/>
                  <a:gd name="connsiteX9" fmla="*/ 914400 w 914400"/>
                  <a:gd name="connsiteY9" fmla="*/ 0 h 914400"/>
                  <a:gd name="connsiteX10" fmla="*/ 914400 w 914400"/>
                  <a:gd name="connsiteY10" fmla="*/ 457200 h 914400"/>
                  <a:gd name="connsiteX11" fmla="*/ 457200 w 914400"/>
                  <a:gd name="connsiteY11" fmla="*/ 914400 h 914400"/>
                  <a:gd name="connsiteX12" fmla="*/ 133911 w 914400"/>
                  <a:gd name="connsiteY12" fmla="*/ 780489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 h="914400">
                    <a:moveTo>
                      <a:pt x="256449" y="657951"/>
                    </a:moveTo>
                    <a:cubicBezTo>
                      <a:pt x="307826" y="709328"/>
                      <a:pt x="378802" y="741105"/>
                      <a:pt x="457200" y="741105"/>
                    </a:cubicBezTo>
                    <a:cubicBezTo>
                      <a:pt x="613996" y="741105"/>
                      <a:pt x="741105" y="613996"/>
                      <a:pt x="741105" y="457200"/>
                    </a:cubicBezTo>
                    <a:cubicBezTo>
                      <a:pt x="741105" y="300404"/>
                      <a:pt x="613996" y="173295"/>
                      <a:pt x="457200" y="173295"/>
                    </a:cubicBezTo>
                    <a:cubicBezTo>
                      <a:pt x="300404" y="173295"/>
                      <a:pt x="173295" y="300404"/>
                      <a:pt x="173295" y="457200"/>
                    </a:cubicBezTo>
                    <a:cubicBezTo>
                      <a:pt x="173295" y="535598"/>
                      <a:pt x="205072" y="606574"/>
                      <a:pt x="256449" y="657951"/>
                    </a:cubicBezTo>
                    <a:close/>
                    <a:moveTo>
                      <a:pt x="133911" y="780489"/>
                    </a:moveTo>
                    <a:cubicBezTo>
                      <a:pt x="51174" y="697752"/>
                      <a:pt x="0" y="583452"/>
                      <a:pt x="0" y="457200"/>
                    </a:cubicBezTo>
                    <a:cubicBezTo>
                      <a:pt x="0" y="204695"/>
                      <a:pt x="204695" y="0"/>
                      <a:pt x="457200" y="0"/>
                    </a:cubicBezTo>
                    <a:lnTo>
                      <a:pt x="914400" y="0"/>
                    </a:lnTo>
                    <a:lnTo>
                      <a:pt x="914400" y="457200"/>
                    </a:lnTo>
                    <a:cubicBezTo>
                      <a:pt x="914400" y="709705"/>
                      <a:pt x="709705" y="914400"/>
                      <a:pt x="457200" y="914400"/>
                    </a:cubicBezTo>
                    <a:cubicBezTo>
                      <a:pt x="330948" y="914400"/>
                      <a:pt x="216648" y="863226"/>
                      <a:pt x="133911" y="780489"/>
                    </a:cubicBezTo>
                    <a:close/>
                  </a:path>
                </a:pathLst>
              </a:custGeom>
              <a:gradFill>
                <a:gsLst>
                  <a:gs pos="0">
                    <a:schemeClr val="accent4">
                      <a:lumMod val="75000"/>
                    </a:schemeClr>
                  </a:gs>
                  <a:gs pos="100000">
                    <a:schemeClr val="accent4">
                      <a:alpha val="50000"/>
                    </a:schemeClr>
                  </a:gs>
                </a:gsLst>
                <a:lin ang="8100000" scaled="0"/>
              </a:gradFill>
              <a:ln>
                <a:noFill/>
              </a:ln>
              <a:effectLst>
                <a:outerShdw blurRad="88900" dir="8400000" sy="23000" kx="-1200000" algn="b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TextBox 28">
                <a:extLst>
                  <a:ext uri="{FF2B5EF4-FFF2-40B4-BE49-F238E27FC236}">
                    <a16:creationId xmlns:a16="http://schemas.microsoft.com/office/drawing/2014/main" id="{3511BBAD-6966-48B9-8783-C4D46E77574B}"/>
                  </a:ext>
                </a:extLst>
              </p:cNvPr>
              <p:cNvSpPr txBox="1"/>
              <p:nvPr/>
            </p:nvSpPr>
            <p:spPr>
              <a:xfrm>
                <a:off x="7711799" y="1275234"/>
                <a:ext cx="1925527" cy="276999"/>
              </a:xfrm>
              <a:prstGeom prst="rect">
                <a:avLst/>
              </a:prstGeom>
              <a:noFill/>
            </p:spPr>
            <p:txBody>
              <a:bodyPr wrap="none" rtlCol="0">
                <a:spAutoFit/>
              </a:bodyPr>
              <a:lstStyle/>
              <a:p>
                <a:r>
                  <a:rPr lang="en-US" sz="1200" dirty="0">
                    <a:latin typeface="Montserrat" panose="00000500000000000000" pitchFamily="50" charset="0"/>
                  </a:rPr>
                  <a:t>Knowledge Sales Reps</a:t>
                </a:r>
              </a:p>
            </p:txBody>
          </p:sp>
        </p:grpSp>
        <p:grpSp>
          <p:nvGrpSpPr>
            <p:cNvPr id="32" name="Group 31">
              <a:extLst>
                <a:ext uri="{FF2B5EF4-FFF2-40B4-BE49-F238E27FC236}">
                  <a16:creationId xmlns:a16="http://schemas.microsoft.com/office/drawing/2014/main" id="{90EDE225-F063-40C8-8E52-2BB4672F76FB}"/>
                </a:ext>
              </a:extLst>
            </p:cNvPr>
            <p:cNvGrpSpPr/>
            <p:nvPr/>
          </p:nvGrpSpPr>
          <p:grpSpPr>
            <a:xfrm>
              <a:off x="7496737" y="3459743"/>
              <a:ext cx="1933570" cy="307841"/>
              <a:chOff x="7378347" y="1244392"/>
              <a:chExt cx="1933570" cy="307841"/>
            </a:xfrm>
          </p:grpSpPr>
          <p:sp>
            <p:nvSpPr>
              <p:cNvPr id="33" name="Freeform: Shape 32">
                <a:extLst>
                  <a:ext uri="{FF2B5EF4-FFF2-40B4-BE49-F238E27FC236}">
                    <a16:creationId xmlns:a16="http://schemas.microsoft.com/office/drawing/2014/main" id="{413B3657-46E4-4F9E-8A00-2573261E425B}"/>
                  </a:ext>
                </a:extLst>
              </p:cNvPr>
              <p:cNvSpPr/>
              <p:nvPr/>
            </p:nvSpPr>
            <p:spPr>
              <a:xfrm rot="8100000">
                <a:off x="7378347" y="1244392"/>
                <a:ext cx="272008" cy="272010"/>
              </a:xfrm>
              <a:custGeom>
                <a:avLst/>
                <a:gdLst>
                  <a:gd name="connsiteX0" fmla="*/ 256449 w 914400"/>
                  <a:gd name="connsiteY0" fmla="*/ 657951 h 914400"/>
                  <a:gd name="connsiteX1" fmla="*/ 457200 w 914400"/>
                  <a:gd name="connsiteY1" fmla="*/ 741105 h 914400"/>
                  <a:gd name="connsiteX2" fmla="*/ 741105 w 914400"/>
                  <a:gd name="connsiteY2" fmla="*/ 457200 h 914400"/>
                  <a:gd name="connsiteX3" fmla="*/ 457200 w 914400"/>
                  <a:gd name="connsiteY3" fmla="*/ 173295 h 914400"/>
                  <a:gd name="connsiteX4" fmla="*/ 173295 w 914400"/>
                  <a:gd name="connsiteY4" fmla="*/ 457200 h 914400"/>
                  <a:gd name="connsiteX5" fmla="*/ 256449 w 914400"/>
                  <a:gd name="connsiteY5" fmla="*/ 657951 h 914400"/>
                  <a:gd name="connsiteX6" fmla="*/ 133911 w 914400"/>
                  <a:gd name="connsiteY6" fmla="*/ 780489 h 914400"/>
                  <a:gd name="connsiteX7" fmla="*/ 0 w 914400"/>
                  <a:gd name="connsiteY7" fmla="*/ 457200 h 914400"/>
                  <a:gd name="connsiteX8" fmla="*/ 457200 w 914400"/>
                  <a:gd name="connsiteY8" fmla="*/ 0 h 914400"/>
                  <a:gd name="connsiteX9" fmla="*/ 914400 w 914400"/>
                  <a:gd name="connsiteY9" fmla="*/ 0 h 914400"/>
                  <a:gd name="connsiteX10" fmla="*/ 914400 w 914400"/>
                  <a:gd name="connsiteY10" fmla="*/ 457200 h 914400"/>
                  <a:gd name="connsiteX11" fmla="*/ 457200 w 914400"/>
                  <a:gd name="connsiteY11" fmla="*/ 914400 h 914400"/>
                  <a:gd name="connsiteX12" fmla="*/ 133911 w 914400"/>
                  <a:gd name="connsiteY12" fmla="*/ 780489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 h="914400">
                    <a:moveTo>
                      <a:pt x="256449" y="657951"/>
                    </a:moveTo>
                    <a:cubicBezTo>
                      <a:pt x="307826" y="709328"/>
                      <a:pt x="378802" y="741105"/>
                      <a:pt x="457200" y="741105"/>
                    </a:cubicBezTo>
                    <a:cubicBezTo>
                      <a:pt x="613996" y="741105"/>
                      <a:pt x="741105" y="613996"/>
                      <a:pt x="741105" y="457200"/>
                    </a:cubicBezTo>
                    <a:cubicBezTo>
                      <a:pt x="741105" y="300404"/>
                      <a:pt x="613996" y="173295"/>
                      <a:pt x="457200" y="173295"/>
                    </a:cubicBezTo>
                    <a:cubicBezTo>
                      <a:pt x="300404" y="173295"/>
                      <a:pt x="173295" y="300404"/>
                      <a:pt x="173295" y="457200"/>
                    </a:cubicBezTo>
                    <a:cubicBezTo>
                      <a:pt x="173295" y="535598"/>
                      <a:pt x="205072" y="606574"/>
                      <a:pt x="256449" y="657951"/>
                    </a:cubicBezTo>
                    <a:close/>
                    <a:moveTo>
                      <a:pt x="133911" y="780489"/>
                    </a:moveTo>
                    <a:cubicBezTo>
                      <a:pt x="51174" y="697752"/>
                      <a:pt x="0" y="583452"/>
                      <a:pt x="0" y="457200"/>
                    </a:cubicBezTo>
                    <a:cubicBezTo>
                      <a:pt x="0" y="204695"/>
                      <a:pt x="204695" y="0"/>
                      <a:pt x="457200" y="0"/>
                    </a:cubicBezTo>
                    <a:lnTo>
                      <a:pt x="914400" y="0"/>
                    </a:lnTo>
                    <a:lnTo>
                      <a:pt x="914400" y="457200"/>
                    </a:lnTo>
                    <a:cubicBezTo>
                      <a:pt x="914400" y="709705"/>
                      <a:pt x="709705" y="914400"/>
                      <a:pt x="457200" y="914400"/>
                    </a:cubicBezTo>
                    <a:cubicBezTo>
                      <a:pt x="330948" y="914400"/>
                      <a:pt x="216648" y="863226"/>
                      <a:pt x="133911" y="780489"/>
                    </a:cubicBezTo>
                    <a:close/>
                  </a:path>
                </a:pathLst>
              </a:custGeom>
              <a:gradFill>
                <a:gsLst>
                  <a:gs pos="0">
                    <a:schemeClr val="accent1"/>
                  </a:gs>
                  <a:gs pos="100000">
                    <a:schemeClr val="accent4">
                      <a:alpha val="0"/>
                    </a:schemeClr>
                  </a:gs>
                </a:gsLst>
                <a:lin ang="8100000" scaled="0"/>
              </a:gradFill>
              <a:ln>
                <a:noFill/>
              </a:ln>
              <a:effectLst>
                <a:outerShdw blurRad="88900" dir="8400000" sy="23000" kx="-1200000" algn="b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4" name="TextBox 33">
                <a:extLst>
                  <a:ext uri="{FF2B5EF4-FFF2-40B4-BE49-F238E27FC236}">
                    <a16:creationId xmlns:a16="http://schemas.microsoft.com/office/drawing/2014/main" id="{EED46DF7-BBAF-4365-AB01-1A6C7C8D820B}"/>
                  </a:ext>
                </a:extLst>
              </p:cNvPr>
              <p:cNvSpPr txBox="1"/>
              <p:nvPr/>
            </p:nvSpPr>
            <p:spPr>
              <a:xfrm>
                <a:off x="7711799" y="1275234"/>
                <a:ext cx="1600118" cy="276999"/>
              </a:xfrm>
              <a:prstGeom prst="rect">
                <a:avLst/>
              </a:prstGeom>
              <a:noFill/>
            </p:spPr>
            <p:txBody>
              <a:bodyPr wrap="none" rtlCol="0">
                <a:spAutoFit/>
              </a:bodyPr>
              <a:lstStyle/>
              <a:p>
                <a:r>
                  <a:rPr lang="en-US" sz="1200" dirty="0">
                    <a:latin typeface="Montserrat" panose="00000500000000000000" pitchFamily="50" charset="0"/>
                  </a:rPr>
                  <a:t>Latest Technology</a:t>
                </a:r>
              </a:p>
            </p:txBody>
          </p:sp>
        </p:grpSp>
        <p:grpSp>
          <p:nvGrpSpPr>
            <p:cNvPr id="38" name="Group 37">
              <a:extLst>
                <a:ext uri="{FF2B5EF4-FFF2-40B4-BE49-F238E27FC236}">
                  <a16:creationId xmlns:a16="http://schemas.microsoft.com/office/drawing/2014/main" id="{B83B07DB-25DB-42FA-B751-BE3540145336}"/>
                </a:ext>
              </a:extLst>
            </p:cNvPr>
            <p:cNvGrpSpPr/>
            <p:nvPr/>
          </p:nvGrpSpPr>
          <p:grpSpPr>
            <a:xfrm>
              <a:off x="6503251" y="2312371"/>
              <a:ext cx="1273133" cy="307841"/>
              <a:chOff x="7378347" y="1244392"/>
              <a:chExt cx="1273133" cy="307841"/>
            </a:xfrm>
          </p:grpSpPr>
          <p:sp>
            <p:nvSpPr>
              <p:cNvPr id="39" name="Freeform: Shape 38">
                <a:extLst>
                  <a:ext uri="{FF2B5EF4-FFF2-40B4-BE49-F238E27FC236}">
                    <a16:creationId xmlns:a16="http://schemas.microsoft.com/office/drawing/2014/main" id="{ADF9FE45-9C18-43A9-9B1C-773785D56621}"/>
                  </a:ext>
                </a:extLst>
              </p:cNvPr>
              <p:cNvSpPr/>
              <p:nvPr/>
            </p:nvSpPr>
            <p:spPr>
              <a:xfrm rot="8100000">
                <a:off x="7378347" y="1244392"/>
                <a:ext cx="272008" cy="272010"/>
              </a:xfrm>
              <a:custGeom>
                <a:avLst/>
                <a:gdLst>
                  <a:gd name="connsiteX0" fmla="*/ 256449 w 914400"/>
                  <a:gd name="connsiteY0" fmla="*/ 657951 h 914400"/>
                  <a:gd name="connsiteX1" fmla="*/ 457200 w 914400"/>
                  <a:gd name="connsiteY1" fmla="*/ 741105 h 914400"/>
                  <a:gd name="connsiteX2" fmla="*/ 741105 w 914400"/>
                  <a:gd name="connsiteY2" fmla="*/ 457200 h 914400"/>
                  <a:gd name="connsiteX3" fmla="*/ 457200 w 914400"/>
                  <a:gd name="connsiteY3" fmla="*/ 173295 h 914400"/>
                  <a:gd name="connsiteX4" fmla="*/ 173295 w 914400"/>
                  <a:gd name="connsiteY4" fmla="*/ 457200 h 914400"/>
                  <a:gd name="connsiteX5" fmla="*/ 256449 w 914400"/>
                  <a:gd name="connsiteY5" fmla="*/ 657951 h 914400"/>
                  <a:gd name="connsiteX6" fmla="*/ 133911 w 914400"/>
                  <a:gd name="connsiteY6" fmla="*/ 780489 h 914400"/>
                  <a:gd name="connsiteX7" fmla="*/ 0 w 914400"/>
                  <a:gd name="connsiteY7" fmla="*/ 457200 h 914400"/>
                  <a:gd name="connsiteX8" fmla="*/ 457200 w 914400"/>
                  <a:gd name="connsiteY8" fmla="*/ 0 h 914400"/>
                  <a:gd name="connsiteX9" fmla="*/ 914400 w 914400"/>
                  <a:gd name="connsiteY9" fmla="*/ 0 h 914400"/>
                  <a:gd name="connsiteX10" fmla="*/ 914400 w 914400"/>
                  <a:gd name="connsiteY10" fmla="*/ 457200 h 914400"/>
                  <a:gd name="connsiteX11" fmla="*/ 457200 w 914400"/>
                  <a:gd name="connsiteY11" fmla="*/ 914400 h 914400"/>
                  <a:gd name="connsiteX12" fmla="*/ 133911 w 914400"/>
                  <a:gd name="connsiteY12" fmla="*/ 780489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 h="914400">
                    <a:moveTo>
                      <a:pt x="256449" y="657951"/>
                    </a:moveTo>
                    <a:cubicBezTo>
                      <a:pt x="307826" y="709328"/>
                      <a:pt x="378802" y="741105"/>
                      <a:pt x="457200" y="741105"/>
                    </a:cubicBezTo>
                    <a:cubicBezTo>
                      <a:pt x="613996" y="741105"/>
                      <a:pt x="741105" y="613996"/>
                      <a:pt x="741105" y="457200"/>
                    </a:cubicBezTo>
                    <a:cubicBezTo>
                      <a:pt x="741105" y="300404"/>
                      <a:pt x="613996" y="173295"/>
                      <a:pt x="457200" y="173295"/>
                    </a:cubicBezTo>
                    <a:cubicBezTo>
                      <a:pt x="300404" y="173295"/>
                      <a:pt x="173295" y="300404"/>
                      <a:pt x="173295" y="457200"/>
                    </a:cubicBezTo>
                    <a:cubicBezTo>
                      <a:pt x="173295" y="535598"/>
                      <a:pt x="205072" y="606574"/>
                      <a:pt x="256449" y="657951"/>
                    </a:cubicBezTo>
                    <a:close/>
                    <a:moveTo>
                      <a:pt x="133911" y="780489"/>
                    </a:moveTo>
                    <a:cubicBezTo>
                      <a:pt x="51174" y="697752"/>
                      <a:pt x="0" y="583452"/>
                      <a:pt x="0" y="457200"/>
                    </a:cubicBezTo>
                    <a:cubicBezTo>
                      <a:pt x="0" y="204695"/>
                      <a:pt x="204695" y="0"/>
                      <a:pt x="457200" y="0"/>
                    </a:cubicBezTo>
                    <a:lnTo>
                      <a:pt x="914400" y="0"/>
                    </a:lnTo>
                    <a:lnTo>
                      <a:pt x="914400" y="457200"/>
                    </a:lnTo>
                    <a:cubicBezTo>
                      <a:pt x="914400" y="709705"/>
                      <a:pt x="709705" y="914400"/>
                      <a:pt x="457200" y="914400"/>
                    </a:cubicBezTo>
                    <a:cubicBezTo>
                      <a:pt x="330948" y="914400"/>
                      <a:pt x="216648" y="863226"/>
                      <a:pt x="133911" y="780489"/>
                    </a:cubicBezTo>
                    <a:close/>
                  </a:path>
                </a:pathLst>
              </a:custGeom>
              <a:gradFill>
                <a:gsLst>
                  <a:gs pos="0">
                    <a:schemeClr val="accent3"/>
                  </a:gs>
                  <a:gs pos="100000">
                    <a:schemeClr val="accent3">
                      <a:alpha val="10000"/>
                    </a:schemeClr>
                  </a:gs>
                </a:gsLst>
                <a:lin ang="8100000" scaled="0"/>
              </a:gradFill>
              <a:ln>
                <a:noFill/>
              </a:ln>
              <a:effectLst>
                <a:outerShdw blurRad="88900" dir="8400000" sy="23000" kx="-1200000" algn="b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0" name="TextBox 39">
                <a:extLst>
                  <a:ext uri="{FF2B5EF4-FFF2-40B4-BE49-F238E27FC236}">
                    <a16:creationId xmlns:a16="http://schemas.microsoft.com/office/drawing/2014/main" id="{660991B3-2597-4B30-A500-95392B005E27}"/>
                  </a:ext>
                </a:extLst>
              </p:cNvPr>
              <p:cNvSpPr txBox="1"/>
              <p:nvPr/>
            </p:nvSpPr>
            <p:spPr>
              <a:xfrm>
                <a:off x="7711799" y="1275234"/>
                <a:ext cx="939681" cy="276999"/>
              </a:xfrm>
              <a:prstGeom prst="rect">
                <a:avLst/>
              </a:prstGeom>
              <a:noFill/>
            </p:spPr>
            <p:txBody>
              <a:bodyPr wrap="none" rtlCol="0">
                <a:spAutoFit/>
              </a:bodyPr>
              <a:lstStyle/>
              <a:p>
                <a:r>
                  <a:rPr lang="en-US" sz="1200" dirty="0">
                    <a:latin typeface="Montserrat" panose="00000500000000000000" pitchFamily="50" charset="0"/>
                  </a:rPr>
                  <a:t>Low Price</a:t>
                </a:r>
              </a:p>
            </p:txBody>
          </p:sp>
        </p:grpSp>
        <p:grpSp>
          <p:nvGrpSpPr>
            <p:cNvPr id="41" name="Group 40">
              <a:extLst>
                <a:ext uri="{FF2B5EF4-FFF2-40B4-BE49-F238E27FC236}">
                  <a16:creationId xmlns:a16="http://schemas.microsoft.com/office/drawing/2014/main" id="{D8B2C896-2C45-49F6-97FB-653500A7F182}"/>
                </a:ext>
              </a:extLst>
            </p:cNvPr>
            <p:cNvGrpSpPr/>
            <p:nvPr/>
          </p:nvGrpSpPr>
          <p:grpSpPr>
            <a:xfrm>
              <a:off x="7486463" y="4795736"/>
              <a:ext cx="1922349" cy="532453"/>
              <a:chOff x="7378347" y="1141884"/>
              <a:chExt cx="1922349" cy="532453"/>
            </a:xfrm>
          </p:grpSpPr>
          <p:sp>
            <p:nvSpPr>
              <p:cNvPr id="42" name="Freeform: Shape 41">
                <a:extLst>
                  <a:ext uri="{FF2B5EF4-FFF2-40B4-BE49-F238E27FC236}">
                    <a16:creationId xmlns:a16="http://schemas.microsoft.com/office/drawing/2014/main" id="{5EB89561-3BE0-4CD4-9035-6A6F4600BA36}"/>
                  </a:ext>
                </a:extLst>
              </p:cNvPr>
              <p:cNvSpPr/>
              <p:nvPr/>
            </p:nvSpPr>
            <p:spPr>
              <a:xfrm rot="8100000">
                <a:off x="7378347" y="1244392"/>
                <a:ext cx="272008" cy="272010"/>
              </a:xfrm>
              <a:custGeom>
                <a:avLst/>
                <a:gdLst>
                  <a:gd name="connsiteX0" fmla="*/ 256449 w 914400"/>
                  <a:gd name="connsiteY0" fmla="*/ 657951 h 914400"/>
                  <a:gd name="connsiteX1" fmla="*/ 457200 w 914400"/>
                  <a:gd name="connsiteY1" fmla="*/ 741105 h 914400"/>
                  <a:gd name="connsiteX2" fmla="*/ 741105 w 914400"/>
                  <a:gd name="connsiteY2" fmla="*/ 457200 h 914400"/>
                  <a:gd name="connsiteX3" fmla="*/ 457200 w 914400"/>
                  <a:gd name="connsiteY3" fmla="*/ 173295 h 914400"/>
                  <a:gd name="connsiteX4" fmla="*/ 173295 w 914400"/>
                  <a:gd name="connsiteY4" fmla="*/ 457200 h 914400"/>
                  <a:gd name="connsiteX5" fmla="*/ 256449 w 914400"/>
                  <a:gd name="connsiteY5" fmla="*/ 657951 h 914400"/>
                  <a:gd name="connsiteX6" fmla="*/ 133911 w 914400"/>
                  <a:gd name="connsiteY6" fmla="*/ 780489 h 914400"/>
                  <a:gd name="connsiteX7" fmla="*/ 0 w 914400"/>
                  <a:gd name="connsiteY7" fmla="*/ 457200 h 914400"/>
                  <a:gd name="connsiteX8" fmla="*/ 457200 w 914400"/>
                  <a:gd name="connsiteY8" fmla="*/ 0 h 914400"/>
                  <a:gd name="connsiteX9" fmla="*/ 914400 w 914400"/>
                  <a:gd name="connsiteY9" fmla="*/ 0 h 914400"/>
                  <a:gd name="connsiteX10" fmla="*/ 914400 w 914400"/>
                  <a:gd name="connsiteY10" fmla="*/ 457200 h 914400"/>
                  <a:gd name="connsiteX11" fmla="*/ 457200 w 914400"/>
                  <a:gd name="connsiteY11" fmla="*/ 914400 h 914400"/>
                  <a:gd name="connsiteX12" fmla="*/ 133911 w 914400"/>
                  <a:gd name="connsiteY12" fmla="*/ 780489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 h="914400">
                    <a:moveTo>
                      <a:pt x="256449" y="657951"/>
                    </a:moveTo>
                    <a:cubicBezTo>
                      <a:pt x="307826" y="709328"/>
                      <a:pt x="378802" y="741105"/>
                      <a:pt x="457200" y="741105"/>
                    </a:cubicBezTo>
                    <a:cubicBezTo>
                      <a:pt x="613996" y="741105"/>
                      <a:pt x="741105" y="613996"/>
                      <a:pt x="741105" y="457200"/>
                    </a:cubicBezTo>
                    <a:cubicBezTo>
                      <a:pt x="741105" y="300404"/>
                      <a:pt x="613996" y="173295"/>
                      <a:pt x="457200" y="173295"/>
                    </a:cubicBezTo>
                    <a:cubicBezTo>
                      <a:pt x="300404" y="173295"/>
                      <a:pt x="173295" y="300404"/>
                      <a:pt x="173295" y="457200"/>
                    </a:cubicBezTo>
                    <a:cubicBezTo>
                      <a:pt x="173295" y="535598"/>
                      <a:pt x="205072" y="606574"/>
                      <a:pt x="256449" y="657951"/>
                    </a:cubicBezTo>
                    <a:close/>
                    <a:moveTo>
                      <a:pt x="133911" y="780489"/>
                    </a:moveTo>
                    <a:cubicBezTo>
                      <a:pt x="51174" y="697752"/>
                      <a:pt x="0" y="583452"/>
                      <a:pt x="0" y="457200"/>
                    </a:cubicBezTo>
                    <a:cubicBezTo>
                      <a:pt x="0" y="204695"/>
                      <a:pt x="204695" y="0"/>
                      <a:pt x="457200" y="0"/>
                    </a:cubicBezTo>
                    <a:lnTo>
                      <a:pt x="914400" y="0"/>
                    </a:lnTo>
                    <a:lnTo>
                      <a:pt x="914400" y="457200"/>
                    </a:lnTo>
                    <a:cubicBezTo>
                      <a:pt x="914400" y="709705"/>
                      <a:pt x="709705" y="914400"/>
                      <a:pt x="457200" y="914400"/>
                    </a:cubicBezTo>
                    <a:cubicBezTo>
                      <a:pt x="330948" y="914400"/>
                      <a:pt x="216648" y="863226"/>
                      <a:pt x="133911" y="780489"/>
                    </a:cubicBezTo>
                    <a:close/>
                  </a:path>
                </a:pathLst>
              </a:custGeom>
              <a:gradFill>
                <a:gsLst>
                  <a:gs pos="0">
                    <a:schemeClr val="accent2">
                      <a:lumMod val="75000"/>
                      <a:lumOff val="25000"/>
                    </a:schemeClr>
                  </a:gs>
                  <a:gs pos="100000">
                    <a:schemeClr val="accent2">
                      <a:lumMod val="50000"/>
                      <a:lumOff val="50000"/>
                      <a:alpha val="0"/>
                    </a:schemeClr>
                  </a:gs>
                </a:gsLst>
                <a:lin ang="8100000" scaled="0"/>
              </a:gradFill>
              <a:ln>
                <a:noFill/>
              </a:ln>
              <a:effectLst>
                <a:outerShdw blurRad="88900" dir="8400000" sy="23000" kx="-1200000" algn="b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3" name="TextBox 42">
                <a:extLst>
                  <a:ext uri="{FF2B5EF4-FFF2-40B4-BE49-F238E27FC236}">
                    <a16:creationId xmlns:a16="http://schemas.microsoft.com/office/drawing/2014/main" id="{90005C26-5DA9-4C1C-83D7-9581BD90796A}"/>
                  </a:ext>
                </a:extLst>
              </p:cNvPr>
              <p:cNvSpPr txBox="1"/>
              <p:nvPr/>
            </p:nvSpPr>
            <p:spPr>
              <a:xfrm>
                <a:off x="7711799" y="1141884"/>
                <a:ext cx="1588897" cy="532453"/>
              </a:xfrm>
              <a:prstGeom prst="rect">
                <a:avLst/>
              </a:prstGeom>
              <a:noFill/>
            </p:spPr>
            <p:txBody>
              <a:bodyPr wrap="none" rtlCol="0">
                <a:spAutoFit/>
              </a:bodyPr>
              <a:lstStyle/>
              <a:p>
                <a:pPr>
                  <a:lnSpc>
                    <a:spcPts val="1800"/>
                  </a:lnSpc>
                </a:pPr>
                <a:r>
                  <a:rPr lang="en-US" sz="1200" dirty="0">
                    <a:latin typeface="Montserrat" panose="00000500000000000000" pitchFamily="50" charset="0"/>
                  </a:rPr>
                  <a:t>Helpfulness of</a:t>
                </a:r>
              </a:p>
              <a:p>
                <a:pPr>
                  <a:lnSpc>
                    <a:spcPts val="1800"/>
                  </a:lnSpc>
                </a:pPr>
                <a:r>
                  <a:rPr lang="en-US" sz="1200" dirty="0">
                    <a:latin typeface="Montserrat" panose="00000500000000000000" pitchFamily="50" charset="0"/>
                  </a:rPr>
                  <a:t>Technical Support</a:t>
                </a:r>
              </a:p>
            </p:txBody>
          </p:sp>
        </p:grpSp>
        <p:grpSp>
          <p:nvGrpSpPr>
            <p:cNvPr id="44" name="Group 43">
              <a:extLst>
                <a:ext uri="{FF2B5EF4-FFF2-40B4-BE49-F238E27FC236}">
                  <a16:creationId xmlns:a16="http://schemas.microsoft.com/office/drawing/2014/main" id="{4EDF465F-E11A-479A-8C1C-3DD7CF9640BB}"/>
                </a:ext>
              </a:extLst>
            </p:cNvPr>
            <p:cNvGrpSpPr/>
            <p:nvPr/>
          </p:nvGrpSpPr>
          <p:grpSpPr>
            <a:xfrm>
              <a:off x="10048365" y="3459743"/>
              <a:ext cx="1702738" cy="307841"/>
              <a:chOff x="7378347" y="1244392"/>
              <a:chExt cx="1702738" cy="307841"/>
            </a:xfrm>
          </p:grpSpPr>
          <p:sp>
            <p:nvSpPr>
              <p:cNvPr id="45" name="Freeform: Shape 44">
                <a:extLst>
                  <a:ext uri="{FF2B5EF4-FFF2-40B4-BE49-F238E27FC236}">
                    <a16:creationId xmlns:a16="http://schemas.microsoft.com/office/drawing/2014/main" id="{51B39F54-5FBA-4904-80DC-1287A57A886B}"/>
                  </a:ext>
                </a:extLst>
              </p:cNvPr>
              <p:cNvSpPr/>
              <p:nvPr/>
            </p:nvSpPr>
            <p:spPr>
              <a:xfrm rot="8100000">
                <a:off x="7378347" y="1244392"/>
                <a:ext cx="272008" cy="272010"/>
              </a:xfrm>
              <a:custGeom>
                <a:avLst/>
                <a:gdLst>
                  <a:gd name="connsiteX0" fmla="*/ 256449 w 914400"/>
                  <a:gd name="connsiteY0" fmla="*/ 657951 h 914400"/>
                  <a:gd name="connsiteX1" fmla="*/ 457200 w 914400"/>
                  <a:gd name="connsiteY1" fmla="*/ 741105 h 914400"/>
                  <a:gd name="connsiteX2" fmla="*/ 741105 w 914400"/>
                  <a:gd name="connsiteY2" fmla="*/ 457200 h 914400"/>
                  <a:gd name="connsiteX3" fmla="*/ 457200 w 914400"/>
                  <a:gd name="connsiteY3" fmla="*/ 173295 h 914400"/>
                  <a:gd name="connsiteX4" fmla="*/ 173295 w 914400"/>
                  <a:gd name="connsiteY4" fmla="*/ 457200 h 914400"/>
                  <a:gd name="connsiteX5" fmla="*/ 256449 w 914400"/>
                  <a:gd name="connsiteY5" fmla="*/ 657951 h 914400"/>
                  <a:gd name="connsiteX6" fmla="*/ 133911 w 914400"/>
                  <a:gd name="connsiteY6" fmla="*/ 780489 h 914400"/>
                  <a:gd name="connsiteX7" fmla="*/ 0 w 914400"/>
                  <a:gd name="connsiteY7" fmla="*/ 457200 h 914400"/>
                  <a:gd name="connsiteX8" fmla="*/ 457200 w 914400"/>
                  <a:gd name="connsiteY8" fmla="*/ 0 h 914400"/>
                  <a:gd name="connsiteX9" fmla="*/ 914400 w 914400"/>
                  <a:gd name="connsiteY9" fmla="*/ 0 h 914400"/>
                  <a:gd name="connsiteX10" fmla="*/ 914400 w 914400"/>
                  <a:gd name="connsiteY10" fmla="*/ 457200 h 914400"/>
                  <a:gd name="connsiteX11" fmla="*/ 457200 w 914400"/>
                  <a:gd name="connsiteY11" fmla="*/ 914400 h 914400"/>
                  <a:gd name="connsiteX12" fmla="*/ 133911 w 914400"/>
                  <a:gd name="connsiteY12" fmla="*/ 780489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 h="914400">
                    <a:moveTo>
                      <a:pt x="256449" y="657951"/>
                    </a:moveTo>
                    <a:cubicBezTo>
                      <a:pt x="307826" y="709328"/>
                      <a:pt x="378802" y="741105"/>
                      <a:pt x="457200" y="741105"/>
                    </a:cubicBezTo>
                    <a:cubicBezTo>
                      <a:pt x="613996" y="741105"/>
                      <a:pt x="741105" y="613996"/>
                      <a:pt x="741105" y="457200"/>
                    </a:cubicBezTo>
                    <a:cubicBezTo>
                      <a:pt x="741105" y="300404"/>
                      <a:pt x="613996" y="173295"/>
                      <a:pt x="457200" y="173295"/>
                    </a:cubicBezTo>
                    <a:cubicBezTo>
                      <a:pt x="300404" y="173295"/>
                      <a:pt x="173295" y="300404"/>
                      <a:pt x="173295" y="457200"/>
                    </a:cubicBezTo>
                    <a:cubicBezTo>
                      <a:pt x="173295" y="535598"/>
                      <a:pt x="205072" y="606574"/>
                      <a:pt x="256449" y="657951"/>
                    </a:cubicBezTo>
                    <a:close/>
                    <a:moveTo>
                      <a:pt x="133911" y="780489"/>
                    </a:moveTo>
                    <a:cubicBezTo>
                      <a:pt x="51174" y="697752"/>
                      <a:pt x="0" y="583452"/>
                      <a:pt x="0" y="457200"/>
                    </a:cubicBezTo>
                    <a:cubicBezTo>
                      <a:pt x="0" y="204695"/>
                      <a:pt x="204695" y="0"/>
                      <a:pt x="457200" y="0"/>
                    </a:cubicBezTo>
                    <a:lnTo>
                      <a:pt x="914400" y="0"/>
                    </a:lnTo>
                    <a:lnTo>
                      <a:pt x="914400" y="457200"/>
                    </a:lnTo>
                    <a:cubicBezTo>
                      <a:pt x="914400" y="709705"/>
                      <a:pt x="709705" y="914400"/>
                      <a:pt x="457200" y="914400"/>
                    </a:cubicBezTo>
                    <a:cubicBezTo>
                      <a:pt x="330948" y="914400"/>
                      <a:pt x="216648" y="863226"/>
                      <a:pt x="133911" y="780489"/>
                    </a:cubicBezTo>
                    <a:close/>
                  </a:path>
                </a:pathLst>
              </a:custGeom>
              <a:gradFill>
                <a:gsLst>
                  <a:gs pos="0">
                    <a:schemeClr val="accent4">
                      <a:lumMod val="75000"/>
                    </a:schemeClr>
                  </a:gs>
                  <a:gs pos="100000">
                    <a:schemeClr val="accent4"/>
                  </a:gs>
                </a:gsLst>
                <a:lin ang="8100000" scaled="0"/>
              </a:gradFill>
              <a:ln>
                <a:noFill/>
              </a:ln>
              <a:effectLst>
                <a:outerShdw blurRad="88900" dir="8400000" sy="23000" kx="-1200000" algn="b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6" name="TextBox 45">
                <a:extLst>
                  <a:ext uri="{FF2B5EF4-FFF2-40B4-BE49-F238E27FC236}">
                    <a16:creationId xmlns:a16="http://schemas.microsoft.com/office/drawing/2014/main" id="{4E6F8E05-36D2-4125-B057-FEED2C6C30A8}"/>
                  </a:ext>
                </a:extLst>
              </p:cNvPr>
              <p:cNvSpPr txBox="1"/>
              <p:nvPr/>
            </p:nvSpPr>
            <p:spPr>
              <a:xfrm>
                <a:off x="7711799" y="1275234"/>
                <a:ext cx="1369286" cy="276999"/>
              </a:xfrm>
              <a:prstGeom prst="rect">
                <a:avLst/>
              </a:prstGeom>
              <a:noFill/>
            </p:spPr>
            <p:txBody>
              <a:bodyPr wrap="none" rtlCol="0">
                <a:spAutoFit/>
              </a:bodyPr>
              <a:lstStyle/>
              <a:p>
                <a:r>
                  <a:rPr lang="en-US" sz="1200" dirty="0">
                    <a:latin typeface="Montserrat" panose="00000500000000000000" pitchFamily="50" charset="0"/>
                  </a:rPr>
                  <a:t>Onsite Training</a:t>
                </a:r>
              </a:p>
            </p:txBody>
          </p:sp>
        </p:grpSp>
        <p:grpSp>
          <p:nvGrpSpPr>
            <p:cNvPr id="63" name="Group 62">
              <a:extLst>
                <a:ext uri="{FF2B5EF4-FFF2-40B4-BE49-F238E27FC236}">
                  <a16:creationId xmlns:a16="http://schemas.microsoft.com/office/drawing/2014/main" id="{157D7617-C8A3-4A4A-8B66-7F716478C2B4}"/>
                </a:ext>
              </a:extLst>
            </p:cNvPr>
            <p:cNvGrpSpPr/>
            <p:nvPr/>
          </p:nvGrpSpPr>
          <p:grpSpPr>
            <a:xfrm>
              <a:off x="6213318" y="2883296"/>
              <a:ext cx="2545917" cy="307841"/>
              <a:chOff x="7378347" y="1244392"/>
              <a:chExt cx="2545917" cy="307841"/>
            </a:xfrm>
          </p:grpSpPr>
          <p:sp>
            <p:nvSpPr>
              <p:cNvPr id="64" name="Freeform: Shape 63">
                <a:extLst>
                  <a:ext uri="{FF2B5EF4-FFF2-40B4-BE49-F238E27FC236}">
                    <a16:creationId xmlns:a16="http://schemas.microsoft.com/office/drawing/2014/main" id="{314B5C61-80FB-4805-9EC4-1352EC8FCCD2}"/>
                  </a:ext>
                </a:extLst>
              </p:cNvPr>
              <p:cNvSpPr/>
              <p:nvPr/>
            </p:nvSpPr>
            <p:spPr>
              <a:xfrm rot="8100000">
                <a:off x="7378347" y="1244392"/>
                <a:ext cx="272008" cy="272010"/>
              </a:xfrm>
              <a:custGeom>
                <a:avLst/>
                <a:gdLst>
                  <a:gd name="connsiteX0" fmla="*/ 256449 w 914400"/>
                  <a:gd name="connsiteY0" fmla="*/ 657951 h 914400"/>
                  <a:gd name="connsiteX1" fmla="*/ 457200 w 914400"/>
                  <a:gd name="connsiteY1" fmla="*/ 741105 h 914400"/>
                  <a:gd name="connsiteX2" fmla="*/ 741105 w 914400"/>
                  <a:gd name="connsiteY2" fmla="*/ 457200 h 914400"/>
                  <a:gd name="connsiteX3" fmla="*/ 457200 w 914400"/>
                  <a:gd name="connsiteY3" fmla="*/ 173295 h 914400"/>
                  <a:gd name="connsiteX4" fmla="*/ 173295 w 914400"/>
                  <a:gd name="connsiteY4" fmla="*/ 457200 h 914400"/>
                  <a:gd name="connsiteX5" fmla="*/ 256449 w 914400"/>
                  <a:gd name="connsiteY5" fmla="*/ 657951 h 914400"/>
                  <a:gd name="connsiteX6" fmla="*/ 133911 w 914400"/>
                  <a:gd name="connsiteY6" fmla="*/ 780489 h 914400"/>
                  <a:gd name="connsiteX7" fmla="*/ 0 w 914400"/>
                  <a:gd name="connsiteY7" fmla="*/ 457200 h 914400"/>
                  <a:gd name="connsiteX8" fmla="*/ 457200 w 914400"/>
                  <a:gd name="connsiteY8" fmla="*/ 0 h 914400"/>
                  <a:gd name="connsiteX9" fmla="*/ 914400 w 914400"/>
                  <a:gd name="connsiteY9" fmla="*/ 0 h 914400"/>
                  <a:gd name="connsiteX10" fmla="*/ 914400 w 914400"/>
                  <a:gd name="connsiteY10" fmla="*/ 457200 h 914400"/>
                  <a:gd name="connsiteX11" fmla="*/ 457200 w 914400"/>
                  <a:gd name="connsiteY11" fmla="*/ 914400 h 914400"/>
                  <a:gd name="connsiteX12" fmla="*/ 133911 w 914400"/>
                  <a:gd name="connsiteY12" fmla="*/ 780489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 h="914400">
                    <a:moveTo>
                      <a:pt x="256449" y="657951"/>
                    </a:moveTo>
                    <a:cubicBezTo>
                      <a:pt x="307826" y="709328"/>
                      <a:pt x="378802" y="741105"/>
                      <a:pt x="457200" y="741105"/>
                    </a:cubicBezTo>
                    <a:cubicBezTo>
                      <a:pt x="613996" y="741105"/>
                      <a:pt x="741105" y="613996"/>
                      <a:pt x="741105" y="457200"/>
                    </a:cubicBezTo>
                    <a:cubicBezTo>
                      <a:pt x="741105" y="300404"/>
                      <a:pt x="613996" y="173295"/>
                      <a:pt x="457200" y="173295"/>
                    </a:cubicBezTo>
                    <a:cubicBezTo>
                      <a:pt x="300404" y="173295"/>
                      <a:pt x="173295" y="300404"/>
                      <a:pt x="173295" y="457200"/>
                    </a:cubicBezTo>
                    <a:cubicBezTo>
                      <a:pt x="173295" y="535598"/>
                      <a:pt x="205072" y="606574"/>
                      <a:pt x="256449" y="657951"/>
                    </a:cubicBezTo>
                    <a:close/>
                    <a:moveTo>
                      <a:pt x="133911" y="780489"/>
                    </a:moveTo>
                    <a:cubicBezTo>
                      <a:pt x="51174" y="697752"/>
                      <a:pt x="0" y="583452"/>
                      <a:pt x="0" y="457200"/>
                    </a:cubicBezTo>
                    <a:cubicBezTo>
                      <a:pt x="0" y="204695"/>
                      <a:pt x="204695" y="0"/>
                      <a:pt x="457200" y="0"/>
                    </a:cubicBezTo>
                    <a:lnTo>
                      <a:pt x="914400" y="0"/>
                    </a:lnTo>
                    <a:lnTo>
                      <a:pt x="914400" y="457200"/>
                    </a:lnTo>
                    <a:cubicBezTo>
                      <a:pt x="914400" y="709705"/>
                      <a:pt x="709705" y="914400"/>
                      <a:pt x="457200" y="914400"/>
                    </a:cubicBezTo>
                    <a:cubicBezTo>
                      <a:pt x="330948" y="914400"/>
                      <a:pt x="216648" y="863226"/>
                      <a:pt x="133911" y="780489"/>
                    </a:cubicBezTo>
                    <a:close/>
                  </a:path>
                </a:pathLst>
              </a:custGeom>
              <a:gradFill>
                <a:gsLst>
                  <a:gs pos="0">
                    <a:schemeClr val="accent3"/>
                  </a:gs>
                  <a:gs pos="100000">
                    <a:schemeClr val="accent3">
                      <a:alpha val="10000"/>
                    </a:schemeClr>
                  </a:gs>
                </a:gsLst>
                <a:lin ang="8100000" scaled="0"/>
              </a:gradFill>
              <a:ln>
                <a:noFill/>
              </a:ln>
              <a:effectLst>
                <a:outerShdw blurRad="88900" dir="8400000" sy="23000" kx="-1200000" algn="b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5" name="TextBox 64">
                <a:extLst>
                  <a:ext uri="{FF2B5EF4-FFF2-40B4-BE49-F238E27FC236}">
                    <a16:creationId xmlns:a16="http://schemas.microsoft.com/office/drawing/2014/main" id="{776AD44D-A3A4-4EA4-8781-E270E246D420}"/>
                  </a:ext>
                </a:extLst>
              </p:cNvPr>
              <p:cNvSpPr txBox="1"/>
              <p:nvPr/>
            </p:nvSpPr>
            <p:spPr>
              <a:xfrm>
                <a:off x="7711799" y="1275234"/>
                <a:ext cx="2212465" cy="276999"/>
              </a:xfrm>
              <a:prstGeom prst="rect">
                <a:avLst/>
              </a:prstGeom>
              <a:noFill/>
            </p:spPr>
            <p:txBody>
              <a:bodyPr wrap="none" rtlCol="0">
                <a:spAutoFit/>
              </a:bodyPr>
              <a:lstStyle/>
              <a:p>
                <a:r>
                  <a:rPr lang="en-US" sz="1200" dirty="0">
                    <a:latin typeface="Montserrat" panose="00000500000000000000" pitchFamily="50" charset="0"/>
                  </a:rPr>
                  <a:t>Online Training Resources</a:t>
                </a:r>
              </a:p>
            </p:txBody>
          </p:sp>
        </p:grpSp>
        <p:grpSp>
          <p:nvGrpSpPr>
            <p:cNvPr id="66" name="Group 65">
              <a:extLst>
                <a:ext uri="{FF2B5EF4-FFF2-40B4-BE49-F238E27FC236}">
                  <a16:creationId xmlns:a16="http://schemas.microsoft.com/office/drawing/2014/main" id="{AAF06245-8FFE-46D8-8C82-0CC6D7293A69}"/>
                </a:ext>
              </a:extLst>
            </p:cNvPr>
            <p:cNvGrpSpPr/>
            <p:nvPr/>
          </p:nvGrpSpPr>
          <p:grpSpPr>
            <a:xfrm>
              <a:off x="6170434" y="4179402"/>
              <a:ext cx="1720370" cy="307841"/>
              <a:chOff x="7378347" y="1244392"/>
              <a:chExt cx="1720370" cy="307841"/>
            </a:xfrm>
          </p:grpSpPr>
          <p:sp>
            <p:nvSpPr>
              <p:cNvPr id="67" name="Freeform: Shape 66">
                <a:extLst>
                  <a:ext uri="{FF2B5EF4-FFF2-40B4-BE49-F238E27FC236}">
                    <a16:creationId xmlns:a16="http://schemas.microsoft.com/office/drawing/2014/main" id="{654001F9-C96D-42D2-9425-D4EE2A62BED2}"/>
                  </a:ext>
                </a:extLst>
              </p:cNvPr>
              <p:cNvSpPr/>
              <p:nvPr/>
            </p:nvSpPr>
            <p:spPr>
              <a:xfrm rot="8100000">
                <a:off x="7378347" y="1244392"/>
                <a:ext cx="272008" cy="272010"/>
              </a:xfrm>
              <a:custGeom>
                <a:avLst/>
                <a:gdLst>
                  <a:gd name="connsiteX0" fmla="*/ 256449 w 914400"/>
                  <a:gd name="connsiteY0" fmla="*/ 657951 h 914400"/>
                  <a:gd name="connsiteX1" fmla="*/ 457200 w 914400"/>
                  <a:gd name="connsiteY1" fmla="*/ 741105 h 914400"/>
                  <a:gd name="connsiteX2" fmla="*/ 741105 w 914400"/>
                  <a:gd name="connsiteY2" fmla="*/ 457200 h 914400"/>
                  <a:gd name="connsiteX3" fmla="*/ 457200 w 914400"/>
                  <a:gd name="connsiteY3" fmla="*/ 173295 h 914400"/>
                  <a:gd name="connsiteX4" fmla="*/ 173295 w 914400"/>
                  <a:gd name="connsiteY4" fmla="*/ 457200 h 914400"/>
                  <a:gd name="connsiteX5" fmla="*/ 256449 w 914400"/>
                  <a:gd name="connsiteY5" fmla="*/ 657951 h 914400"/>
                  <a:gd name="connsiteX6" fmla="*/ 133911 w 914400"/>
                  <a:gd name="connsiteY6" fmla="*/ 780489 h 914400"/>
                  <a:gd name="connsiteX7" fmla="*/ 0 w 914400"/>
                  <a:gd name="connsiteY7" fmla="*/ 457200 h 914400"/>
                  <a:gd name="connsiteX8" fmla="*/ 457200 w 914400"/>
                  <a:gd name="connsiteY8" fmla="*/ 0 h 914400"/>
                  <a:gd name="connsiteX9" fmla="*/ 914400 w 914400"/>
                  <a:gd name="connsiteY9" fmla="*/ 0 h 914400"/>
                  <a:gd name="connsiteX10" fmla="*/ 914400 w 914400"/>
                  <a:gd name="connsiteY10" fmla="*/ 457200 h 914400"/>
                  <a:gd name="connsiteX11" fmla="*/ 457200 w 914400"/>
                  <a:gd name="connsiteY11" fmla="*/ 914400 h 914400"/>
                  <a:gd name="connsiteX12" fmla="*/ 133911 w 914400"/>
                  <a:gd name="connsiteY12" fmla="*/ 780489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400" h="914400">
                    <a:moveTo>
                      <a:pt x="256449" y="657951"/>
                    </a:moveTo>
                    <a:cubicBezTo>
                      <a:pt x="307826" y="709328"/>
                      <a:pt x="378802" y="741105"/>
                      <a:pt x="457200" y="741105"/>
                    </a:cubicBezTo>
                    <a:cubicBezTo>
                      <a:pt x="613996" y="741105"/>
                      <a:pt x="741105" y="613996"/>
                      <a:pt x="741105" y="457200"/>
                    </a:cubicBezTo>
                    <a:cubicBezTo>
                      <a:pt x="741105" y="300404"/>
                      <a:pt x="613996" y="173295"/>
                      <a:pt x="457200" y="173295"/>
                    </a:cubicBezTo>
                    <a:cubicBezTo>
                      <a:pt x="300404" y="173295"/>
                      <a:pt x="173295" y="300404"/>
                      <a:pt x="173295" y="457200"/>
                    </a:cubicBezTo>
                    <a:cubicBezTo>
                      <a:pt x="173295" y="535598"/>
                      <a:pt x="205072" y="606574"/>
                      <a:pt x="256449" y="657951"/>
                    </a:cubicBezTo>
                    <a:close/>
                    <a:moveTo>
                      <a:pt x="133911" y="780489"/>
                    </a:moveTo>
                    <a:cubicBezTo>
                      <a:pt x="51174" y="697752"/>
                      <a:pt x="0" y="583452"/>
                      <a:pt x="0" y="457200"/>
                    </a:cubicBezTo>
                    <a:cubicBezTo>
                      <a:pt x="0" y="204695"/>
                      <a:pt x="204695" y="0"/>
                      <a:pt x="457200" y="0"/>
                    </a:cubicBezTo>
                    <a:lnTo>
                      <a:pt x="914400" y="0"/>
                    </a:lnTo>
                    <a:lnTo>
                      <a:pt x="914400" y="457200"/>
                    </a:lnTo>
                    <a:cubicBezTo>
                      <a:pt x="914400" y="709705"/>
                      <a:pt x="709705" y="914400"/>
                      <a:pt x="457200" y="914400"/>
                    </a:cubicBezTo>
                    <a:cubicBezTo>
                      <a:pt x="330948" y="914400"/>
                      <a:pt x="216648" y="863226"/>
                      <a:pt x="133911" y="780489"/>
                    </a:cubicBezTo>
                    <a:close/>
                  </a:path>
                </a:pathLst>
              </a:custGeom>
              <a:gradFill>
                <a:gsLst>
                  <a:gs pos="0">
                    <a:schemeClr val="accent3"/>
                  </a:gs>
                  <a:gs pos="100000">
                    <a:schemeClr val="accent3">
                      <a:alpha val="50000"/>
                    </a:schemeClr>
                  </a:gs>
                </a:gsLst>
                <a:lin ang="8100000" scaled="0"/>
              </a:gradFill>
              <a:ln>
                <a:noFill/>
              </a:ln>
              <a:effectLst>
                <a:outerShdw blurRad="88900" dir="8400000" sy="23000" kx="-1200000" algn="b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8" name="TextBox 67">
                <a:extLst>
                  <a:ext uri="{FF2B5EF4-FFF2-40B4-BE49-F238E27FC236}">
                    <a16:creationId xmlns:a16="http://schemas.microsoft.com/office/drawing/2014/main" id="{55BF64DD-CD58-4E1A-801A-135B3D929301}"/>
                  </a:ext>
                </a:extLst>
              </p:cNvPr>
              <p:cNvSpPr txBox="1"/>
              <p:nvPr/>
            </p:nvSpPr>
            <p:spPr>
              <a:xfrm>
                <a:off x="7711799" y="1275234"/>
                <a:ext cx="1386918" cy="276999"/>
              </a:xfrm>
              <a:prstGeom prst="rect">
                <a:avLst/>
              </a:prstGeom>
              <a:noFill/>
            </p:spPr>
            <p:txBody>
              <a:bodyPr wrap="none" rtlCol="0">
                <a:spAutoFit/>
              </a:bodyPr>
              <a:lstStyle/>
              <a:p>
                <a:r>
                  <a:rPr lang="en-US" sz="1200" dirty="0">
                    <a:latin typeface="Montserrat" panose="00000500000000000000" pitchFamily="50" charset="0"/>
                  </a:rPr>
                  <a:t>Offer Discounts</a:t>
                </a:r>
              </a:p>
            </p:txBody>
          </p:sp>
        </p:grpSp>
      </p:grpSp>
    </p:spTree>
    <p:extLst>
      <p:ext uri="{BB962C8B-B14F-4D97-AF65-F5344CB8AC3E}">
        <p14:creationId xmlns:p14="http://schemas.microsoft.com/office/powerpoint/2010/main" val="38044949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5B17E5BB-7B73-456D-B8FD-18EAF70B0D79}"/>
              </a:ext>
            </a:extLst>
          </p:cNvPr>
          <p:cNvSpPr/>
          <p:nvPr/>
        </p:nvSpPr>
        <p:spPr>
          <a:xfrm>
            <a:off x="1872584" y="1881416"/>
            <a:ext cx="1132951" cy="1189774"/>
          </a:xfrm>
          <a:custGeom>
            <a:avLst/>
            <a:gdLst>
              <a:gd name="connsiteX0" fmla="*/ 666185 w 1267632"/>
              <a:gd name="connsiteY0" fmla="*/ 0 h 1331211"/>
              <a:gd name="connsiteX1" fmla="*/ 1159605 w 1267632"/>
              <a:gd name="connsiteY1" fmla="*/ 99617 h 1331211"/>
              <a:gd name="connsiteX2" fmla="*/ 1267632 w 1267632"/>
              <a:gd name="connsiteY2" fmla="*/ 151656 h 1331211"/>
              <a:gd name="connsiteX3" fmla="*/ 1264849 w 1267632"/>
              <a:gd name="connsiteY3" fmla="*/ 152996 h 1331211"/>
              <a:gd name="connsiteX4" fmla="*/ 601446 w 1267632"/>
              <a:gd name="connsiteY4" fmla="*/ 1267630 h 1331211"/>
              <a:gd name="connsiteX5" fmla="*/ 604657 w 1267632"/>
              <a:gd name="connsiteY5" fmla="*/ 1331211 h 1331211"/>
              <a:gd name="connsiteX6" fmla="*/ 558887 w 1267632"/>
              <a:gd name="connsiteY6" fmla="*/ 1303405 h 1331211"/>
              <a:gd name="connsiteX7" fmla="*/ 0 w 1267632"/>
              <a:gd name="connsiteY7" fmla="*/ 252266 h 1331211"/>
              <a:gd name="connsiteX8" fmla="*/ 3211 w 1267632"/>
              <a:gd name="connsiteY8" fmla="*/ 188685 h 1331211"/>
              <a:gd name="connsiteX9" fmla="*/ 61956 w 1267632"/>
              <a:gd name="connsiteY9" fmla="*/ 152996 h 1331211"/>
              <a:gd name="connsiteX10" fmla="*/ 666185 w 1267632"/>
              <a:gd name="connsiteY10" fmla="*/ 0 h 1331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7632" h="1331211">
                <a:moveTo>
                  <a:pt x="666185" y="0"/>
                </a:moveTo>
                <a:cubicBezTo>
                  <a:pt x="841209" y="0"/>
                  <a:pt x="1007947" y="35471"/>
                  <a:pt x="1159605" y="99617"/>
                </a:cubicBezTo>
                <a:lnTo>
                  <a:pt x="1267632" y="151656"/>
                </a:lnTo>
                <a:lnTo>
                  <a:pt x="1264849" y="152996"/>
                </a:lnTo>
                <a:cubicBezTo>
                  <a:pt x="869697" y="367656"/>
                  <a:pt x="601446" y="786316"/>
                  <a:pt x="601446" y="1267630"/>
                </a:cubicBezTo>
                <a:lnTo>
                  <a:pt x="604657" y="1331211"/>
                </a:lnTo>
                <a:lnTo>
                  <a:pt x="558887" y="1303405"/>
                </a:lnTo>
                <a:cubicBezTo>
                  <a:pt x="221695" y="1075603"/>
                  <a:pt x="0" y="689824"/>
                  <a:pt x="0" y="252266"/>
                </a:cubicBezTo>
                <a:lnTo>
                  <a:pt x="3211" y="188685"/>
                </a:lnTo>
                <a:lnTo>
                  <a:pt x="61956" y="152996"/>
                </a:lnTo>
                <a:cubicBezTo>
                  <a:pt x="241571" y="55424"/>
                  <a:pt x="447406" y="0"/>
                  <a:pt x="666185" y="0"/>
                </a:cubicBezTo>
                <a:close/>
              </a:path>
            </a:pathLst>
          </a:custGeom>
          <a:solidFill>
            <a:schemeClr val="bg1"/>
          </a:solidFill>
          <a:ln w="127000" cap="flat">
            <a:no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16" name="Freeform: Shape 15">
            <a:extLst>
              <a:ext uri="{FF2B5EF4-FFF2-40B4-BE49-F238E27FC236}">
                <a16:creationId xmlns:a16="http://schemas.microsoft.com/office/drawing/2014/main" id="{2A9F12E5-A946-4BFB-BD7F-AF07C25CF98A}"/>
              </a:ext>
            </a:extLst>
          </p:cNvPr>
          <p:cNvSpPr/>
          <p:nvPr/>
        </p:nvSpPr>
        <p:spPr>
          <a:xfrm>
            <a:off x="3005534" y="1881415"/>
            <a:ext cx="1132951" cy="1189775"/>
          </a:xfrm>
          <a:custGeom>
            <a:avLst/>
            <a:gdLst>
              <a:gd name="connsiteX0" fmla="*/ 601446 w 1267632"/>
              <a:gd name="connsiteY0" fmla="*/ 0 h 1331212"/>
              <a:gd name="connsiteX1" fmla="*/ 1205675 w 1267632"/>
              <a:gd name="connsiteY1" fmla="*/ 152996 h 1331212"/>
              <a:gd name="connsiteX2" fmla="*/ 1264422 w 1267632"/>
              <a:gd name="connsiteY2" fmla="*/ 188685 h 1331212"/>
              <a:gd name="connsiteX3" fmla="*/ 1267632 w 1267632"/>
              <a:gd name="connsiteY3" fmla="*/ 252266 h 1331212"/>
              <a:gd name="connsiteX4" fmla="*/ 708745 w 1267632"/>
              <a:gd name="connsiteY4" fmla="*/ 1303405 h 1331212"/>
              <a:gd name="connsiteX5" fmla="*/ 662974 w 1267632"/>
              <a:gd name="connsiteY5" fmla="*/ 1331212 h 1331212"/>
              <a:gd name="connsiteX6" fmla="*/ 666185 w 1267632"/>
              <a:gd name="connsiteY6" fmla="*/ 1267630 h 1331212"/>
              <a:gd name="connsiteX7" fmla="*/ 2782 w 1267632"/>
              <a:gd name="connsiteY7" fmla="*/ 152996 h 1331212"/>
              <a:gd name="connsiteX8" fmla="*/ 0 w 1267632"/>
              <a:gd name="connsiteY8" fmla="*/ 151656 h 1331212"/>
              <a:gd name="connsiteX9" fmla="*/ 108026 w 1267632"/>
              <a:gd name="connsiteY9" fmla="*/ 99617 h 1331212"/>
              <a:gd name="connsiteX10" fmla="*/ 601446 w 1267632"/>
              <a:gd name="connsiteY10" fmla="*/ 0 h 133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7632" h="1331212">
                <a:moveTo>
                  <a:pt x="601446" y="0"/>
                </a:moveTo>
                <a:cubicBezTo>
                  <a:pt x="820226" y="0"/>
                  <a:pt x="1026060" y="55424"/>
                  <a:pt x="1205675" y="152996"/>
                </a:cubicBezTo>
                <a:lnTo>
                  <a:pt x="1264422" y="188685"/>
                </a:lnTo>
                <a:lnTo>
                  <a:pt x="1267632" y="252266"/>
                </a:lnTo>
                <a:cubicBezTo>
                  <a:pt x="1267632" y="689824"/>
                  <a:pt x="1045938" y="1075603"/>
                  <a:pt x="708745" y="1303405"/>
                </a:cubicBezTo>
                <a:lnTo>
                  <a:pt x="662974" y="1331212"/>
                </a:lnTo>
                <a:lnTo>
                  <a:pt x="666185" y="1267630"/>
                </a:lnTo>
                <a:cubicBezTo>
                  <a:pt x="666185" y="786316"/>
                  <a:pt x="397935" y="367656"/>
                  <a:pt x="2782" y="152996"/>
                </a:cubicBezTo>
                <a:lnTo>
                  <a:pt x="0" y="151656"/>
                </a:lnTo>
                <a:lnTo>
                  <a:pt x="108026" y="99617"/>
                </a:lnTo>
                <a:cubicBezTo>
                  <a:pt x="259684" y="35471"/>
                  <a:pt x="426423" y="0"/>
                  <a:pt x="601446" y="0"/>
                </a:cubicBezTo>
                <a:close/>
              </a:path>
            </a:pathLst>
          </a:custGeom>
          <a:solidFill>
            <a:schemeClr val="bg1"/>
          </a:solidFill>
          <a:ln w="127000" cap="flat">
            <a:no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15" name="Freeform: Shape 14">
            <a:extLst>
              <a:ext uri="{FF2B5EF4-FFF2-40B4-BE49-F238E27FC236}">
                <a16:creationId xmlns:a16="http://schemas.microsoft.com/office/drawing/2014/main" id="{32A864DA-ADD3-4C21-87A8-92D1682B81A2}"/>
              </a:ext>
            </a:extLst>
          </p:cNvPr>
          <p:cNvSpPr/>
          <p:nvPr/>
        </p:nvSpPr>
        <p:spPr>
          <a:xfrm>
            <a:off x="2412998" y="3071189"/>
            <a:ext cx="1185072" cy="940580"/>
          </a:xfrm>
          <a:custGeom>
            <a:avLst/>
            <a:gdLst>
              <a:gd name="connsiteX0" fmla="*/ 0 w 1325949"/>
              <a:gd name="connsiteY0" fmla="*/ 0 h 1052394"/>
              <a:gd name="connsiteX1" fmla="*/ 58746 w 1325949"/>
              <a:gd name="connsiteY1" fmla="*/ 35689 h 1052394"/>
              <a:gd name="connsiteX2" fmla="*/ 662975 w 1325949"/>
              <a:gd name="connsiteY2" fmla="*/ 188685 h 1052394"/>
              <a:gd name="connsiteX3" fmla="*/ 1267204 w 1325949"/>
              <a:gd name="connsiteY3" fmla="*/ 35689 h 1052394"/>
              <a:gd name="connsiteX4" fmla="*/ 1325949 w 1325949"/>
              <a:gd name="connsiteY4" fmla="*/ 1 h 1052394"/>
              <a:gd name="connsiteX5" fmla="*/ 1322615 w 1325949"/>
              <a:gd name="connsiteY5" fmla="*/ 66027 h 1052394"/>
              <a:gd name="connsiteX6" fmla="*/ 665757 w 1325949"/>
              <a:gd name="connsiteY6" fmla="*/ 1051053 h 1052394"/>
              <a:gd name="connsiteX7" fmla="*/ 662975 w 1325949"/>
              <a:gd name="connsiteY7" fmla="*/ 1052394 h 1052394"/>
              <a:gd name="connsiteX8" fmla="*/ 660192 w 1325949"/>
              <a:gd name="connsiteY8" fmla="*/ 1051053 h 1052394"/>
              <a:gd name="connsiteX9" fmla="*/ 3334 w 1325949"/>
              <a:gd name="connsiteY9" fmla="*/ 66027 h 1052394"/>
              <a:gd name="connsiteX10" fmla="*/ 0 w 1325949"/>
              <a:gd name="connsiteY10" fmla="*/ 0 h 105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25949" h="1052394">
                <a:moveTo>
                  <a:pt x="0" y="0"/>
                </a:moveTo>
                <a:lnTo>
                  <a:pt x="58746" y="35689"/>
                </a:lnTo>
                <a:cubicBezTo>
                  <a:pt x="238361" y="133262"/>
                  <a:pt x="444196" y="188685"/>
                  <a:pt x="662975" y="188685"/>
                </a:cubicBezTo>
                <a:cubicBezTo>
                  <a:pt x="881755" y="188685"/>
                  <a:pt x="1087589" y="133262"/>
                  <a:pt x="1267204" y="35689"/>
                </a:cubicBezTo>
                <a:lnTo>
                  <a:pt x="1325949" y="1"/>
                </a:lnTo>
                <a:lnTo>
                  <a:pt x="1322615" y="66027"/>
                </a:lnTo>
                <a:cubicBezTo>
                  <a:pt x="1279339" y="492167"/>
                  <a:pt x="1024987" y="855908"/>
                  <a:pt x="665757" y="1051053"/>
                </a:cubicBezTo>
                <a:lnTo>
                  <a:pt x="662975" y="1052394"/>
                </a:lnTo>
                <a:lnTo>
                  <a:pt x="660192" y="1051053"/>
                </a:lnTo>
                <a:cubicBezTo>
                  <a:pt x="300962" y="855908"/>
                  <a:pt x="46611" y="492167"/>
                  <a:pt x="3334" y="66027"/>
                </a:cubicBezTo>
                <a:lnTo>
                  <a:pt x="0" y="0"/>
                </a:lnTo>
                <a:close/>
              </a:path>
            </a:pathLst>
          </a:custGeom>
          <a:solidFill>
            <a:schemeClr val="bg1"/>
          </a:solidFill>
          <a:ln w="127000" cap="flat">
            <a:no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14" name="Freeform: Shape 13">
            <a:extLst>
              <a:ext uri="{FF2B5EF4-FFF2-40B4-BE49-F238E27FC236}">
                <a16:creationId xmlns:a16="http://schemas.microsoft.com/office/drawing/2014/main" id="{24C1E3E5-5A1B-44D7-B2BF-D320C7A8B321}"/>
              </a:ext>
            </a:extLst>
          </p:cNvPr>
          <p:cNvSpPr/>
          <p:nvPr/>
        </p:nvSpPr>
        <p:spPr>
          <a:xfrm>
            <a:off x="1875453" y="973931"/>
            <a:ext cx="2260163" cy="1076122"/>
          </a:xfrm>
          <a:custGeom>
            <a:avLst/>
            <a:gdLst>
              <a:gd name="connsiteX0" fmla="*/ 1264421 w 2528843"/>
              <a:gd name="connsiteY0" fmla="*/ 0 h 1204049"/>
              <a:gd name="connsiteX1" fmla="*/ 2525508 w 2528843"/>
              <a:gd name="connsiteY1" fmla="*/ 1138022 h 1204049"/>
              <a:gd name="connsiteX2" fmla="*/ 2528843 w 2528843"/>
              <a:gd name="connsiteY2" fmla="*/ 1204049 h 1204049"/>
              <a:gd name="connsiteX3" fmla="*/ 2470096 w 2528843"/>
              <a:gd name="connsiteY3" fmla="*/ 1168360 h 1204049"/>
              <a:gd name="connsiteX4" fmla="*/ 1865867 w 2528843"/>
              <a:gd name="connsiteY4" fmla="*/ 1015364 h 1204049"/>
              <a:gd name="connsiteX5" fmla="*/ 1372447 w 2528843"/>
              <a:gd name="connsiteY5" fmla="*/ 1114981 h 1204049"/>
              <a:gd name="connsiteX6" fmla="*/ 1264421 w 2528843"/>
              <a:gd name="connsiteY6" fmla="*/ 1167020 h 1204049"/>
              <a:gd name="connsiteX7" fmla="*/ 1156394 w 2528843"/>
              <a:gd name="connsiteY7" fmla="*/ 1114981 h 1204049"/>
              <a:gd name="connsiteX8" fmla="*/ 662974 w 2528843"/>
              <a:gd name="connsiteY8" fmla="*/ 1015364 h 1204049"/>
              <a:gd name="connsiteX9" fmla="*/ 58745 w 2528843"/>
              <a:gd name="connsiteY9" fmla="*/ 1168360 h 1204049"/>
              <a:gd name="connsiteX10" fmla="*/ 0 w 2528843"/>
              <a:gd name="connsiteY10" fmla="*/ 1204049 h 1204049"/>
              <a:gd name="connsiteX11" fmla="*/ 3334 w 2528843"/>
              <a:gd name="connsiteY11" fmla="*/ 1138022 h 1204049"/>
              <a:gd name="connsiteX12" fmla="*/ 1264421 w 2528843"/>
              <a:gd name="connsiteY12" fmla="*/ 0 h 1204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8843" h="1204049">
                <a:moveTo>
                  <a:pt x="1264421" y="0"/>
                </a:moveTo>
                <a:cubicBezTo>
                  <a:pt x="1920759" y="0"/>
                  <a:pt x="2460593" y="498812"/>
                  <a:pt x="2525508" y="1138022"/>
                </a:cubicBezTo>
                <a:lnTo>
                  <a:pt x="2528843" y="1204049"/>
                </a:lnTo>
                <a:lnTo>
                  <a:pt x="2470096" y="1168360"/>
                </a:lnTo>
                <a:cubicBezTo>
                  <a:pt x="2290481" y="1070788"/>
                  <a:pt x="2084647" y="1015364"/>
                  <a:pt x="1865867" y="1015364"/>
                </a:cubicBezTo>
                <a:cubicBezTo>
                  <a:pt x="1690844" y="1015364"/>
                  <a:pt x="1524105" y="1050835"/>
                  <a:pt x="1372447" y="1114981"/>
                </a:cubicBezTo>
                <a:lnTo>
                  <a:pt x="1264421" y="1167020"/>
                </a:lnTo>
                <a:lnTo>
                  <a:pt x="1156394" y="1114981"/>
                </a:lnTo>
                <a:cubicBezTo>
                  <a:pt x="1004736" y="1050835"/>
                  <a:pt x="837998" y="1015364"/>
                  <a:pt x="662974" y="1015364"/>
                </a:cubicBezTo>
                <a:cubicBezTo>
                  <a:pt x="444195" y="1015364"/>
                  <a:pt x="238360" y="1070788"/>
                  <a:pt x="58745" y="1168360"/>
                </a:cubicBezTo>
                <a:lnTo>
                  <a:pt x="0" y="1204049"/>
                </a:lnTo>
                <a:lnTo>
                  <a:pt x="3334" y="1138022"/>
                </a:lnTo>
                <a:cubicBezTo>
                  <a:pt x="68249" y="498812"/>
                  <a:pt x="608083" y="0"/>
                  <a:pt x="1264421" y="0"/>
                </a:cubicBezTo>
                <a:close/>
              </a:path>
            </a:pathLst>
          </a:custGeom>
          <a:solidFill>
            <a:schemeClr val="bg1"/>
          </a:solidFill>
          <a:ln w="127000" cap="flat">
            <a:no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13" name="Freeform: Shape 12">
            <a:extLst>
              <a:ext uri="{FF2B5EF4-FFF2-40B4-BE49-F238E27FC236}">
                <a16:creationId xmlns:a16="http://schemas.microsoft.com/office/drawing/2014/main" id="{DE605B6A-E5A1-42BD-9A53-8B2CD69D0CFE}"/>
              </a:ext>
            </a:extLst>
          </p:cNvPr>
          <p:cNvSpPr/>
          <p:nvPr/>
        </p:nvSpPr>
        <p:spPr>
          <a:xfrm>
            <a:off x="2410128" y="2016958"/>
            <a:ext cx="1190812" cy="1222869"/>
          </a:xfrm>
          <a:custGeom>
            <a:avLst/>
            <a:gdLst>
              <a:gd name="connsiteX0" fmla="*/ 666186 w 1332371"/>
              <a:gd name="connsiteY0" fmla="*/ 0 h 1368240"/>
              <a:gd name="connsiteX1" fmla="*/ 668968 w 1332371"/>
              <a:gd name="connsiteY1" fmla="*/ 1340 h 1368240"/>
              <a:gd name="connsiteX2" fmla="*/ 1332371 w 1332371"/>
              <a:gd name="connsiteY2" fmla="*/ 1115974 h 1368240"/>
              <a:gd name="connsiteX3" fmla="*/ 1329160 w 1332371"/>
              <a:gd name="connsiteY3" fmla="*/ 1179556 h 1368240"/>
              <a:gd name="connsiteX4" fmla="*/ 1270415 w 1332371"/>
              <a:gd name="connsiteY4" fmla="*/ 1215244 h 1368240"/>
              <a:gd name="connsiteX5" fmla="*/ 666186 w 1332371"/>
              <a:gd name="connsiteY5" fmla="*/ 1368240 h 1368240"/>
              <a:gd name="connsiteX6" fmla="*/ 61957 w 1332371"/>
              <a:gd name="connsiteY6" fmla="*/ 1215244 h 1368240"/>
              <a:gd name="connsiteX7" fmla="*/ 3211 w 1332371"/>
              <a:gd name="connsiteY7" fmla="*/ 1179555 h 1368240"/>
              <a:gd name="connsiteX8" fmla="*/ 0 w 1332371"/>
              <a:gd name="connsiteY8" fmla="*/ 1115974 h 1368240"/>
              <a:gd name="connsiteX9" fmla="*/ 663403 w 1332371"/>
              <a:gd name="connsiteY9" fmla="*/ 1340 h 1368240"/>
              <a:gd name="connsiteX10" fmla="*/ 666186 w 1332371"/>
              <a:gd name="connsiteY10" fmla="*/ 0 h 136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2371" h="1368240">
                <a:moveTo>
                  <a:pt x="666186" y="0"/>
                </a:moveTo>
                <a:lnTo>
                  <a:pt x="668968" y="1340"/>
                </a:lnTo>
                <a:cubicBezTo>
                  <a:pt x="1064121" y="216000"/>
                  <a:pt x="1332371" y="634660"/>
                  <a:pt x="1332371" y="1115974"/>
                </a:cubicBezTo>
                <a:lnTo>
                  <a:pt x="1329160" y="1179556"/>
                </a:lnTo>
                <a:lnTo>
                  <a:pt x="1270415" y="1215244"/>
                </a:lnTo>
                <a:cubicBezTo>
                  <a:pt x="1090800" y="1312817"/>
                  <a:pt x="884966" y="1368240"/>
                  <a:pt x="666186" y="1368240"/>
                </a:cubicBezTo>
                <a:cubicBezTo>
                  <a:pt x="447407" y="1368240"/>
                  <a:pt x="241572" y="1312817"/>
                  <a:pt x="61957" y="1215244"/>
                </a:cubicBezTo>
                <a:lnTo>
                  <a:pt x="3211" y="1179555"/>
                </a:lnTo>
                <a:lnTo>
                  <a:pt x="0" y="1115974"/>
                </a:lnTo>
                <a:cubicBezTo>
                  <a:pt x="0" y="634660"/>
                  <a:pt x="268251" y="216000"/>
                  <a:pt x="663403" y="1340"/>
                </a:cubicBezTo>
                <a:lnTo>
                  <a:pt x="666186" y="0"/>
                </a:lnTo>
                <a:close/>
              </a:path>
            </a:pathLst>
          </a:custGeom>
          <a:solidFill>
            <a:schemeClr val="bg1"/>
          </a:solidFill>
          <a:ln w="127000" cap="flat">
            <a:no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12" name="Freeform: Shape 11">
            <a:extLst>
              <a:ext uri="{FF2B5EF4-FFF2-40B4-BE49-F238E27FC236}">
                <a16:creationId xmlns:a16="http://schemas.microsoft.com/office/drawing/2014/main" id="{666CB1F6-85C4-44F4-B98F-0F91A7CD321F}"/>
              </a:ext>
            </a:extLst>
          </p:cNvPr>
          <p:cNvSpPr/>
          <p:nvPr/>
        </p:nvSpPr>
        <p:spPr>
          <a:xfrm>
            <a:off x="1335038" y="2050053"/>
            <a:ext cx="1670496" cy="2097259"/>
          </a:xfrm>
          <a:custGeom>
            <a:avLst/>
            <a:gdLst>
              <a:gd name="connsiteX0" fmla="*/ 604658 w 1869079"/>
              <a:gd name="connsiteY0" fmla="*/ 0 h 2346575"/>
              <a:gd name="connsiteX1" fmla="*/ 601447 w 1869079"/>
              <a:gd name="connsiteY1" fmla="*/ 63581 h 2346575"/>
              <a:gd name="connsiteX2" fmla="*/ 1160334 w 1869079"/>
              <a:gd name="connsiteY2" fmla="*/ 1114720 h 2346575"/>
              <a:gd name="connsiteX3" fmla="*/ 1206104 w 1869079"/>
              <a:gd name="connsiteY3" fmla="*/ 1142526 h 2346575"/>
              <a:gd name="connsiteX4" fmla="*/ 1209438 w 1869079"/>
              <a:gd name="connsiteY4" fmla="*/ 1208553 h 2346575"/>
              <a:gd name="connsiteX5" fmla="*/ 1866296 w 1869079"/>
              <a:gd name="connsiteY5" fmla="*/ 2193579 h 2346575"/>
              <a:gd name="connsiteX6" fmla="*/ 1869079 w 1869079"/>
              <a:gd name="connsiteY6" fmla="*/ 2194920 h 2346575"/>
              <a:gd name="connsiteX7" fmla="*/ 1761052 w 1869079"/>
              <a:gd name="connsiteY7" fmla="*/ 2246958 h 2346575"/>
              <a:gd name="connsiteX8" fmla="*/ 1267632 w 1869079"/>
              <a:gd name="connsiteY8" fmla="*/ 2346575 h 2346575"/>
              <a:gd name="connsiteX9" fmla="*/ 0 w 1869079"/>
              <a:gd name="connsiteY9" fmla="*/ 1078945 h 2346575"/>
              <a:gd name="connsiteX10" fmla="*/ 558887 w 1869079"/>
              <a:gd name="connsiteY10" fmla="*/ 27806 h 2346575"/>
              <a:gd name="connsiteX11" fmla="*/ 604658 w 1869079"/>
              <a:gd name="connsiteY11" fmla="*/ 0 h 2346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9079" h="2346575">
                <a:moveTo>
                  <a:pt x="604658" y="0"/>
                </a:moveTo>
                <a:lnTo>
                  <a:pt x="601447" y="63581"/>
                </a:lnTo>
                <a:cubicBezTo>
                  <a:pt x="601447" y="501139"/>
                  <a:pt x="823142" y="886918"/>
                  <a:pt x="1160334" y="1114720"/>
                </a:cubicBezTo>
                <a:lnTo>
                  <a:pt x="1206104" y="1142526"/>
                </a:lnTo>
                <a:lnTo>
                  <a:pt x="1209438" y="1208553"/>
                </a:lnTo>
                <a:cubicBezTo>
                  <a:pt x="1252715" y="1634693"/>
                  <a:pt x="1507066" y="1998434"/>
                  <a:pt x="1866296" y="2193579"/>
                </a:cubicBezTo>
                <a:lnTo>
                  <a:pt x="1869079" y="2194920"/>
                </a:lnTo>
                <a:lnTo>
                  <a:pt x="1761052" y="2246958"/>
                </a:lnTo>
                <a:cubicBezTo>
                  <a:pt x="1609394" y="2311104"/>
                  <a:pt x="1442656" y="2346575"/>
                  <a:pt x="1267632" y="2346575"/>
                </a:cubicBezTo>
                <a:cubicBezTo>
                  <a:pt x="567538" y="2346575"/>
                  <a:pt x="0" y="1779038"/>
                  <a:pt x="0" y="1078945"/>
                </a:cubicBezTo>
                <a:cubicBezTo>
                  <a:pt x="0" y="641387"/>
                  <a:pt x="221694" y="255609"/>
                  <a:pt x="558887" y="27806"/>
                </a:cubicBezTo>
                <a:lnTo>
                  <a:pt x="604658" y="0"/>
                </a:lnTo>
                <a:close/>
              </a:path>
            </a:pathLst>
          </a:custGeom>
          <a:solidFill>
            <a:schemeClr val="bg1"/>
          </a:solidFill>
          <a:ln w="127000" cap="flat">
            <a:no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11" name="Freeform: Shape 10">
            <a:extLst>
              <a:ext uri="{FF2B5EF4-FFF2-40B4-BE49-F238E27FC236}">
                <a16:creationId xmlns:a16="http://schemas.microsoft.com/office/drawing/2014/main" id="{F125A461-1709-44B3-BEA8-CBA5E705A584}"/>
              </a:ext>
            </a:extLst>
          </p:cNvPr>
          <p:cNvSpPr/>
          <p:nvPr/>
        </p:nvSpPr>
        <p:spPr>
          <a:xfrm>
            <a:off x="3005534" y="2050053"/>
            <a:ext cx="1670496" cy="2097259"/>
          </a:xfrm>
          <a:custGeom>
            <a:avLst/>
            <a:gdLst>
              <a:gd name="connsiteX0" fmla="*/ 1264422 w 1869078"/>
              <a:gd name="connsiteY0" fmla="*/ 0 h 2346575"/>
              <a:gd name="connsiteX1" fmla="*/ 1310191 w 1869078"/>
              <a:gd name="connsiteY1" fmla="*/ 27806 h 2346575"/>
              <a:gd name="connsiteX2" fmla="*/ 1869078 w 1869078"/>
              <a:gd name="connsiteY2" fmla="*/ 1078945 h 2346575"/>
              <a:gd name="connsiteX3" fmla="*/ 601446 w 1869078"/>
              <a:gd name="connsiteY3" fmla="*/ 2346575 h 2346575"/>
              <a:gd name="connsiteX4" fmla="*/ 108026 w 1869078"/>
              <a:gd name="connsiteY4" fmla="*/ 2246958 h 2346575"/>
              <a:gd name="connsiteX5" fmla="*/ 0 w 1869078"/>
              <a:gd name="connsiteY5" fmla="*/ 2194920 h 2346575"/>
              <a:gd name="connsiteX6" fmla="*/ 2782 w 1869078"/>
              <a:gd name="connsiteY6" fmla="*/ 2193579 h 2346575"/>
              <a:gd name="connsiteX7" fmla="*/ 659640 w 1869078"/>
              <a:gd name="connsiteY7" fmla="*/ 1208553 h 2346575"/>
              <a:gd name="connsiteX8" fmla="*/ 662974 w 1869078"/>
              <a:gd name="connsiteY8" fmla="*/ 1142527 h 2346575"/>
              <a:gd name="connsiteX9" fmla="*/ 708745 w 1869078"/>
              <a:gd name="connsiteY9" fmla="*/ 1114720 h 2346575"/>
              <a:gd name="connsiteX10" fmla="*/ 1267632 w 1869078"/>
              <a:gd name="connsiteY10" fmla="*/ 63581 h 2346575"/>
              <a:gd name="connsiteX11" fmla="*/ 1264422 w 1869078"/>
              <a:gd name="connsiteY11" fmla="*/ 0 h 2346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9078" h="2346575">
                <a:moveTo>
                  <a:pt x="1264422" y="0"/>
                </a:moveTo>
                <a:lnTo>
                  <a:pt x="1310191" y="27806"/>
                </a:lnTo>
                <a:cubicBezTo>
                  <a:pt x="1647384" y="255609"/>
                  <a:pt x="1869078" y="641387"/>
                  <a:pt x="1869078" y="1078945"/>
                </a:cubicBezTo>
                <a:cubicBezTo>
                  <a:pt x="1869078" y="1779038"/>
                  <a:pt x="1301540" y="2346575"/>
                  <a:pt x="601446" y="2346575"/>
                </a:cubicBezTo>
                <a:cubicBezTo>
                  <a:pt x="426423" y="2346575"/>
                  <a:pt x="259684" y="2311104"/>
                  <a:pt x="108026" y="2246958"/>
                </a:cubicBezTo>
                <a:lnTo>
                  <a:pt x="0" y="2194920"/>
                </a:lnTo>
                <a:lnTo>
                  <a:pt x="2782" y="2193579"/>
                </a:lnTo>
                <a:cubicBezTo>
                  <a:pt x="362012" y="1998434"/>
                  <a:pt x="616364" y="1634693"/>
                  <a:pt x="659640" y="1208553"/>
                </a:cubicBezTo>
                <a:lnTo>
                  <a:pt x="662974" y="1142527"/>
                </a:lnTo>
                <a:lnTo>
                  <a:pt x="708745" y="1114720"/>
                </a:lnTo>
                <a:cubicBezTo>
                  <a:pt x="1045938" y="886918"/>
                  <a:pt x="1267632" y="501139"/>
                  <a:pt x="1267632" y="63581"/>
                </a:cubicBezTo>
                <a:lnTo>
                  <a:pt x="1264422" y="0"/>
                </a:lnTo>
                <a:close/>
              </a:path>
            </a:pathLst>
          </a:custGeom>
          <a:solidFill>
            <a:schemeClr val="accent4">
              <a:lumMod val="20000"/>
              <a:lumOff val="80000"/>
            </a:schemeClr>
          </a:solidFill>
          <a:ln w="127000" cap="flat">
            <a:no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8" name="Circle">
            <a:extLst>
              <a:ext uri="{FF2B5EF4-FFF2-40B4-BE49-F238E27FC236}">
                <a16:creationId xmlns:a16="http://schemas.microsoft.com/office/drawing/2014/main" id="{C9E3DF4D-090F-458D-A8C7-5159285CFD61}"/>
              </a:ext>
            </a:extLst>
          </p:cNvPr>
          <p:cNvSpPr/>
          <p:nvPr/>
        </p:nvSpPr>
        <p:spPr>
          <a:xfrm>
            <a:off x="1872584" y="973930"/>
            <a:ext cx="2265901" cy="2265896"/>
          </a:xfrm>
          <a:prstGeom prst="ellipse">
            <a:avLst/>
          </a:prstGeom>
          <a:noFill/>
          <a:ln w="25400" cap="rnd">
            <a:gradFill>
              <a:gsLst>
                <a:gs pos="0">
                  <a:schemeClr val="accent1"/>
                </a:gs>
                <a:gs pos="100000">
                  <a:schemeClr val="accent1">
                    <a:lumMod val="60000"/>
                    <a:lumOff val="40000"/>
                  </a:schemeClr>
                </a:gs>
              </a:gsLst>
              <a:lin ang="5400000" scaled="1"/>
            </a:grad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10" name="Circle">
            <a:extLst>
              <a:ext uri="{FF2B5EF4-FFF2-40B4-BE49-F238E27FC236}">
                <a16:creationId xmlns:a16="http://schemas.microsoft.com/office/drawing/2014/main" id="{805697B3-2511-403F-9F3C-B2B25BAD28B2}"/>
              </a:ext>
            </a:extLst>
          </p:cNvPr>
          <p:cNvSpPr/>
          <p:nvPr/>
        </p:nvSpPr>
        <p:spPr>
          <a:xfrm>
            <a:off x="2410129" y="1881415"/>
            <a:ext cx="2265901" cy="2265896"/>
          </a:xfrm>
          <a:prstGeom prst="ellipse">
            <a:avLst/>
          </a:prstGeom>
          <a:noFill/>
          <a:ln w="25400" cap="rnd">
            <a:gradFill>
              <a:gsLst>
                <a:gs pos="0">
                  <a:schemeClr val="accent4"/>
                </a:gs>
                <a:gs pos="100000">
                  <a:schemeClr val="accent4">
                    <a:lumMod val="60000"/>
                    <a:lumOff val="40000"/>
                  </a:schemeClr>
                </a:gs>
              </a:gsLst>
              <a:lin ang="5400000" scaled="1"/>
            </a:grad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9" name="Circle">
            <a:extLst>
              <a:ext uri="{FF2B5EF4-FFF2-40B4-BE49-F238E27FC236}">
                <a16:creationId xmlns:a16="http://schemas.microsoft.com/office/drawing/2014/main" id="{DD4B0898-7F80-4822-9D79-BFE37953F8E1}"/>
              </a:ext>
            </a:extLst>
          </p:cNvPr>
          <p:cNvSpPr/>
          <p:nvPr/>
        </p:nvSpPr>
        <p:spPr>
          <a:xfrm>
            <a:off x="1335039" y="1881415"/>
            <a:ext cx="2265901" cy="2265896"/>
          </a:xfrm>
          <a:prstGeom prst="ellipse">
            <a:avLst/>
          </a:prstGeom>
          <a:noFill/>
          <a:ln w="25400" cap="rnd">
            <a:gradFill>
              <a:gsLst>
                <a:gs pos="0">
                  <a:schemeClr val="accent3"/>
                </a:gs>
                <a:gs pos="100000">
                  <a:schemeClr val="accent3">
                    <a:lumMod val="60000"/>
                    <a:lumOff val="40000"/>
                  </a:schemeClr>
                </a:gs>
              </a:gsLst>
              <a:lin ang="5400000" scaled="1"/>
            </a:grad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73" name="Lorem Ipsum is simply dummy text of the printing and typesetting industry. Lorem Ipsum has been the industry's standard dummy text ever since the">
            <a:extLst>
              <a:ext uri="{FF2B5EF4-FFF2-40B4-BE49-F238E27FC236}">
                <a16:creationId xmlns:a16="http://schemas.microsoft.com/office/drawing/2014/main" id="{01F073D2-C90E-4092-8863-2D1187626742}"/>
              </a:ext>
            </a:extLst>
          </p:cNvPr>
          <p:cNvSpPr txBox="1"/>
          <p:nvPr/>
        </p:nvSpPr>
        <p:spPr>
          <a:xfrm>
            <a:off x="1553797" y="4626225"/>
            <a:ext cx="2903474" cy="125784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chorCtr="0">
            <a:spAutoFit/>
          </a:bodyPr>
          <a:lstStyle>
            <a:lvl1pPr algn="l">
              <a:defRPr sz="2500" b="0">
                <a:solidFill>
                  <a:srgbClr val="9FA09E"/>
                </a:solidFill>
                <a:latin typeface="Barlow Medium"/>
                <a:ea typeface="Barlow Medium"/>
                <a:cs typeface="Barlow Medium"/>
                <a:sym typeface="Barlow Medium"/>
              </a:defRPr>
            </a:lvl1pPr>
          </a:lstStyle>
          <a:p>
            <a:pPr algn="ctr" defTabSz="412750" hangingPunct="0">
              <a:lnSpc>
                <a:spcPts val="1800"/>
              </a:lnSpc>
              <a:spcAft>
                <a:spcPts val="600"/>
              </a:spcAft>
            </a:pPr>
            <a:r>
              <a:rPr lang="en-US" sz="1700" b="1" kern="0" dirty="0">
                <a:solidFill>
                  <a:schemeClr val="accent4"/>
                </a:solidFill>
                <a:latin typeface="Montserrat" panose="00000500000000000000" pitchFamily="50" charset="0"/>
              </a:rPr>
              <a:t>PLACEHOLDER TEXT</a:t>
            </a:r>
          </a:p>
          <a:p>
            <a:pPr algn="ctr" defTabSz="412750" hangingPunct="0">
              <a:lnSpc>
                <a:spcPts val="1800"/>
              </a:lnSpc>
              <a:spcAft>
                <a:spcPts val="600"/>
              </a:spcAft>
            </a:pPr>
            <a:r>
              <a:rPr sz="1100" kern="0" dirty="0">
                <a:solidFill>
                  <a:schemeClr val="tx1"/>
                </a:solidFill>
                <a:latin typeface="Montserrat" panose="00000500000000000000" pitchFamily="50" charset="0"/>
              </a:rPr>
              <a:t>Lorem Ipsum is simply dummy text of the printing </a:t>
            </a:r>
            <a:r>
              <a:rPr lang="en-US" sz="1100" kern="0" dirty="0">
                <a:solidFill>
                  <a:schemeClr val="tx1"/>
                </a:solidFill>
                <a:latin typeface="Montserrat" panose="00000500000000000000" pitchFamily="50" charset="0"/>
              </a:rPr>
              <a:t>&amp;</a:t>
            </a:r>
            <a:r>
              <a:rPr sz="1100" kern="0" dirty="0">
                <a:solidFill>
                  <a:schemeClr val="tx1"/>
                </a:solidFill>
                <a:latin typeface="Montserrat" panose="00000500000000000000" pitchFamily="50" charset="0"/>
              </a:rPr>
              <a:t> typesetting industry. Lorem Ipsum has been the industry's standard dummy text ever since the</a:t>
            </a:r>
          </a:p>
        </p:txBody>
      </p:sp>
      <p:sp>
        <p:nvSpPr>
          <p:cNvPr id="32" name="Freeform: Shape 31">
            <a:extLst>
              <a:ext uri="{FF2B5EF4-FFF2-40B4-BE49-F238E27FC236}">
                <a16:creationId xmlns:a16="http://schemas.microsoft.com/office/drawing/2014/main" id="{53DBD2F3-12C6-4804-A449-04CF41A9E181}"/>
              </a:ext>
            </a:extLst>
          </p:cNvPr>
          <p:cNvSpPr/>
          <p:nvPr/>
        </p:nvSpPr>
        <p:spPr>
          <a:xfrm>
            <a:off x="8192549" y="1881416"/>
            <a:ext cx="1132951" cy="1189774"/>
          </a:xfrm>
          <a:custGeom>
            <a:avLst/>
            <a:gdLst>
              <a:gd name="connsiteX0" fmla="*/ 666185 w 1267632"/>
              <a:gd name="connsiteY0" fmla="*/ 0 h 1331211"/>
              <a:gd name="connsiteX1" fmla="*/ 1159605 w 1267632"/>
              <a:gd name="connsiteY1" fmla="*/ 99617 h 1331211"/>
              <a:gd name="connsiteX2" fmla="*/ 1267632 w 1267632"/>
              <a:gd name="connsiteY2" fmla="*/ 151656 h 1331211"/>
              <a:gd name="connsiteX3" fmla="*/ 1264849 w 1267632"/>
              <a:gd name="connsiteY3" fmla="*/ 152996 h 1331211"/>
              <a:gd name="connsiteX4" fmla="*/ 601446 w 1267632"/>
              <a:gd name="connsiteY4" fmla="*/ 1267630 h 1331211"/>
              <a:gd name="connsiteX5" fmla="*/ 604657 w 1267632"/>
              <a:gd name="connsiteY5" fmla="*/ 1331211 h 1331211"/>
              <a:gd name="connsiteX6" fmla="*/ 558887 w 1267632"/>
              <a:gd name="connsiteY6" fmla="*/ 1303405 h 1331211"/>
              <a:gd name="connsiteX7" fmla="*/ 0 w 1267632"/>
              <a:gd name="connsiteY7" fmla="*/ 252266 h 1331211"/>
              <a:gd name="connsiteX8" fmla="*/ 3211 w 1267632"/>
              <a:gd name="connsiteY8" fmla="*/ 188685 h 1331211"/>
              <a:gd name="connsiteX9" fmla="*/ 61956 w 1267632"/>
              <a:gd name="connsiteY9" fmla="*/ 152996 h 1331211"/>
              <a:gd name="connsiteX10" fmla="*/ 666185 w 1267632"/>
              <a:gd name="connsiteY10" fmla="*/ 0 h 1331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7632" h="1331211">
                <a:moveTo>
                  <a:pt x="666185" y="0"/>
                </a:moveTo>
                <a:cubicBezTo>
                  <a:pt x="841209" y="0"/>
                  <a:pt x="1007947" y="35471"/>
                  <a:pt x="1159605" y="99617"/>
                </a:cubicBezTo>
                <a:lnTo>
                  <a:pt x="1267632" y="151656"/>
                </a:lnTo>
                <a:lnTo>
                  <a:pt x="1264849" y="152996"/>
                </a:lnTo>
                <a:cubicBezTo>
                  <a:pt x="869697" y="367656"/>
                  <a:pt x="601446" y="786316"/>
                  <a:pt x="601446" y="1267630"/>
                </a:cubicBezTo>
                <a:lnTo>
                  <a:pt x="604657" y="1331211"/>
                </a:lnTo>
                <a:lnTo>
                  <a:pt x="558887" y="1303405"/>
                </a:lnTo>
                <a:cubicBezTo>
                  <a:pt x="221695" y="1075603"/>
                  <a:pt x="0" y="689824"/>
                  <a:pt x="0" y="252266"/>
                </a:cubicBezTo>
                <a:lnTo>
                  <a:pt x="3211" y="188685"/>
                </a:lnTo>
                <a:lnTo>
                  <a:pt x="61956" y="152996"/>
                </a:lnTo>
                <a:cubicBezTo>
                  <a:pt x="241571" y="55424"/>
                  <a:pt x="447406" y="0"/>
                  <a:pt x="666185" y="0"/>
                </a:cubicBezTo>
                <a:close/>
              </a:path>
            </a:pathLst>
          </a:custGeom>
          <a:solidFill>
            <a:schemeClr val="bg1"/>
          </a:solidFill>
          <a:ln w="127000" cap="flat">
            <a:no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33" name="Freeform: Shape 32">
            <a:extLst>
              <a:ext uri="{FF2B5EF4-FFF2-40B4-BE49-F238E27FC236}">
                <a16:creationId xmlns:a16="http://schemas.microsoft.com/office/drawing/2014/main" id="{F4EFD7EC-51EE-450F-959F-5FE22522B834}"/>
              </a:ext>
            </a:extLst>
          </p:cNvPr>
          <p:cNvSpPr/>
          <p:nvPr/>
        </p:nvSpPr>
        <p:spPr>
          <a:xfrm>
            <a:off x="9325499" y="1881415"/>
            <a:ext cx="1132951" cy="1189775"/>
          </a:xfrm>
          <a:custGeom>
            <a:avLst/>
            <a:gdLst>
              <a:gd name="connsiteX0" fmla="*/ 601446 w 1267632"/>
              <a:gd name="connsiteY0" fmla="*/ 0 h 1331212"/>
              <a:gd name="connsiteX1" fmla="*/ 1205675 w 1267632"/>
              <a:gd name="connsiteY1" fmla="*/ 152996 h 1331212"/>
              <a:gd name="connsiteX2" fmla="*/ 1264422 w 1267632"/>
              <a:gd name="connsiteY2" fmla="*/ 188685 h 1331212"/>
              <a:gd name="connsiteX3" fmla="*/ 1267632 w 1267632"/>
              <a:gd name="connsiteY3" fmla="*/ 252266 h 1331212"/>
              <a:gd name="connsiteX4" fmla="*/ 708745 w 1267632"/>
              <a:gd name="connsiteY4" fmla="*/ 1303405 h 1331212"/>
              <a:gd name="connsiteX5" fmla="*/ 662974 w 1267632"/>
              <a:gd name="connsiteY5" fmla="*/ 1331212 h 1331212"/>
              <a:gd name="connsiteX6" fmla="*/ 666185 w 1267632"/>
              <a:gd name="connsiteY6" fmla="*/ 1267630 h 1331212"/>
              <a:gd name="connsiteX7" fmla="*/ 2782 w 1267632"/>
              <a:gd name="connsiteY7" fmla="*/ 152996 h 1331212"/>
              <a:gd name="connsiteX8" fmla="*/ 0 w 1267632"/>
              <a:gd name="connsiteY8" fmla="*/ 151656 h 1331212"/>
              <a:gd name="connsiteX9" fmla="*/ 108026 w 1267632"/>
              <a:gd name="connsiteY9" fmla="*/ 99617 h 1331212"/>
              <a:gd name="connsiteX10" fmla="*/ 601446 w 1267632"/>
              <a:gd name="connsiteY10" fmla="*/ 0 h 133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67632" h="1331212">
                <a:moveTo>
                  <a:pt x="601446" y="0"/>
                </a:moveTo>
                <a:cubicBezTo>
                  <a:pt x="820226" y="0"/>
                  <a:pt x="1026060" y="55424"/>
                  <a:pt x="1205675" y="152996"/>
                </a:cubicBezTo>
                <a:lnTo>
                  <a:pt x="1264422" y="188685"/>
                </a:lnTo>
                <a:lnTo>
                  <a:pt x="1267632" y="252266"/>
                </a:lnTo>
                <a:cubicBezTo>
                  <a:pt x="1267632" y="689824"/>
                  <a:pt x="1045938" y="1075603"/>
                  <a:pt x="708745" y="1303405"/>
                </a:cubicBezTo>
                <a:lnTo>
                  <a:pt x="662974" y="1331212"/>
                </a:lnTo>
                <a:lnTo>
                  <a:pt x="666185" y="1267630"/>
                </a:lnTo>
                <a:cubicBezTo>
                  <a:pt x="666185" y="786316"/>
                  <a:pt x="397935" y="367656"/>
                  <a:pt x="2782" y="152996"/>
                </a:cubicBezTo>
                <a:lnTo>
                  <a:pt x="0" y="151656"/>
                </a:lnTo>
                <a:lnTo>
                  <a:pt x="108026" y="99617"/>
                </a:lnTo>
                <a:cubicBezTo>
                  <a:pt x="259684" y="35471"/>
                  <a:pt x="426423" y="0"/>
                  <a:pt x="601446" y="0"/>
                </a:cubicBezTo>
                <a:close/>
              </a:path>
            </a:pathLst>
          </a:custGeom>
          <a:solidFill>
            <a:schemeClr val="bg1"/>
          </a:solidFill>
          <a:ln w="127000" cap="flat">
            <a:no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34" name="Freeform: Shape 33">
            <a:extLst>
              <a:ext uri="{FF2B5EF4-FFF2-40B4-BE49-F238E27FC236}">
                <a16:creationId xmlns:a16="http://schemas.microsoft.com/office/drawing/2014/main" id="{33223BA9-90A0-4E94-8355-FADFB10E3855}"/>
              </a:ext>
            </a:extLst>
          </p:cNvPr>
          <p:cNvSpPr/>
          <p:nvPr/>
        </p:nvSpPr>
        <p:spPr>
          <a:xfrm>
            <a:off x="8732963" y="3071189"/>
            <a:ext cx="1185072" cy="940580"/>
          </a:xfrm>
          <a:custGeom>
            <a:avLst/>
            <a:gdLst>
              <a:gd name="connsiteX0" fmla="*/ 0 w 1325949"/>
              <a:gd name="connsiteY0" fmla="*/ 0 h 1052394"/>
              <a:gd name="connsiteX1" fmla="*/ 58746 w 1325949"/>
              <a:gd name="connsiteY1" fmla="*/ 35689 h 1052394"/>
              <a:gd name="connsiteX2" fmla="*/ 662975 w 1325949"/>
              <a:gd name="connsiteY2" fmla="*/ 188685 h 1052394"/>
              <a:gd name="connsiteX3" fmla="*/ 1267204 w 1325949"/>
              <a:gd name="connsiteY3" fmla="*/ 35689 h 1052394"/>
              <a:gd name="connsiteX4" fmla="*/ 1325949 w 1325949"/>
              <a:gd name="connsiteY4" fmla="*/ 1 h 1052394"/>
              <a:gd name="connsiteX5" fmla="*/ 1322615 w 1325949"/>
              <a:gd name="connsiteY5" fmla="*/ 66027 h 1052394"/>
              <a:gd name="connsiteX6" fmla="*/ 665757 w 1325949"/>
              <a:gd name="connsiteY6" fmla="*/ 1051053 h 1052394"/>
              <a:gd name="connsiteX7" fmla="*/ 662975 w 1325949"/>
              <a:gd name="connsiteY7" fmla="*/ 1052394 h 1052394"/>
              <a:gd name="connsiteX8" fmla="*/ 660192 w 1325949"/>
              <a:gd name="connsiteY8" fmla="*/ 1051053 h 1052394"/>
              <a:gd name="connsiteX9" fmla="*/ 3334 w 1325949"/>
              <a:gd name="connsiteY9" fmla="*/ 66027 h 1052394"/>
              <a:gd name="connsiteX10" fmla="*/ 0 w 1325949"/>
              <a:gd name="connsiteY10" fmla="*/ 0 h 105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25949" h="1052394">
                <a:moveTo>
                  <a:pt x="0" y="0"/>
                </a:moveTo>
                <a:lnTo>
                  <a:pt x="58746" y="35689"/>
                </a:lnTo>
                <a:cubicBezTo>
                  <a:pt x="238361" y="133262"/>
                  <a:pt x="444196" y="188685"/>
                  <a:pt x="662975" y="188685"/>
                </a:cubicBezTo>
                <a:cubicBezTo>
                  <a:pt x="881755" y="188685"/>
                  <a:pt x="1087589" y="133262"/>
                  <a:pt x="1267204" y="35689"/>
                </a:cubicBezTo>
                <a:lnTo>
                  <a:pt x="1325949" y="1"/>
                </a:lnTo>
                <a:lnTo>
                  <a:pt x="1322615" y="66027"/>
                </a:lnTo>
                <a:cubicBezTo>
                  <a:pt x="1279339" y="492167"/>
                  <a:pt x="1024987" y="855908"/>
                  <a:pt x="665757" y="1051053"/>
                </a:cubicBezTo>
                <a:lnTo>
                  <a:pt x="662975" y="1052394"/>
                </a:lnTo>
                <a:lnTo>
                  <a:pt x="660192" y="1051053"/>
                </a:lnTo>
                <a:cubicBezTo>
                  <a:pt x="300962" y="855908"/>
                  <a:pt x="46611" y="492167"/>
                  <a:pt x="3334" y="66027"/>
                </a:cubicBezTo>
                <a:lnTo>
                  <a:pt x="0" y="0"/>
                </a:lnTo>
                <a:close/>
              </a:path>
            </a:pathLst>
          </a:custGeom>
          <a:solidFill>
            <a:schemeClr val="accent3">
              <a:alpha val="25000"/>
            </a:schemeClr>
          </a:solidFill>
          <a:ln w="127000" cap="flat">
            <a:no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35" name="Freeform: Shape 34">
            <a:extLst>
              <a:ext uri="{FF2B5EF4-FFF2-40B4-BE49-F238E27FC236}">
                <a16:creationId xmlns:a16="http://schemas.microsoft.com/office/drawing/2014/main" id="{FD22DB6A-997F-469F-B88E-FD2939FADD29}"/>
              </a:ext>
            </a:extLst>
          </p:cNvPr>
          <p:cNvSpPr/>
          <p:nvPr/>
        </p:nvSpPr>
        <p:spPr>
          <a:xfrm>
            <a:off x="8195418" y="973931"/>
            <a:ext cx="2260163" cy="1076122"/>
          </a:xfrm>
          <a:custGeom>
            <a:avLst/>
            <a:gdLst>
              <a:gd name="connsiteX0" fmla="*/ 1264421 w 2528843"/>
              <a:gd name="connsiteY0" fmla="*/ 0 h 1204049"/>
              <a:gd name="connsiteX1" fmla="*/ 2525508 w 2528843"/>
              <a:gd name="connsiteY1" fmla="*/ 1138022 h 1204049"/>
              <a:gd name="connsiteX2" fmla="*/ 2528843 w 2528843"/>
              <a:gd name="connsiteY2" fmla="*/ 1204049 h 1204049"/>
              <a:gd name="connsiteX3" fmla="*/ 2470096 w 2528843"/>
              <a:gd name="connsiteY3" fmla="*/ 1168360 h 1204049"/>
              <a:gd name="connsiteX4" fmla="*/ 1865867 w 2528843"/>
              <a:gd name="connsiteY4" fmla="*/ 1015364 h 1204049"/>
              <a:gd name="connsiteX5" fmla="*/ 1372447 w 2528843"/>
              <a:gd name="connsiteY5" fmla="*/ 1114981 h 1204049"/>
              <a:gd name="connsiteX6" fmla="*/ 1264421 w 2528843"/>
              <a:gd name="connsiteY6" fmla="*/ 1167020 h 1204049"/>
              <a:gd name="connsiteX7" fmla="*/ 1156394 w 2528843"/>
              <a:gd name="connsiteY7" fmla="*/ 1114981 h 1204049"/>
              <a:gd name="connsiteX8" fmla="*/ 662974 w 2528843"/>
              <a:gd name="connsiteY8" fmla="*/ 1015364 h 1204049"/>
              <a:gd name="connsiteX9" fmla="*/ 58745 w 2528843"/>
              <a:gd name="connsiteY9" fmla="*/ 1168360 h 1204049"/>
              <a:gd name="connsiteX10" fmla="*/ 0 w 2528843"/>
              <a:gd name="connsiteY10" fmla="*/ 1204049 h 1204049"/>
              <a:gd name="connsiteX11" fmla="*/ 3334 w 2528843"/>
              <a:gd name="connsiteY11" fmla="*/ 1138022 h 1204049"/>
              <a:gd name="connsiteX12" fmla="*/ 1264421 w 2528843"/>
              <a:gd name="connsiteY12" fmla="*/ 0 h 1204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8843" h="1204049">
                <a:moveTo>
                  <a:pt x="1264421" y="0"/>
                </a:moveTo>
                <a:cubicBezTo>
                  <a:pt x="1920759" y="0"/>
                  <a:pt x="2460593" y="498812"/>
                  <a:pt x="2525508" y="1138022"/>
                </a:cubicBezTo>
                <a:lnTo>
                  <a:pt x="2528843" y="1204049"/>
                </a:lnTo>
                <a:lnTo>
                  <a:pt x="2470096" y="1168360"/>
                </a:lnTo>
                <a:cubicBezTo>
                  <a:pt x="2290481" y="1070788"/>
                  <a:pt x="2084647" y="1015364"/>
                  <a:pt x="1865867" y="1015364"/>
                </a:cubicBezTo>
                <a:cubicBezTo>
                  <a:pt x="1690844" y="1015364"/>
                  <a:pt x="1524105" y="1050835"/>
                  <a:pt x="1372447" y="1114981"/>
                </a:cubicBezTo>
                <a:lnTo>
                  <a:pt x="1264421" y="1167020"/>
                </a:lnTo>
                <a:lnTo>
                  <a:pt x="1156394" y="1114981"/>
                </a:lnTo>
                <a:cubicBezTo>
                  <a:pt x="1004736" y="1050835"/>
                  <a:pt x="837998" y="1015364"/>
                  <a:pt x="662974" y="1015364"/>
                </a:cubicBezTo>
                <a:cubicBezTo>
                  <a:pt x="444195" y="1015364"/>
                  <a:pt x="238360" y="1070788"/>
                  <a:pt x="58745" y="1168360"/>
                </a:cubicBezTo>
                <a:lnTo>
                  <a:pt x="0" y="1204049"/>
                </a:lnTo>
                <a:lnTo>
                  <a:pt x="3334" y="1138022"/>
                </a:lnTo>
                <a:cubicBezTo>
                  <a:pt x="68249" y="498812"/>
                  <a:pt x="608083" y="0"/>
                  <a:pt x="1264421" y="0"/>
                </a:cubicBezTo>
                <a:close/>
              </a:path>
            </a:pathLst>
          </a:custGeom>
          <a:solidFill>
            <a:schemeClr val="bg1"/>
          </a:solidFill>
          <a:ln w="127000" cap="flat">
            <a:no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36" name="Freeform: Shape 35">
            <a:extLst>
              <a:ext uri="{FF2B5EF4-FFF2-40B4-BE49-F238E27FC236}">
                <a16:creationId xmlns:a16="http://schemas.microsoft.com/office/drawing/2014/main" id="{E0C39461-B64A-4E7D-BACB-34DA291C208E}"/>
              </a:ext>
            </a:extLst>
          </p:cNvPr>
          <p:cNvSpPr/>
          <p:nvPr/>
        </p:nvSpPr>
        <p:spPr>
          <a:xfrm>
            <a:off x="8730093" y="2016958"/>
            <a:ext cx="1190812" cy="1222869"/>
          </a:xfrm>
          <a:custGeom>
            <a:avLst/>
            <a:gdLst>
              <a:gd name="connsiteX0" fmla="*/ 666186 w 1332371"/>
              <a:gd name="connsiteY0" fmla="*/ 0 h 1368240"/>
              <a:gd name="connsiteX1" fmla="*/ 668968 w 1332371"/>
              <a:gd name="connsiteY1" fmla="*/ 1340 h 1368240"/>
              <a:gd name="connsiteX2" fmla="*/ 1332371 w 1332371"/>
              <a:gd name="connsiteY2" fmla="*/ 1115974 h 1368240"/>
              <a:gd name="connsiteX3" fmla="*/ 1329160 w 1332371"/>
              <a:gd name="connsiteY3" fmla="*/ 1179556 h 1368240"/>
              <a:gd name="connsiteX4" fmla="*/ 1270415 w 1332371"/>
              <a:gd name="connsiteY4" fmla="*/ 1215244 h 1368240"/>
              <a:gd name="connsiteX5" fmla="*/ 666186 w 1332371"/>
              <a:gd name="connsiteY5" fmla="*/ 1368240 h 1368240"/>
              <a:gd name="connsiteX6" fmla="*/ 61957 w 1332371"/>
              <a:gd name="connsiteY6" fmla="*/ 1215244 h 1368240"/>
              <a:gd name="connsiteX7" fmla="*/ 3211 w 1332371"/>
              <a:gd name="connsiteY7" fmla="*/ 1179555 h 1368240"/>
              <a:gd name="connsiteX8" fmla="*/ 0 w 1332371"/>
              <a:gd name="connsiteY8" fmla="*/ 1115974 h 1368240"/>
              <a:gd name="connsiteX9" fmla="*/ 663403 w 1332371"/>
              <a:gd name="connsiteY9" fmla="*/ 1340 h 1368240"/>
              <a:gd name="connsiteX10" fmla="*/ 666186 w 1332371"/>
              <a:gd name="connsiteY10" fmla="*/ 0 h 136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2371" h="1368240">
                <a:moveTo>
                  <a:pt x="666186" y="0"/>
                </a:moveTo>
                <a:lnTo>
                  <a:pt x="668968" y="1340"/>
                </a:lnTo>
                <a:cubicBezTo>
                  <a:pt x="1064121" y="216000"/>
                  <a:pt x="1332371" y="634660"/>
                  <a:pt x="1332371" y="1115974"/>
                </a:cubicBezTo>
                <a:lnTo>
                  <a:pt x="1329160" y="1179556"/>
                </a:lnTo>
                <a:lnTo>
                  <a:pt x="1270415" y="1215244"/>
                </a:lnTo>
                <a:cubicBezTo>
                  <a:pt x="1090800" y="1312817"/>
                  <a:pt x="884966" y="1368240"/>
                  <a:pt x="666186" y="1368240"/>
                </a:cubicBezTo>
                <a:cubicBezTo>
                  <a:pt x="447407" y="1368240"/>
                  <a:pt x="241572" y="1312817"/>
                  <a:pt x="61957" y="1215244"/>
                </a:cubicBezTo>
                <a:lnTo>
                  <a:pt x="3211" y="1179555"/>
                </a:lnTo>
                <a:lnTo>
                  <a:pt x="0" y="1115974"/>
                </a:lnTo>
                <a:cubicBezTo>
                  <a:pt x="0" y="634660"/>
                  <a:pt x="268251" y="216000"/>
                  <a:pt x="663403" y="1340"/>
                </a:cubicBezTo>
                <a:lnTo>
                  <a:pt x="666186" y="0"/>
                </a:lnTo>
                <a:close/>
              </a:path>
            </a:pathLst>
          </a:custGeom>
          <a:solidFill>
            <a:schemeClr val="bg1"/>
          </a:solidFill>
          <a:ln w="127000" cap="flat">
            <a:no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37" name="Freeform: Shape 36">
            <a:extLst>
              <a:ext uri="{FF2B5EF4-FFF2-40B4-BE49-F238E27FC236}">
                <a16:creationId xmlns:a16="http://schemas.microsoft.com/office/drawing/2014/main" id="{79D1FCCA-4538-4548-9033-52CBF4987797}"/>
              </a:ext>
            </a:extLst>
          </p:cNvPr>
          <p:cNvSpPr/>
          <p:nvPr/>
        </p:nvSpPr>
        <p:spPr>
          <a:xfrm>
            <a:off x="7655003" y="2050053"/>
            <a:ext cx="1670496" cy="2097259"/>
          </a:xfrm>
          <a:custGeom>
            <a:avLst/>
            <a:gdLst>
              <a:gd name="connsiteX0" fmla="*/ 604658 w 1869079"/>
              <a:gd name="connsiteY0" fmla="*/ 0 h 2346575"/>
              <a:gd name="connsiteX1" fmla="*/ 601447 w 1869079"/>
              <a:gd name="connsiteY1" fmla="*/ 63581 h 2346575"/>
              <a:gd name="connsiteX2" fmla="*/ 1160334 w 1869079"/>
              <a:gd name="connsiteY2" fmla="*/ 1114720 h 2346575"/>
              <a:gd name="connsiteX3" fmla="*/ 1206104 w 1869079"/>
              <a:gd name="connsiteY3" fmla="*/ 1142526 h 2346575"/>
              <a:gd name="connsiteX4" fmla="*/ 1209438 w 1869079"/>
              <a:gd name="connsiteY4" fmla="*/ 1208553 h 2346575"/>
              <a:gd name="connsiteX5" fmla="*/ 1866296 w 1869079"/>
              <a:gd name="connsiteY5" fmla="*/ 2193579 h 2346575"/>
              <a:gd name="connsiteX6" fmla="*/ 1869079 w 1869079"/>
              <a:gd name="connsiteY6" fmla="*/ 2194920 h 2346575"/>
              <a:gd name="connsiteX7" fmla="*/ 1761052 w 1869079"/>
              <a:gd name="connsiteY7" fmla="*/ 2246958 h 2346575"/>
              <a:gd name="connsiteX8" fmla="*/ 1267632 w 1869079"/>
              <a:gd name="connsiteY8" fmla="*/ 2346575 h 2346575"/>
              <a:gd name="connsiteX9" fmla="*/ 0 w 1869079"/>
              <a:gd name="connsiteY9" fmla="*/ 1078945 h 2346575"/>
              <a:gd name="connsiteX10" fmla="*/ 558887 w 1869079"/>
              <a:gd name="connsiteY10" fmla="*/ 27806 h 2346575"/>
              <a:gd name="connsiteX11" fmla="*/ 604658 w 1869079"/>
              <a:gd name="connsiteY11" fmla="*/ 0 h 2346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9079" h="2346575">
                <a:moveTo>
                  <a:pt x="604658" y="0"/>
                </a:moveTo>
                <a:lnTo>
                  <a:pt x="601447" y="63581"/>
                </a:lnTo>
                <a:cubicBezTo>
                  <a:pt x="601447" y="501139"/>
                  <a:pt x="823142" y="886918"/>
                  <a:pt x="1160334" y="1114720"/>
                </a:cubicBezTo>
                <a:lnTo>
                  <a:pt x="1206104" y="1142526"/>
                </a:lnTo>
                <a:lnTo>
                  <a:pt x="1209438" y="1208553"/>
                </a:lnTo>
                <a:cubicBezTo>
                  <a:pt x="1252715" y="1634693"/>
                  <a:pt x="1507066" y="1998434"/>
                  <a:pt x="1866296" y="2193579"/>
                </a:cubicBezTo>
                <a:lnTo>
                  <a:pt x="1869079" y="2194920"/>
                </a:lnTo>
                <a:lnTo>
                  <a:pt x="1761052" y="2246958"/>
                </a:lnTo>
                <a:cubicBezTo>
                  <a:pt x="1609394" y="2311104"/>
                  <a:pt x="1442656" y="2346575"/>
                  <a:pt x="1267632" y="2346575"/>
                </a:cubicBezTo>
                <a:cubicBezTo>
                  <a:pt x="567538" y="2346575"/>
                  <a:pt x="0" y="1779038"/>
                  <a:pt x="0" y="1078945"/>
                </a:cubicBezTo>
                <a:cubicBezTo>
                  <a:pt x="0" y="641387"/>
                  <a:pt x="221694" y="255609"/>
                  <a:pt x="558887" y="27806"/>
                </a:cubicBezTo>
                <a:lnTo>
                  <a:pt x="604658" y="0"/>
                </a:lnTo>
                <a:close/>
              </a:path>
            </a:pathLst>
          </a:custGeom>
          <a:solidFill>
            <a:schemeClr val="bg1"/>
          </a:solidFill>
          <a:ln w="127000" cap="flat">
            <a:no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38" name="Freeform: Shape 37">
            <a:extLst>
              <a:ext uri="{FF2B5EF4-FFF2-40B4-BE49-F238E27FC236}">
                <a16:creationId xmlns:a16="http://schemas.microsoft.com/office/drawing/2014/main" id="{4AC28CE6-4EDA-47B0-A6D5-0ED28484D3B9}"/>
              </a:ext>
            </a:extLst>
          </p:cNvPr>
          <p:cNvSpPr/>
          <p:nvPr/>
        </p:nvSpPr>
        <p:spPr>
          <a:xfrm>
            <a:off x="9325499" y="2050053"/>
            <a:ext cx="1670496" cy="2097259"/>
          </a:xfrm>
          <a:custGeom>
            <a:avLst/>
            <a:gdLst>
              <a:gd name="connsiteX0" fmla="*/ 1264422 w 1869078"/>
              <a:gd name="connsiteY0" fmla="*/ 0 h 2346575"/>
              <a:gd name="connsiteX1" fmla="*/ 1310191 w 1869078"/>
              <a:gd name="connsiteY1" fmla="*/ 27806 h 2346575"/>
              <a:gd name="connsiteX2" fmla="*/ 1869078 w 1869078"/>
              <a:gd name="connsiteY2" fmla="*/ 1078945 h 2346575"/>
              <a:gd name="connsiteX3" fmla="*/ 601446 w 1869078"/>
              <a:gd name="connsiteY3" fmla="*/ 2346575 h 2346575"/>
              <a:gd name="connsiteX4" fmla="*/ 108026 w 1869078"/>
              <a:gd name="connsiteY4" fmla="*/ 2246958 h 2346575"/>
              <a:gd name="connsiteX5" fmla="*/ 0 w 1869078"/>
              <a:gd name="connsiteY5" fmla="*/ 2194920 h 2346575"/>
              <a:gd name="connsiteX6" fmla="*/ 2782 w 1869078"/>
              <a:gd name="connsiteY6" fmla="*/ 2193579 h 2346575"/>
              <a:gd name="connsiteX7" fmla="*/ 659640 w 1869078"/>
              <a:gd name="connsiteY7" fmla="*/ 1208553 h 2346575"/>
              <a:gd name="connsiteX8" fmla="*/ 662974 w 1869078"/>
              <a:gd name="connsiteY8" fmla="*/ 1142527 h 2346575"/>
              <a:gd name="connsiteX9" fmla="*/ 708745 w 1869078"/>
              <a:gd name="connsiteY9" fmla="*/ 1114720 h 2346575"/>
              <a:gd name="connsiteX10" fmla="*/ 1267632 w 1869078"/>
              <a:gd name="connsiteY10" fmla="*/ 63581 h 2346575"/>
              <a:gd name="connsiteX11" fmla="*/ 1264422 w 1869078"/>
              <a:gd name="connsiteY11" fmla="*/ 0 h 2346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9078" h="2346575">
                <a:moveTo>
                  <a:pt x="1264422" y="0"/>
                </a:moveTo>
                <a:lnTo>
                  <a:pt x="1310191" y="27806"/>
                </a:lnTo>
                <a:cubicBezTo>
                  <a:pt x="1647384" y="255609"/>
                  <a:pt x="1869078" y="641387"/>
                  <a:pt x="1869078" y="1078945"/>
                </a:cubicBezTo>
                <a:cubicBezTo>
                  <a:pt x="1869078" y="1779038"/>
                  <a:pt x="1301540" y="2346575"/>
                  <a:pt x="601446" y="2346575"/>
                </a:cubicBezTo>
                <a:cubicBezTo>
                  <a:pt x="426423" y="2346575"/>
                  <a:pt x="259684" y="2311104"/>
                  <a:pt x="108026" y="2246958"/>
                </a:cubicBezTo>
                <a:lnTo>
                  <a:pt x="0" y="2194920"/>
                </a:lnTo>
                <a:lnTo>
                  <a:pt x="2782" y="2193579"/>
                </a:lnTo>
                <a:cubicBezTo>
                  <a:pt x="362012" y="1998434"/>
                  <a:pt x="616364" y="1634693"/>
                  <a:pt x="659640" y="1208553"/>
                </a:cubicBezTo>
                <a:lnTo>
                  <a:pt x="662974" y="1142527"/>
                </a:lnTo>
                <a:lnTo>
                  <a:pt x="708745" y="1114720"/>
                </a:lnTo>
                <a:cubicBezTo>
                  <a:pt x="1045938" y="886918"/>
                  <a:pt x="1267632" y="501139"/>
                  <a:pt x="1267632" y="63581"/>
                </a:cubicBezTo>
                <a:lnTo>
                  <a:pt x="1264422" y="0"/>
                </a:lnTo>
                <a:close/>
              </a:path>
            </a:pathLst>
          </a:custGeom>
          <a:solidFill>
            <a:schemeClr val="bg1"/>
          </a:solidFill>
          <a:ln w="127000" cap="flat">
            <a:no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40" name="Circle">
            <a:extLst>
              <a:ext uri="{FF2B5EF4-FFF2-40B4-BE49-F238E27FC236}">
                <a16:creationId xmlns:a16="http://schemas.microsoft.com/office/drawing/2014/main" id="{E35B5AB6-6693-4A3F-BFFB-C1E15268EE35}"/>
              </a:ext>
            </a:extLst>
          </p:cNvPr>
          <p:cNvSpPr/>
          <p:nvPr/>
        </p:nvSpPr>
        <p:spPr>
          <a:xfrm>
            <a:off x="8192549" y="973930"/>
            <a:ext cx="2265901" cy="2265896"/>
          </a:xfrm>
          <a:prstGeom prst="ellipse">
            <a:avLst/>
          </a:prstGeom>
          <a:noFill/>
          <a:ln w="25400" cap="rnd">
            <a:gradFill>
              <a:gsLst>
                <a:gs pos="0">
                  <a:schemeClr val="accent1"/>
                </a:gs>
                <a:gs pos="100000">
                  <a:schemeClr val="accent1">
                    <a:lumMod val="60000"/>
                    <a:lumOff val="40000"/>
                  </a:schemeClr>
                </a:gs>
              </a:gsLst>
              <a:lin ang="5400000" scaled="1"/>
            </a:grad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41" name="Circle">
            <a:extLst>
              <a:ext uri="{FF2B5EF4-FFF2-40B4-BE49-F238E27FC236}">
                <a16:creationId xmlns:a16="http://schemas.microsoft.com/office/drawing/2014/main" id="{83793A6F-BA95-424B-8E4E-8B71B5FFB63B}"/>
              </a:ext>
            </a:extLst>
          </p:cNvPr>
          <p:cNvSpPr/>
          <p:nvPr/>
        </p:nvSpPr>
        <p:spPr>
          <a:xfrm>
            <a:off x="8730094" y="1881415"/>
            <a:ext cx="2265901" cy="2265896"/>
          </a:xfrm>
          <a:prstGeom prst="ellipse">
            <a:avLst/>
          </a:prstGeom>
          <a:noFill/>
          <a:ln w="25400" cap="rnd">
            <a:gradFill>
              <a:gsLst>
                <a:gs pos="0">
                  <a:schemeClr val="accent4"/>
                </a:gs>
                <a:gs pos="100000">
                  <a:schemeClr val="accent4">
                    <a:lumMod val="60000"/>
                    <a:lumOff val="40000"/>
                  </a:schemeClr>
                </a:gs>
              </a:gsLst>
              <a:lin ang="5400000" scaled="1"/>
            </a:grad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42" name="Circle">
            <a:extLst>
              <a:ext uri="{FF2B5EF4-FFF2-40B4-BE49-F238E27FC236}">
                <a16:creationId xmlns:a16="http://schemas.microsoft.com/office/drawing/2014/main" id="{531D94DD-FE04-4E70-A36C-A8AF43451990}"/>
              </a:ext>
            </a:extLst>
          </p:cNvPr>
          <p:cNvSpPr/>
          <p:nvPr/>
        </p:nvSpPr>
        <p:spPr>
          <a:xfrm>
            <a:off x="7655004" y="1881415"/>
            <a:ext cx="2265901" cy="2265896"/>
          </a:xfrm>
          <a:prstGeom prst="ellipse">
            <a:avLst/>
          </a:prstGeom>
          <a:noFill/>
          <a:ln w="25400" cap="rnd">
            <a:gradFill>
              <a:gsLst>
                <a:gs pos="0">
                  <a:schemeClr val="accent3"/>
                </a:gs>
                <a:gs pos="100000">
                  <a:schemeClr val="accent3">
                    <a:lumMod val="60000"/>
                    <a:lumOff val="40000"/>
                  </a:schemeClr>
                </a:gs>
              </a:gsLst>
              <a:lin ang="5400000" scaled="1"/>
            </a:grad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75" name="Lorem Ipsum is simply dummy text of the printing and typesetting industry. Lorem Ipsum has been the industry's standard dummy text ever since the">
            <a:extLst>
              <a:ext uri="{FF2B5EF4-FFF2-40B4-BE49-F238E27FC236}">
                <a16:creationId xmlns:a16="http://schemas.microsoft.com/office/drawing/2014/main" id="{99924449-D0DA-4583-ACBE-3DE09DAF5B38}"/>
              </a:ext>
            </a:extLst>
          </p:cNvPr>
          <p:cNvSpPr txBox="1"/>
          <p:nvPr/>
        </p:nvSpPr>
        <p:spPr>
          <a:xfrm>
            <a:off x="7873762" y="4626225"/>
            <a:ext cx="2903474" cy="125784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ctr" anchorCtr="0">
            <a:spAutoFit/>
          </a:bodyPr>
          <a:lstStyle>
            <a:lvl1pPr algn="l">
              <a:defRPr sz="2500" b="0">
                <a:solidFill>
                  <a:srgbClr val="9FA09E"/>
                </a:solidFill>
                <a:latin typeface="Barlow Medium"/>
                <a:ea typeface="Barlow Medium"/>
                <a:cs typeface="Barlow Medium"/>
                <a:sym typeface="Barlow Medium"/>
              </a:defRPr>
            </a:lvl1pPr>
          </a:lstStyle>
          <a:p>
            <a:pPr algn="ctr" defTabSz="412750" hangingPunct="0">
              <a:lnSpc>
                <a:spcPts val="1800"/>
              </a:lnSpc>
              <a:spcAft>
                <a:spcPts val="600"/>
              </a:spcAft>
            </a:pPr>
            <a:r>
              <a:rPr lang="en-US" sz="1700" b="1" kern="0" dirty="0">
                <a:solidFill>
                  <a:schemeClr val="accent3"/>
                </a:solidFill>
                <a:latin typeface="Montserrat" panose="00000500000000000000" pitchFamily="50" charset="0"/>
              </a:rPr>
              <a:t>PLACEHOLDER TEXT</a:t>
            </a:r>
          </a:p>
          <a:p>
            <a:pPr algn="ctr" defTabSz="412750" hangingPunct="0">
              <a:lnSpc>
                <a:spcPts val="1800"/>
              </a:lnSpc>
              <a:spcAft>
                <a:spcPts val="600"/>
              </a:spcAft>
            </a:pPr>
            <a:r>
              <a:rPr sz="1100" kern="0" dirty="0">
                <a:solidFill>
                  <a:schemeClr val="tx1"/>
                </a:solidFill>
                <a:latin typeface="Montserrat" panose="00000500000000000000" pitchFamily="50" charset="0"/>
              </a:rPr>
              <a:t>Lorem Ipsum is simply dummy text of the printing </a:t>
            </a:r>
            <a:r>
              <a:rPr lang="en-US" sz="1100" kern="0" dirty="0">
                <a:solidFill>
                  <a:schemeClr val="tx1"/>
                </a:solidFill>
                <a:latin typeface="Montserrat" panose="00000500000000000000" pitchFamily="50" charset="0"/>
              </a:rPr>
              <a:t>&amp;</a:t>
            </a:r>
            <a:r>
              <a:rPr sz="1100" kern="0" dirty="0">
                <a:solidFill>
                  <a:schemeClr val="tx1"/>
                </a:solidFill>
                <a:latin typeface="Montserrat" panose="00000500000000000000" pitchFamily="50" charset="0"/>
              </a:rPr>
              <a:t> typesetting industry. Lorem Ipsum has been the industry's standard dummy text ever since the</a:t>
            </a:r>
          </a:p>
        </p:txBody>
      </p:sp>
      <p:sp>
        <p:nvSpPr>
          <p:cNvPr id="85" name="Freeform: Shape 84">
            <a:extLst>
              <a:ext uri="{FF2B5EF4-FFF2-40B4-BE49-F238E27FC236}">
                <a16:creationId xmlns:a16="http://schemas.microsoft.com/office/drawing/2014/main" id="{C4EDEB38-772A-486F-B8BC-89B37A583D87}"/>
              </a:ext>
            </a:extLst>
          </p:cNvPr>
          <p:cNvSpPr/>
          <p:nvPr/>
        </p:nvSpPr>
        <p:spPr>
          <a:xfrm>
            <a:off x="6125269" y="1"/>
            <a:ext cx="219731" cy="606345"/>
          </a:xfrm>
          <a:custGeom>
            <a:avLst/>
            <a:gdLst>
              <a:gd name="connsiteX0" fmla="*/ 0 w 219731"/>
              <a:gd name="connsiteY0" fmla="*/ 0 h 606345"/>
              <a:gd name="connsiteX1" fmla="*/ 219731 w 219731"/>
              <a:gd name="connsiteY1" fmla="*/ 0 h 606345"/>
              <a:gd name="connsiteX2" fmla="*/ 177193 w 219731"/>
              <a:gd name="connsiteY2" fmla="*/ 210100 h 606345"/>
              <a:gd name="connsiteX3" fmla="*/ 109865 w 219731"/>
              <a:gd name="connsiteY3" fmla="*/ 606345 h 606345"/>
              <a:gd name="connsiteX4" fmla="*/ 42537 w 219731"/>
              <a:gd name="connsiteY4" fmla="*/ 210100 h 606345"/>
              <a:gd name="connsiteX5" fmla="*/ 0 w 219731"/>
              <a:gd name="connsiteY5" fmla="*/ 0 h 606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31" h="606345">
                <a:moveTo>
                  <a:pt x="0" y="0"/>
                </a:moveTo>
                <a:lnTo>
                  <a:pt x="219731" y="0"/>
                </a:lnTo>
                <a:lnTo>
                  <a:pt x="177193" y="210100"/>
                </a:lnTo>
                <a:lnTo>
                  <a:pt x="109865" y="606345"/>
                </a:lnTo>
                <a:lnTo>
                  <a:pt x="42537" y="210100"/>
                </a:lnTo>
                <a:lnTo>
                  <a:pt x="0" y="0"/>
                </a:lnTo>
                <a:close/>
              </a:path>
            </a:pathLst>
          </a:cu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2"/>
              </a:solidFill>
            </a:endParaRPr>
          </a:p>
        </p:txBody>
      </p:sp>
      <p:sp>
        <p:nvSpPr>
          <p:cNvPr id="84" name="Freeform: Shape 83">
            <a:extLst>
              <a:ext uri="{FF2B5EF4-FFF2-40B4-BE49-F238E27FC236}">
                <a16:creationId xmlns:a16="http://schemas.microsoft.com/office/drawing/2014/main" id="{AEF63707-49DB-4EB8-8FBF-E7C323DFBFAE}"/>
              </a:ext>
            </a:extLst>
          </p:cNvPr>
          <p:cNvSpPr/>
          <p:nvPr/>
        </p:nvSpPr>
        <p:spPr>
          <a:xfrm>
            <a:off x="6011268" y="606346"/>
            <a:ext cx="447730" cy="5645311"/>
          </a:xfrm>
          <a:custGeom>
            <a:avLst/>
            <a:gdLst>
              <a:gd name="connsiteX0" fmla="*/ 223865 w 447730"/>
              <a:gd name="connsiteY0" fmla="*/ 0 h 5645311"/>
              <a:gd name="connsiteX1" fmla="*/ 243817 w 447730"/>
              <a:gd name="connsiteY1" fmla="*/ 117423 h 5645311"/>
              <a:gd name="connsiteX2" fmla="*/ 447730 w 447730"/>
              <a:gd name="connsiteY2" fmla="*/ 2822655 h 5645311"/>
              <a:gd name="connsiteX3" fmla="*/ 243817 w 447730"/>
              <a:gd name="connsiteY3" fmla="*/ 5527887 h 5645311"/>
              <a:gd name="connsiteX4" fmla="*/ 223865 w 447730"/>
              <a:gd name="connsiteY4" fmla="*/ 5645311 h 5645311"/>
              <a:gd name="connsiteX5" fmla="*/ 203913 w 447730"/>
              <a:gd name="connsiteY5" fmla="*/ 5527887 h 5645311"/>
              <a:gd name="connsiteX6" fmla="*/ 0 w 447730"/>
              <a:gd name="connsiteY6" fmla="*/ 2822655 h 5645311"/>
              <a:gd name="connsiteX7" fmla="*/ 203913 w 447730"/>
              <a:gd name="connsiteY7" fmla="*/ 117423 h 5645311"/>
              <a:gd name="connsiteX8" fmla="*/ 223865 w 447730"/>
              <a:gd name="connsiteY8" fmla="*/ 0 h 5645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730" h="5645311">
                <a:moveTo>
                  <a:pt x="223865" y="0"/>
                </a:moveTo>
                <a:lnTo>
                  <a:pt x="243817" y="117423"/>
                </a:lnTo>
                <a:cubicBezTo>
                  <a:pt x="376933" y="982086"/>
                  <a:pt x="447730" y="1888553"/>
                  <a:pt x="447730" y="2822655"/>
                </a:cubicBezTo>
                <a:cubicBezTo>
                  <a:pt x="447730" y="3756757"/>
                  <a:pt x="376933" y="4663224"/>
                  <a:pt x="243817" y="5527887"/>
                </a:cubicBezTo>
                <a:lnTo>
                  <a:pt x="223865" y="5645311"/>
                </a:lnTo>
                <a:lnTo>
                  <a:pt x="203913" y="5527887"/>
                </a:lnTo>
                <a:cubicBezTo>
                  <a:pt x="70797" y="4663224"/>
                  <a:pt x="0" y="3756757"/>
                  <a:pt x="0" y="2822655"/>
                </a:cubicBezTo>
                <a:cubicBezTo>
                  <a:pt x="0" y="1888553"/>
                  <a:pt x="70797" y="982086"/>
                  <a:pt x="203913" y="117423"/>
                </a:cubicBezTo>
                <a:lnTo>
                  <a:pt x="223865" y="0"/>
                </a:lnTo>
                <a:close/>
              </a:path>
            </a:pathLst>
          </a:cu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r>
              <a:rPr lang="en-US" sz="1500" b="1" dirty="0">
                <a:solidFill>
                  <a:schemeClr val="tx2"/>
                </a:solidFill>
                <a:latin typeface="Montserrat" panose="00000500000000000000" pitchFamily="50" charset="0"/>
              </a:rPr>
              <a:t>VS</a:t>
            </a:r>
          </a:p>
        </p:txBody>
      </p:sp>
      <p:sp>
        <p:nvSpPr>
          <p:cNvPr id="83" name="Freeform: Shape 82">
            <a:extLst>
              <a:ext uri="{FF2B5EF4-FFF2-40B4-BE49-F238E27FC236}">
                <a16:creationId xmlns:a16="http://schemas.microsoft.com/office/drawing/2014/main" id="{25E988FE-AFA4-4F55-B907-44866785DD5D}"/>
              </a:ext>
            </a:extLst>
          </p:cNvPr>
          <p:cNvSpPr/>
          <p:nvPr/>
        </p:nvSpPr>
        <p:spPr>
          <a:xfrm>
            <a:off x="6125269" y="6251656"/>
            <a:ext cx="219731" cy="606344"/>
          </a:xfrm>
          <a:custGeom>
            <a:avLst/>
            <a:gdLst>
              <a:gd name="connsiteX0" fmla="*/ 109865 w 219731"/>
              <a:gd name="connsiteY0" fmla="*/ 0 h 606344"/>
              <a:gd name="connsiteX1" fmla="*/ 177193 w 219731"/>
              <a:gd name="connsiteY1" fmla="*/ 396244 h 606344"/>
              <a:gd name="connsiteX2" fmla="*/ 219731 w 219731"/>
              <a:gd name="connsiteY2" fmla="*/ 606344 h 606344"/>
              <a:gd name="connsiteX3" fmla="*/ 0 w 219731"/>
              <a:gd name="connsiteY3" fmla="*/ 606344 h 606344"/>
              <a:gd name="connsiteX4" fmla="*/ 42537 w 219731"/>
              <a:gd name="connsiteY4" fmla="*/ 396244 h 606344"/>
              <a:gd name="connsiteX5" fmla="*/ 109865 w 219731"/>
              <a:gd name="connsiteY5" fmla="*/ 0 h 606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731" h="606344">
                <a:moveTo>
                  <a:pt x="109865" y="0"/>
                </a:moveTo>
                <a:lnTo>
                  <a:pt x="177193" y="396244"/>
                </a:lnTo>
                <a:lnTo>
                  <a:pt x="219731" y="606344"/>
                </a:lnTo>
                <a:lnTo>
                  <a:pt x="0" y="606344"/>
                </a:lnTo>
                <a:lnTo>
                  <a:pt x="42537" y="396244"/>
                </a:lnTo>
                <a:lnTo>
                  <a:pt x="109865" y="0"/>
                </a:lnTo>
                <a:close/>
              </a:path>
            </a:pathLst>
          </a:cu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2"/>
              </a:solidFill>
            </a:endParaRPr>
          </a:p>
        </p:txBody>
      </p:sp>
    </p:spTree>
    <p:extLst>
      <p:ext uri="{BB962C8B-B14F-4D97-AF65-F5344CB8AC3E}">
        <p14:creationId xmlns:p14="http://schemas.microsoft.com/office/powerpoint/2010/main" val="888520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40000" fill="hold" grpId="0" nodeType="withEffect">
                                  <p:stCondLst>
                                    <p:cond delay="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1000" fill="hold"/>
                                        <p:tgtEl>
                                          <p:spTgt spid="85"/>
                                        </p:tgtEl>
                                        <p:attrNameLst>
                                          <p:attrName>ppt_x</p:attrName>
                                        </p:attrNameLst>
                                      </p:cBhvr>
                                      <p:tavLst>
                                        <p:tav tm="0">
                                          <p:val>
                                            <p:strVal val="#ppt_x"/>
                                          </p:val>
                                        </p:tav>
                                        <p:tav tm="100000">
                                          <p:val>
                                            <p:strVal val="#ppt_x"/>
                                          </p:val>
                                        </p:tav>
                                      </p:tavLst>
                                    </p:anim>
                                    <p:anim calcmode="lin" valueType="num">
                                      <p:cBhvr additive="base">
                                        <p:cTn id="8" dur="1000" fill="hold"/>
                                        <p:tgtEl>
                                          <p:spTgt spid="85"/>
                                        </p:tgtEl>
                                        <p:attrNameLst>
                                          <p:attrName>ppt_y</p:attrName>
                                        </p:attrNameLst>
                                      </p:cBhvr>
                                      <p:tavLst>
                                        <p:tav tm="0">
                                          <p:val>
                                            <p:strVal val="0-#ppt_h/2"/>
                                          </p:val>
                                        </p:tav>
                                        <p:tav tm="100000">
                                          <p:val>
                                            <p:strVal val="#ppt_y"/>
                                          </p:val>
                                        </p:tav>
                                      </p:tavLst>
                                    </p:anim>
                                  </p:childTnLst>
                                </p:cTn>
                              </p:par>
                              <p:par>
                                <p:cTn id="9" presetID="2" presetClass="entr" presetSubtype="4" decel="40000" fill="hold" grpId="0" nodeType="withEffect">
                                  <p:stCondLst>
                                    <p:cond delay="0"/>
                                  </p:stCondLst>
                                  <p:childTnLst>
                                    <p:set>
                                      <p:cBhvr>
                                        <p:cTn id="10" dur="1" fill="hold">
                                          <p:stCondLst>
                                            <p:cond delay="0"/>
                                          </p:stCondLst>
                                        </p:cTn>
                                        <p:tgtEl>
                                          <p:spTgt spid="83"/>
                                        </p:tgtEl>
                                        <p:attrNameLst>
                                          <p:attrName>style.visibility</p:attrName>
                                        </p:attrNameLst>
                                      </p:cBhvr>
                                      <p:to>
                                        <p:strVal val="visible"/>
                                      </p:to>
                                    </p:set>
                                    <p:anim calcmode="lin" valueType="num">
                                      <p:cBhvr additive="base">
                                        <p:cTn id="11" dur="1000" fill="hold"/>
                                        <p:tgtEl>
                                          <p:spTgt spid="83"/>
                                        </p:tgtEl>
                                        <p:attrNameLst>
                                          <p:attrName>ppt_x</p:attrName>
                                        </p:attrNameLst>
                                      </p:cBhvr>
                                      <p:tavLst>
                                        <p:tav tm="0">
                                          <p:val>
                                            <p:strVal val="#ppt_x"/>
                                          </p:val>
                                        </p:tav>
                                        <p:tav tm="100000">
                                          <p:val>
                                            <p:strVal val="#ppt_x"/>
                                          </p:val>
                                        </p:tav>
                                      </p:tavLst>
                                    </p:anim>
                                    <p:anim calcmode="lin" valueType="num">
                                      <p:cBhvr additive="base">
                                        <p:cTn id="12" dur="1000" fill="hold"/>
                                        <p:tgtEl>
                                          <p:spTgt spid="83"/>
                                        </p:tgtEl>
                                        <p:attrNameLst>
                                          <p:attrName>ppt_y</p:attrName>
                                        </p:attrNameLst>
                                      </p:cBhvr>
                                      <p:tavLst>
                                        <p:tav tm="0">
                                          <p:val>
                                            <p:strVal val="1+#ppt_h/2"/>
                                          </p:val>
                                        </p:tav>
                                        <p:tav tm="100000">
                                          <p:val>
                                            <p:strVal val="#ppt_y"/>
                                          </p:val>
                                        </p:tav>
                                      </p:tavLst>
                                    </p:anim>
                                  </p:childTnLst>
                                </p:cTn>
                              </p:par>
                              <p:par>
                                <p:cTn id="13" presetID="55" presetClass="entr" presetSubtype="0" fill="hold" grpId="0" nodeType="withEffect">
                                  <p:stCondLst>
                                    <p:cond delay="0"/>
                                  </p:stCondLst>
                                  <p:childTnLst>
                                    <p:set>
                                      <p:cBhvr>
                                        <p:cTn id="14" dur="1" fill="hold">
                                          <p:stCondLst>
                                            <p:cond delay="0"/>
                                          </p:stCondLst>
                                        </p:cTn>
                                        <p:tgtEl>
                                          <p:spTgt spid="84"/>
                                        </p:tgtEl>
                                        <p:attrNameLst>
                                          <p:attrName>style.visibility</p:attrName>
                                        </p:attrNameLst>
                                      </p:cBhvr>
                                      <p:to>
                                        <p:strVal val="visible"/>
                                      </p:to>
                                    </p:set>
                                    <p:anim calcmode="lin" valueType="num">
                                      <p:cBhvr>
                                        <p:cTn id="15" dur="1000" fill="hold"/>
                                        <p:tgtEl>
                                          <p:spTgt spid="84"/>
                                        </p:tgtEl>
                                        <p:attrNameLst>
                                          <p:attrName>ppt_w</p:attrName>
                                        </p:attrNameLst>
                                      </p:cBhvr>
                                      <p:tavLst>
                                        <p:tav tm="0">
                                          <p:val>
                                            <p:strVal val="#ppt_w*0.70"/>
                                          </p:val>
                                        </p:tav>
                                        <p:tav tm="100000">
                                          <p:val>
                                            <p:strVal val="#ppt_w"/>
                                          </p:val>
                                        </p:tav>
                                      </p:tavLst>
                                    </p:anim>
                                    <p:anim calcmode="lin" valueType="num">
                                      <p:cBhvr>
                                        <p:cTn id="16" dur="1000" fill="hold"/>
                                        <p:tgtEl>
                                          <p:spTgt spid="84"/>
                                        </p:tgtEl>
                                        <p:attrNameLst>
                                          <p:attrName>ppt_h</p:attrName>
                                        </p:attrNameLst>
                                      </p:cBhvr>
                                      <p:tavLst>
                                        <p:tav tm="0">
                                          <p:val>
                                            <p:strVal val="#ppt_h"/>
                                          </p:val>
                                        </p:tav>
                                        <p:tav tm="100000">
                                          <p:val>
                                            <p:strVal val="#ppt_h"/>
                                          </p:val>
                                        </p:tav>
                                      </p:tavLst>
                                    </p:anim>
                                    <p:animEffect transition="in" filter="fade">
                                      <p:cBhvr>
                                        <p:cTn id="17" dur="1000"/>
                                        <p:tgtEl>
                                          <p:spTgt spid="8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0"/>
                                        </p:tgtEl>
                                        <p:attrNameLst>
                                          <p:attrName>style.visibility</p:attrName>
                                        </p:attrNameLst>
                                      </p:cBhvr>
                                      <p:to>
                                        <p:strVal val="visible"/>
                                      </p:to>
                                    </p:set>
                                    <p:animEffect transition="in" filter="fade">
                                      <p:cBhvr>
                                        <p:cTn id="20" dur="1750"/>
                                        <p:tgtEl>
                                          <p:spTgt spid="40"/>
                                        </p:tgtEl>
                                      </p:cBhvr>
                                    </p:animEffect>
                                  </p:childTnLst>
                                </p:cTn>
                              </p:par>
                              <p:par>
                                <p:cTn id="21" presetID="42" presetClass="path" presetSubtype="0" accel="62000" decel="38000" fill="hold" grpId="1" nodeType="withEffect">
                                  <p:stCondLst>
                                    <p:cond delay="0"/>
                                  </p:stCondLst>
                                  <p:childTnLst>
                                    <p:animMotion origin="layout" path="M -3.75E-6 0.08865 L -3.75E-6 -3.7037E-6 " pathEditMode="relative" rAng="0" ptsTypes="AA">
                                      <p:cBhvr>
                                        <p:cTn id="22" dur="1750" fill="hold"/>
                                        <p:tgtEl>
                                          <p:spTgt spid="40"/>
                                        </p:tgtEl>
                                        <p:attrNameLst>
                                          <p:attrName>ppt_x</p:attrName>
                                          <p:attrName>ppt_y</p:attrName>
                                        </p:attrNameLst>
                                      </p:cBhvr>
                                      <p:rCtr x="0" y="-4606"/>
                                    </p:animMotion>
                                  </p:childTnLst>
                                </p:cTn>
                              </p:par>
                              <p:par>
                                <p:cTn id="23" presetID="10"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animEffect transition="in" filter="fade">
                                      <p:cBhvr>
                                        <p:cTn id="25" dur="1750"/>
                                        <p:tgtEl>
                                          <p:spTgt spid="41"/>
                                        </p:tgtEl>
                                      </p:cBhvr>
                                    </p:animEffect>
                                  </p:childTnLst>
                                </p:cTn>
                              </p:par>
                              <p:par>
                                <p:cTn id="26" presetID="42" presetClass="path" presetSubtype="0" accel="62000" decel="38000" fill="hold" grpId="1" nodeType="withEffect">
                                  <p:stCondLst>
                                    <p:cond delay="0"/>
                                  </p:stCondLst>
                                  <p:childTnLst>
                                    <p:animMotion origin="layout" path="M -0.04414 -0.04491 L -4.375E-6 -1.85185E-6 " pathEditMode="relative" rAng="0" ptsTypes="AA">
                                      <p:cBhvr>
                                        <p:cTn id="27" dur="1750" fill="hold"/>
                                        <p:tgtEl>
                                          <p:spTgt spid="41"/>
                                        </p:tgtEl>
                                        <p:attrNameLst>
                                          <p:attrName>ppt_x</p:attrName>
                                          <p:attrName>ppt_y</p:attrName>
                                        </p:attrNameLst>
                                      </p:cBhvr>
                                      <p:rCtr x="2201" y="2245"/>
                                    </p:animMotion>
                                  </p:childTnLst>
                                </p:cTn>
                              </p:par>
                              <p:par>
                                <p:cTn id="28" presetID="10"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fade">
                                      <p:cBhvr>
                                        <p:cTn id="30" dur="1750"/>
                                        <p:tgtEl>
                                          <p:spTgt spid="42"/>
                                        </p:tgtEl>
                                      </p:cBhvr>
                                    </p:animEffect>
                                  </p:childTnLst>
                                </p:cTn>
                              </p:par>
                              <p:par>
                                <p:cTn id="31" presetID="42" presetClass="path" presetSubtype="0" accel="62000" decel="38000" fill="hold" grpId="1" nodeType="withEffect">
                                  <p:stCondLst>
                                    <p:cond delay="0"/>
                                  </p:stCondLst>
                                  <p:childTnLst>
                                    <p:animMotion origin="layout" path="M 0.04414 -0.04421 L -3.125E-6 -1.85185E-6 " pathEditMode="relative" rAng="0" ptsTypes="AA">
                                      <p:cBhvr>
                                        <p:cTn id="32" dur="1750" fill="hold"/>
                                        <p:tgtEl>
                                          <p:spTgt spid="42"/>
                                        </p:tgtEl>
                                        <p:attrNameLst>
                                          <p:attrName>ppt_x</p:attrName>
                                          <p:attrName>ppt_y</p:attrName>
                                        </p:attrNameLst>
                                      </p:cBhvr>
                                      <p:rCtr x="-2214" y="2199"/>
                                    </p:animMotion>
                                  </p:childTnLst>
                                </p:cTn>
                              </p:par>
                              <p:par>
                                <p:cTn id="33" presetID="10" presetClass="entr" presetSubtype="0" fill="hold" grpId="0" nodeType="with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1750"/>
                                        <p:tgtEl>
                                          <p:spTgt spid="8"/>
                                        </p:tgtEl>
                                      </p:cBhvr>
                                    </p:animEffect>
                                  </p:childTnLst>
                                </p:cTn>
                              </p:par>
                              <p:par>
                                <p:cTn id="36" presetID="42" presetClass="path" presetSubtype="0" accel="62000" decel="38000" fill="hold" grpId="1" nodeType="withEffect">
                                  <p:stCondLst>
                                    <p:cond delay="0"/>
                                  </p:stCondLst>
                                  <p:childTnLst>
                                    <p:animMotion origin="layout" path="M -3.75E-6 0.08865 L -3.75E-6 -3.7037E-6 " pathEditMode="relative" rAng="0" ptsTypes="AA">
                                      <p:cBhvr>
                                        <p:cTn id="37" dur="1750" fill="hold"/>
                                        <p:tgtEl>
                                          <p:spTgt spid="8"/>
                                        </p:tgtEl>
                                        <p:attrNameLst>
                                          <p:attrName>ppt_x</p:attrName>
                                          <p:attrName>ppt_y</p:attrName>
                                        </p:attrNameLst>
                                      </p:cBhvr>
                                      <p:rCtr x="0" y="-4606"/>
                                    </p:animMotion>
                                  </p:childTnLst>
                                </p:cTn>
                              </p:par>
                              <p:par>
                                <p:cTn id="38" presetID="10" presetClass="entr" presetSubtype="0" fill="hold" grpId="0" nodeType="withEffect">
                                  <p:stCondLst>
                                    <p:cond delay="0"/>
                                  </p:stCondLst>
                                  <p:childTnLst>
                                    <p:set>
                                      <p:cBhvr>
                                        <p:cTn id="39" dur="1" fill="hold">
                                          <p:stCondLst>
                                            <p:cond delay="0"/>
                                          </p:stCondLst>
                                        </p:cTn>
                                        <p:tgtEl>
                                          <p:spTgt spid="9"/>
                                        </p:tgtEl>
                                        <p:attrNameLst>
                                          <p:attrName>style.visibility</p:attrName>
                                        </p:attrNameLst>
                                      </p:cBhvr>
                                      <p:to>
                                        <p:strVal val="visible"/>
                                      </p:to>
                                    </p:set>
                                    <p:animEffect transition="in" filter="fade">
                                      <p:cBhvr>
                                        <p:cTn id="40" dur="1750"/>
                                        <p:tgtEl>
                                          <p:spTgt spid="9"/>
                                        </p:tgtEl>
                                      </p:cBhvr>
                                    </p:animEffect>
                                  </p:childTnLst>
                                </p:cTn>
                              </p:par>
                              <p:par>
                                <p:cTn id="41" presetID="42" presetClass="path" presetSubtype="0" accel="62000" decel="38000" fill="hold" grpId="1" nodeType="withEffect">
                                  <p:stCondLst>
                                    <p:cond delay="0"/>
                                  </p:stCondLst>
                                  <p:childTnLst>
                                    <p:animMotion origin="layout" path="M 0.04414 -0.04421 L -3.125E-6 -1.85185E-6 " pathEditMode="relative" rAng="0" ptsTypes="AA">
                                      <p:cBhvr>
                                        <p:cTn id="42" dur="1750" fill="hold"/>
                                        <p:tgtEl>
                                          <p:spTgt spid="9"/>
                                        </p:tgtEl>
                                        <p:attrNameLst>
                                          <p:attrName>ppt_x</p:attrName>
                                          <p:attrName>ppt_y</p:attrName>
                                        </p:attrNameLst>
                                      </p:cBhvr>
                                      <p:rCtr x="-2214" y="2199"/>
                                    </p:animMotion>
                                  </p:childTnLst>
                                </p:cTn>
                              </p:par>
                              <p:par>
                                <p:cTn id="43" presetID="10" presetClass="entr" presetSubtype="0" fill="hold" grpId="0" nodeType="withEffect">
                                  <p:stCondLst>
                                    <p:cond delay="0"/>
                                  </p:stCondLst>
                                  <p:childTnLst>
                                    <p:set>
                                      <p:cBhvr>
                                        <p:cTn id="44" dur="1" fill="hold">
                                          <p:stCondLst>
                                            <p:cond delay="0"/>
                                          </p:stCondLst>
                                        </p:cTn>
                                        <p:tgtEl>
                                          <p:spTgt spid="10"/>
                                        </p:tgtEl>
                                        <p:attrNameLst>
                                          <p:attrName>style.visibility</p:attrName>
                                        </p:attrNameLst>
                                      </p:cBhvr>
                                      <p:to>
                                        <p:strVal val="visible"/>
                                      </p:to>
                                    </p:set>
                                    <p:animEffect transition="in" filter="fade">
                                      <p:cBhvr>
                                        <p:cTn id="45" dur="1750"/>
                                        <p:tgtEl>
                                          <p:spTgt spid="10"/>
                                        </p:tgtEl>
                                      </p:cBhvr>
                                    </p:animEffect>
                                  </p:childTnLst>
                                </p:cTn>
                              </p:par>
                              <p:par>
                                <p:cTn id="46" presetID="42" presetClass="path" presetSubtype="0" accel="62000" decel="38000" fill="hold" grpId="1" nodeType="withEffect">
                                  <p:stCondLst>
                                    <p:cond delay="0"/>
                                  </p:stCondLst>
                                  <p:childTnLst>
                                    <p:animMotion origin="layout" path="M -0.04414 -0.04491 L -4.375E-6 -1.85185E-6 " pathEditMode="relative" rAng="0" ptsTypes="AA">
                                      <p:cBhvr>
                                        <p:cTn id="47" dur="1750" fill="hold"/>
                                        <p:tgtEl>
                                          <p:spTgt spid="10"/>
                                        </p:tgtEl>
                                        <p:attrNameLst>
                                          <p:attrName>ppt_x</p:attrName>
                                          <p:attrName>ppt_y</p:attrName>
                                        </p:attrNameLst>
                                      </p:cBhvr>
                                      <p:rCtr x="2201" y="2245"/>
                                    </p:animMotion>
                                  </p:childTnLst>
                                </p:cTn>
                              </p:par>
                              <p:par>
                                <p:cTn id="48" presetID="10" presetClass="entr" presetSubtype="0" fill="hold" grpId="0" nodeType="withEffect">
                                  <p:stCondLst>
                                    <p:cond delay="1750"/>
                                  </p:stCondLst>
                                  <p:childTnLst>
                                    <p:set>
                                      <p:cBhvr>
                                        <p:cTn id="49" dur="1" fill="hold">
                                          <p:stCondLst>
                                            <p:cond delay="0"/>
                                          </p:stCondLst>
                                        </p:cTn>
                                        <p:tgtEl>
                                          <p:spTgt spid="11"/>
                                        </p:tgtEl>
                                        <p:attrNameLst>
                                          <p:attrName>style.visibility</p:attrName>
                                        </p:attrNameLst>
                                      </p:cBhvr>
                                      <p:to>
                                        <p:strVal val="visible"/>
                                      </p:to>
                                    </p:set>
                                    <p:animEffect transition="in" filter="fade">
                                      <p:cBhvr>
                                        <p:cTn id="50" dur="1000"/>
                                        <p:tgtEl>
                                          <p:spTgt spid="11"/>
                                        </p:tgtEl>
                                      </p:cBhvr>
                                    </p:animEffect>
                                  </p:childTnLst>
                                </p:cTn>
                              </p:par>
                              <p:par>
                                <p:cTn id="51" presetID="10" presetClass="entr" presetSubtype="0" fill="hold" grpId="0" nodeType="withEffect">
                                  <p:stCondLst>
                                    <p:cond delay="1750"/>
                                  </p:stCondLst>
                                  <p:childTnLst>
                                    <p:set>
                                      <p:cBhvr>
                                        <p:cTn id="52" dur="1" fill="hold">
                                          <p:stCondLst>
                                            <p:cond delay="0"/>
                                          </p:stCondLst>
                                        </p:cTn>
                                        <p:tgtEl>
                                          <p:spTgt spid="73"/>
                                        </p:tgtEl>
                                        <p:attrNameLst>
                                          <p:attrName>style.visibility</p:attrName>
                                        </p:attrNameLst>
                                      </p:cBhvr>
                                      <p:to>
                                        <p:strVal val="visible"/>
                                      </p:to>
                                    </p:set>
                                    <p:animEffect transition="in" filter="fade">
                                      <p:cBhvr>
                                        <p:cTn id="53" dur="1000"/>
                                        <p:tgtEl>
                                          <p:spTgt spid="73"/>
                                        </p:tgtEl>
                                      </p:cBhvr>
                                    </p:animEffect>
                                  </p:childTnLst>
                                </p:cTn>
                              </p:par>
                              <p:par>
                                <p:cTn id="54" presetID="10" presetClass="entr" presetSubtype="0" fill="hold" grpId="0" nodeType="withEffect">
                                  <p:stCondLst>
                                    <p:cond delay="1750"/>
                                  </p:stCondLst>
                                  <p:childTnLst>
                                    <p:set>
                                      <p:cBhvr>
                                        <p:cTn id="55" dur="1" fill="hold">
                                          <p:stCondLst>
                                            <p:cond delay="0"/>
                                          </p:stCondLst>
                                        </p:cTn>
                                        <p:tgtEl>
                                          <p:spTgt spid="34"/>
                                        </p:tgtEl>
                                        <p:attrNameLst>
                                          <p:attrName>style.visibility</p:attrName>
                                        </p:attrNameLst>
                                      </p:cBhvr>
                                      <p:to>
                                        <p:strVal val="visible"/>
                                      </p:to>
                                    </p:set>
                                    <p:animEffect transition="in" filter="fade">
                                      <p:cBhvr>
                                        <p:cTn id="56" dur="1000"/>
                                        <p:tgtEl>
                                          <p:spTgt spid="34"/>
                                        </p:tgtEl>
                                      </p:cBhvr>
                                    </p:animEffect>
                                  </p:childTnLst>
                                </p:cTn>
                              </p:par>
                              <p:par>
                                <p:cTn id="57" presetID="10" presetClass="entr" presetSubtype="0" fill="hold" grpId="0" nodeType="withEffect">
                                  <p:stCondLst>
                                    <p:cond delay="1750"/>
                                  </p:stCondLst>
                                  <p:childTnLst>
                                    <p:set>
                                      <p:cBhvr>
                                        <p:cTn id="58" dur="1" fill="hold">
                                          <p:stCondLst>
                                            <p:cond delay="0"/>
                                          </p:stCondLst>
                                        </p:cTn>
                                        <p:tgtEl>
                                          <p:spTgt spid="75"/>
                                        </p:tgtEl>
                                        <p:attrNameLst>
                                          <p:attrName>style.visibility</p:attrName>
                                        </p:attrNameLst>
                                      </p:cBhvr>
                                      <p:to>
                                        <p:strVal val="visible"/>
                                      </p:to>
                                    </p:set>
                                    <p:animEffect transition="in" filter="fade">
                                      <p:cBhvr>
                                        <p:cTn id="59" dur="10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8" grpId="0" animBg="1"/>
      <p:bldP spid="8" grpId="1" animBg="1"/>
      <p:bldP spid="10" grpId="0" animBg="1"/>
      <p:bldP spid="10" grpId="1" animBg="1"/>
      <p:bldP spid="9" grpId="0" animBg="1"/>
      <p:bldP spid="9" grpId="1" animBg="1"/>
      <p:bldP spid="73" grpId="0"/>
      <p:bldP spid="34" grpId="0" animBg="1"/>
      <p:bldP spid="40" grpId="0" animBg="1"/>
      <p:bldP spid="40" grpId="1" animBg="1"/>
      <p:bldP spid="41" grpId="0" animBg="1"/>
      <p:bldP spid="41" grpId="1" animBg="1"/>
      <p:bldP spid="42" grpId="0" animBg="1"/>
      <p:bldP spid="42" grpId="1" animBg="1"/>
      <p:bldP spid="75" grpId="0"/>
      <p:bldP spid="85" grpId="0" animBg="1"/>
      <p:bldP spid="84" grpId="0" animBg="1"/>
      <p:bldP spid="8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Freeform: Shape 39">
            <a:extLst>
              <a:ext uri="{FF2B5EF4-FFF2-40B4-BE49-F238E27FC236}">
                <a16:creationId xmlns:a16="http://schemas.microsoft.com/office/drawing/2014/main" id="{12AD71F2-3248-433A-B00E-CAF58059CD1A}"/>
              </a:ext>
            </a:extLst>
          </p:cNvPr>
          <p:cNvSpPr/>
          <p:nvPr/>
        </p:nvSpPr>
        <p:spPr>
          <a:xfrm>
            <a:off x="3963123" y="2098108"/>
            <a:ext cx="2132877" cy="2200706"/>
          </a:xfrm>
          <a:custGeom>
            <a:avLst/>
            <a:gdLst>
              <a:gd name="connsiteX0" fmla="*/ 836364 w 2132877"/>
              <a:gd name="connsiteY0" fmla="*/ 0 h 2200706"/>
              <a:gd name="connsiteX1" fmla="*/ 2028876 w 2132877"/>
              <a:gd name="connsiteY1" fmla="*/ 364261 h 2200706"/>
              <a:gd name="connsiteX2" fmla="*/ 2132877 w 2132877"/>
              <a:gd name="connsiteY2" fmla="*/ 442032 h 2200706"/>
              <a:gd name="connsiteX3" fmla="*/ 2072682 w 2132877"/>
              <a:gd name="connsiteY3" fmla="*/ 487045 h 2200706"/>
              <a:gd name="connsiteX4" fmla="*/ 1296513 w 2132877"/>
              <a:gd name="connsiteY4" fmla="*/ 2132874 h 2200706"/>
              <a:gd name="connsiteX5" fmla="*/ 1299938 w 2132877"/>
              <a:gd name="connsiteY5" fmla="*/ 2200706 h 2200706"/>
              <a:gd name="connsiteX6" fmla="*/ 1116221 w 2132877"/>
              <a:gd name="connsiteY6" fmla="*/ 2112205 h 2200706"/>
              <a:gd name="connsiteX7" fmla="*/ 0 w 2132877"/>
              <a:gd name="connsiteY7" fmla="*/ 236757 h 2200706"/>
              <a:gd name="connsiteX8" fmla="*/ 3425 w 2132877"/>
              <a:gd name="connsiteY8" fmla="*/ 168926 h 2200706"/>
              <a:gd name="connsiteX9" fmla="*/ 6152 w 2132877"/>
              <a:gd name="connsiteY9" fmla="*/ 167612 h 2200706"/>
              <a:gd name="connsiteX10" fmla="*/ 836364 w 2132877"/>
              <a:gd name="connsiteY10" fmla="*/ 0 h 220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32877" h="2200706">
                <a:moveTo>
                  <a:pt x="836364" y="0"/>
                </a:moveTo>
                <a:cubicBezTo>
                  <a:pt x="1278097" y="0"/>
                  <a:pt x="1688466" y="134286"/>
                  <a:pt x="2028876" y="364261"/>
                </a:cubicBezTo>
                <a:lnTo>
                  <a:pt x="2132877" y="442032"/>
                </a:lnTo>
                <a:lnTo>
                  <a:pt x="2072682" y="487045"/>
                </a:lnTo>
                <a:cubicBezTo>
                  <a:pt x="1598656" y="878245"/>
                  <a:pt x="1296513" y="1470275"/>
                  <a:pt x="1296513" y="2132874"/>
                </a:cubicBezTo>
                <a:lnTo>
                  <a:pt x="1299938" y="2200706"/>
                </a:lnTo>
                <a:lnTo>
                  <a:pt x="1116221" y="2112205"/>
                </a:lnTo>
                <a:cubicBezTo>
                  <a:pt x="451350" y="1751025"/>
                  <a:pt x="0" y="1046601"/>
                  <a:pt x="0" y="236757"/>
                </a:cubicBezTo>
                <a:lnTo>
                  <a:pt x="3425" y="168926"/>
                </a:lnTo>
                <a:lnTo>
                  <a:pt x="6152" y="167612"/>
                </a:lnTo>
                <a:cubicBezTo>
                  <a:pt x="261326" y="59683"/>
                  <a:pt x="541875" y="0"/>
                  <a:pt x="836364" y="0"/>
                </a:cubicBezTo>
                <a:close/>
              </a:path>
            </a:pathLst>
          </a:custGeom>
          <a:gradFill>
            <a:gsLst>
              <a:gs pos="100000">
                <a:schemeClr val="accent3">
                  <a:alpha val="50000"/>
                </a:schemeClr>
              </a:gs>
              <a:gs pos="0">
                <a:schemeClr val="accent3">
                  <a:alpha val="10000"/>
                </a:schemeClr>
              </a:gs>
            </a:gsLst>
            <a:lin ang="8100000" scaled="0"/>
          </a:gradFill>
          <a:ln w="25400" cap="flat">
            <a:no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39" name="Freeform: Shape 38">
            <a:extLst>
              <a:ext uri="{FF2B5EF4-FFF2-40B4-BE49-F238E27FC236}">
                <a16:creationId xmlns:a16="http://schemas.microsoft.com/office/drawing/2014/main" id="{A7BB0CBB-DF44-4920-B709-43EABEEFB11E}"/>
              </a:ext>
            </a:extLst>
          </p:cNvPr>
          <p:cNvSpPr/>
          <p:nvPr/>
        </p:nvSpPr>
        <p:spPr>
          <a:xfrm>
            <a:off x="6096000" y="2098108"/>
            <a:ext cx="2132877" cy="2200706"/>
          </a:xfrm>
          <a:custGeom>
            <a:avLst/>
            <a:gdLst>
              <a:gd name="connsiteX0" fmla="*/ 1296513 w 2132877"/>
              <a:gd name="connsiteY0" fmla="*/ 0 h 2200706"/>
              <a:gd name="connsiteX1" fmla="*/ 2126725 w 2132877"/>
              <a:gd name="connsiteY1" fmla="*/ 167612 h 2200706"/>
              <a:gd name="connsiteX2" fmla="*/ 2129452 w 2132877"/>
              <a:gd name="connsiteY2" fmla="*/ 168926 h 2200706"/>
              <a:gd name="connsiteX3" fmla="*/ 2132877 w 2132877"/>
              <a:gd name="connsiteY3" fmla="*/ 236757 h 2200706"/>
              <a:gd name="connsiteX4" fmla="*/ 1016656 w 2132877"/>
              <a:gd name="connsiteY4" fmla="*/ 2112205 h 2200706"/>
              <a:gd name="connsiteX5" fmla="*/ 832939 w 2132877"/>
              <a:gd name="connsiteY5" fmla="*/ 2200706 h 2200706"/>
              <a:gd name="connsiteX6" fmla="*/ 836364 w 2132877"/>
              <a:gd name="connsiteY6" fmla="*/ 2132874 h 2200706"/>
              <a:gd name="connsiteX7" fmla="*/ 60195 w 2132877"/>
              <a:gd name="connsiteY7" fmla="*/ 487045 h 2200706"/>
              <a:gd name="connsiteX8" fmla="*/ 0 w 2132877"/>
              <a:gd name="connsiteY8" fmla="*/ 442032 h 2200706"/>
              <a:gd name="connsiteX9" fmla="*/ 104001 w 2132877"/>
              <a:gd name="connsiteY9" fmla="*/ 364261 h 2200706"/>
              <a:gd name="connsiteX10" fmla="*/ 1296513 w 2132877"/>
              <a:gd name="connsiteY10" fmla="*/ 0 h 220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32877" h="2200706">
                <a:moveTo>
                  <a:pt x="1296513" y="0"/>
                </a:moveTo>
                <a:cubicBezTo>
                  <a:pt x="1591002" y="0"/>
                  <a:pt x="1871551" y="59683"/>
                  <a:pt x="2126725" y="167612"/>
                </a:cubicBezTo>
                <a:lnTo>
                  <a:pt x="2129452" y="168926"/>
                </a:lnTo>
                <a:lnTo>
                  <a:pt x="2132877" y="236757"/>
                </a:lnTo>
                <a:cubicBezTo>
                  <a:pt x="2132877" y="1046601"/>
                  <a:pt x="1681527" y="1751025"/>
                  <a:pt x="1016656" y="2112205"/>
                </a:cubicBezTo>
                <a:lnTo>
                  <a:pt x="832939" y="2200706"/>
                </a:lnTo>
                <a:lnTo>
                  <a:pt x="836364" y="2132874"/>
                </a:lnTo>
                <a:cubicBezTo>
                  <a:pt x="836364" y="1470275"/>
                  <a:pt x="534221" y="878245"/>
                  <a:pt x="60195" y="487045"/>
                </a:cubicBezTo>
                <a:lnTo>
                  <a:pt x="0" y="442032"/>
                </a:lnTo>
                <a:lnTo>
                  <a:pt x="104001" y="364261"/>
                </a:lnTo>
                <a:cubicBezTo>
                  <a:pt x="444411" y="134286"/>
                  <a:pt x="854780" y="0"/>
                  <a:pt x="1296513" y="0"/>
                </a:cubicBezTo>
                <a:close/>
              </a:path>
            </a:pathLst>
          </a:custGeom>
          <a:gradFill>
            <a:gsLst>
              <a:gs pos="100000">
                <a:schemeClr val="accent1">
                  <a:alpha val="50000"/>
                </a:schemeClr>
              </a:gs>
              <a:gs pos="0">
                <a:schemeClr val="accent1">
                  <a:alpha val="10000"/>
                </a:schemeClr>
              </a:gs>
            </a:gsLst>
            <a:lin ang="16200000" scaled="0"/>
          </a:gradFill>
          <a:ln w="25400" cap="flat">
            <a:no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38" name="Freeform: Shape 37">
            <a:extLst>
              <a:ext uri="{FF2B5EF4-FFF2-40B4-BE49-F238E27FC236}">
                <a16:creationId xmlns:a16="http://schemas.microsoft.com/office/drawing/2014/main" id="{56B00BFC-4B8D-4400-9270-E0E1D57B28BB}"/>
              </a:ext>
            </a:extLst>
          </p:cNvPr>
          <p:cNvSpPr/>
          <p:nvPr/>
        </p:nvSpPr>
        <p:spPr>
          <a:xfrm>
            <a:off x="5263061" y="4298814"/>
            <a:ext cx="1665878" cy="1623010"/>
          </a:xfrm>
          <a:custGeom>
            <a:avLst/>
            <a:gdLst>
              <a:gd name="connsiteX0" fmla="*/ 0 w 1665878"/>
              <a:gd name="connsiteY0" fmla="*/ 0 h 1623010"/>
              <a:gd name="connsiteX1" fmla="*/ 2727 w 1665878"/>
              <a:gd name="connsiteY1" fmla="*/ 1313 h 1623010"/>
              <a:gd name="connsiteX2" fmla="*/ 832939 w 1665878"/>
              <a:gd name="connsiteY2" fmla="*/ 168925 h 1623010"/>
              <a:gd name="connsiteX3" fmla="*/ 1663151 w 1665878"/>
              <a:gd name="connsiteY3" fmla="*/ 1313 h 1623010"/>
              <a:gd name="connsiteX4" fmla="*/ 1665878 w 1665878"/>
              <a:gd name="connsiteY4" fmla="*/ 0 h 1623010"/>
              <a:gd name="connsiteX5" fmla="*/ 1658291 w 1665878"/>
              <a:gd name="connsiteY5" fmla="*/ 150242 h 1623010"/>
              <a:gd name="connsiteX6" fmla="*/ 893134 w 1665878"/>
              <a:gd name="connsiteY6" fmla="*/ 1577997 h 1623010"/>
              <a:gd name="connsiteX7" fmla="*/ 832939 w 1665878"/>
              <a:gd name="connsiteY7" fmla="*/ 1623010 h 1623010"/>
              <a:gd name="connsiteX8" fmla="*/ 772744 w 1665878"/>
              <a:gd name="connsiteY8" fmla="*/ 1577997 h 1623010"/>
              <a:gd name="connsiteX9" fmla="*/ 7587 w 1665878"/>
              <a:gd name="connsiteY9" fmla="*/ 150242 h 1623010"/>
              <a:gd name="connsiteX10" fmla="*/ 0 w 1665878"/>
              <a:gd name="connsiteY10" fmla="*/ 0 h 162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65878" h="1623010">
                <a:moveTo>
                  <a:pt x="0" y="0"/>
                </a:moveTo>
                <a:lnTo>
                  <a:pt x="2727" y="1313"/>
                </a:lnTo>
                <a:cubicBezTo>
                  <a:pt x="257901" y="109243"/>
                  <a:pt x="538450" y="168925"/>
                  <a:pt x="832939" y="168925"/>
                </a:cubicBezTo>
                <a:cubicBezTo>
                  <a:pt x="1127428" y="168925"/>
                  <a:pt x="1407977" y="109243"/>
                  <a:pt x="1663151" y="1313"/>
                </a:cubicBezTo>
                <a:lnTo>
                  <a:pt x="1665878" y="0"/>
                </a:lnTo>
                <a:lnTo>
                  <a:pt x="1658291" y="150242"/>
                </a:lnTo>
                <a:cubicBezTo>
                  <a:pt x="1600038" y="723850"/>
                  <a:pt x="1314490" y="1230264"/>
                  <a:pt x="893134" y="1577997"/>
                </a:cubicBezTo>
                <a:lnTo>
                  <a:pt x="832939" y="1623010"/>
                </a:lnTo>
                <a:lnTo>
                  <a:pt x="772744" y="1577997"/>
                </a:lnTo>
                <a:cubicBezTo>
                  <a:pt x="351388" y="1230264"/>
                  <a:pt x="65840" y="723850"/>
                  <a:pt x="7587" y="150242"/>
                </a:cubicBezTo>
                <a:lnTo>
                  <a:pt x="0" y="0"/>
                </a:lnTo>
                <a:close/>
              </a:path>
            </a:pathLst>
          </a:custGeom>
          <a:gradFill>
            <a:gsLst>
              <a:gs pos="100000">
                <a:schemeClr val="accent4">
                  <a:alpha val="50000"/>
                </a:schemeClr>
              </a:gs>
              <a:gs pos="0">
                <a:schemeClr val="accent4">
                  <a:alpha val="10000"/>
                </a:schemeClr>
              </a:gs>
            </a:gsLst>
            <a:lin ang="2700000" scaled="0"/>
          </a:gradFill>
          <a:ln w="25400" cap="flat">
            <a:no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34" name="Freeform: Shape 33">
            <a:extLst>
              <a:ext uri="{FF2B5EF4-FFF2-40B4-BE49-F238E27FC236}">
                <a16:creationId xmlns:a16="http://schemas.microsoft.com/office/drawing/2014/main" id="{1C0929A1-57EB-43D8-9A42-0C10135B1025}"/>
              </a:ext>
            </a:extLst>
          </p:cNvPr>
          <p:cNvSpPr/>
          <p:nvPr/>
        </p:nvSpPr>
        <p:spPr>
          <a:xfrm>
            <a:off x="5259636" y="2540140"/>
            <a:ext cx="1672728" cy="1927599"/>
          </a:xfrm>
          <a:custGeom>
            <a:avLst/>
            <a:gdLst>
              <a:gd name="connsiteX0" fmla="*/ 836364 w 1672728"/>
              <a:gd name="connsiteY0" fmla="*/ 0 h 1927599"/>
              <a:gd name="connsiteX1" fmla="*/ 896559 w 1672728"/>
              <a:gd name="connsiteY1" fmla="*/ 45013 h 1927599"/>
              <a:gd name="connsiteX2" fmla="*/ 1672728 w 1672728"/>
              <a:gd name="connsiteY2" fmla="*/ 1690842 h 1927599"/>
              <a:gd name="connsiteX3" fmla="*/ 1669303 w 1672728"/>
              <a:gd name="connsiteY3" fmla="*/ 1758674 h 1927599"/>
              <a:gd name="connsiteX4" fmla="*/ 1666576 w 1672728"/>
              <a:gd name="connsiteY4" fmla="*/ 1759987 h 1927599"/>
              <a:gd name="connsiteX5" fmla="*/ 836364 w 1672728"/>
              <a:gd name="connsiteY5" fmla="*/ 1927599 h 1927599"/>
              <a:gd name="connsiteX6" fmla="*/ 6152 w 1672728"/>
              <a:gd name="connsiteY6" fmla="*/ 1759987 h 1927599"/>
              <a:gd name="connsiteX7" fmla="*/ 3425 w 1672728"/>
              <a:gd name="connsiteY7" fmla="*/ 1758674 h 1927599"/>
              <a:gd name="connsiteX8" fmla="*/ 0 w 1672728"/>
              <a:gd name="connsiteY8" fmla="*/ 1690842 h 1927599"/>
              <a:gd name="connsiteX9" fmla="*/ 776169 w 1672728"/>
              <a:gd name="connsiteY9" fmla="*/ 45013 h 1927599"/>
              <a:gd name="connsiteX10" fmla="*/ 836364 w 1672728"/>
              <a:gd name="connsiteY10" fmla="*/ 0 h 1927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2728" h="1927599">
                <a:moveTo>
                  <a:pt x="836364" y="0"/>
                </a:moveTo>
                <a:lnTo>
                  <a:pt x="896559" y="45013"/>
                </a:lnTo>
                <a:cubicBezTo>
                  <a:pt x="1370585" y="436213"/>
                  <a:pt x="1672728" y="1028243"/>
                  <a:pt x="1672728" y="1690842"/>
                </a:cubicBezTo>
                <a:lnTo>
                  <a:pt x="1669303" y="1758674"/>
                </a:lnTo>
                <a:lnTo>
                  <a:pt x="1666576" y="1759987"/>
                </a:lnTo>
                <a:cubicBezTo>
                  <a:pt x="1411402" y="1867917"/>
                  <a:pt x="1130853" y="1927599"/>
                  <a:pt x="836364" y="1927599"/>
                </a:cubicBezTo>
                <a:cubicBezTo>
                  <a:pt x="541875" y="1927599"/>
                  <a:pt x="261326" y="1867917"/>
                  <a:pt x="6152" y="1759987"/>
                </a:cubicBezTo>
                <a:lnTo>
                  <a:pt x="3425" y="1758674"/>
                </a:lnTo>
                <a:lnTo>
                  <a:pt x="0" y="1690842"/>
                </a:lnTo>
                <a:cubicBezTo>
                  <a:pt x="0" y="1028243"/>
                  <a:pt x="302143" y="436213"/>
                  <a:pt x="776169" y="45013"/>
                </a:cubicBezTo>
                <a:lnTo>
                  <a:pt x="836364" y="0"/>
                </a:lnTo>
                <a:close/>
              </a:path>
            </a:pathLst>
          </a:custGeom>
          <a:solidFill>
            <a:schemeClr val="bg1"/>
          </a:solidFill>
          <a:ln w="25400" cap="flat">
            <a:noFill/>
            <a:miter lim="400000"/>
          </a:ln>
          <a:effectLst/>
        </p:spPr>
        <p:txBody>
          <a:bodyPr wrap="square" lIns="0" tIns="274320" rIns="0" bIns="0" numCol="1" anchor="ctr">
            <a:noAutofit/>
          </a:bodyPr>
          <a:lstStyle/>
          <a:p>
            <a:pPr algn="ctr" defTabSz="412750" hangingPunct="0"/>
            <a:endParaRPr sz="1400" b="1" kern="0">
              <a:solidFill>
                <a:srgbClr val="FFFFFF"/>
              </a:solidFill>
              <a:latin typeface="Montserrat" panose="00000500000000000000" pitchFamily="50" charset="0"/>
              <a:sym typeface="Helvetica Neue Medium"/>
            </a:endParaRPr>
          </a:p>
        </p:txBody>
      </p:sp>
      <p:sp>
        <p:nvSpPr>
          <p:cNvPr id="15" name="Circle">
            <a:extLst>
              <a:ext uri="{FF2B5EF4-FFF2-40B4-BE49-F238E27FC236}">
                <a16:creationId xmlns:a16="http://schemas.microsoft.com/office/drawing/2014/main" id="{FFD32297-5222-48C9-9A55-3E3E57B7068D}"/>
              </a:ext>
            </a:extLst>
          </p:cNvPr>
          <p:cNvSpPr/>
          <p:nvPr/>
        </p:nvSpPr>
        <p:spPr>
          <a:xfrm>
            <a:off x="3963124" y="201991"/>
            <a:ext cx="4265753" cy="4265747"/>
          </a:xfrm>
          <a:prstGeom prst="ellipse">
            <a:avLst/>
          </a:prstGeom>
          <a:noFill/>
          <a:ln w="12700" cap="flat">
            <a:solidFill>
              <a:schemeClr val="accent1"/>
            </a:solid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16" name="Circle">
            <a:extLst>
              <a:ext uri="{FF2B5EF4-FFF2-40B4-BE49-F238E27FC236}">
                <a16:creationId xmlns:a16="http://schemas.microsoft.com/office/drawing/2014/main" id="{0EC8D993-855C-4BF9-A6A5-74AF569439C2}"/>
              </a:ext>
            </a:extLst>
          </p:cNvPr>
          <p:cNvSpPr/>
          <p:nvPr/>
        </p:nvSpPr>
        <p:spPr>
          <a:xfrm>
            <a:off x="2666611" y="2098108"/>
            <a:ext cx="4265753" cy="4265747"/>
          </a:xfrm>
          <a:prstGeom prst="ellipse">
            <a:avLst/>
          </a:prstGeom>
          <a:noFill/>
          <a:ln w="12700" cap="flat">
            <a:solidFill>
              <a:schemeClr val="accent3"/>
            </a:solid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17" name="Circle">
            <a:extLst>
              <a:ext uri="{FF2B5EF4-FFF2-40B4-BE49-F238E27FC236}">
                <a16:creationId xmlns:a16="http://schemas.microsoft.com/office/drawing/2014/main" id="{A0D4AA45-1FC4-4CEC-96DF-ECE78CFBE345}"/>
              </a:ext>
            </a:extLst>
          </p:cNvPr>
          <p:cNvSpPr/>
          <p:nvPr/>
        </p:nvSpPr>
        <p:spPr>
          <a:xfrm>
            <a:off x="5259637" y="2098108"/>
            <a:ext cx="4265753" cy="4265747"/>
          </a:xfrm>
          <a:prstGeom prst="ellipse">
            <a:avLst/>
          </a:prstGeom>
          <a:noFill/>
          <a:ln w="12700" cap="flat">
            <a:solidFill>
              <a:schemeClr val="accent4"/>
            </a:solidFill>
            <a:prstDash val="solid"/>
            <a:round/>
          </a:ln>
        </p:spPr>
        <p:txBody>
          <a:bodyPr wrap="square" rtlCol="0" anchor="ctr">
            <a:noAutofit/>
          </a:bodyPr>
          <a:lstStyle/>
          <a:p>
            <a:endParaRPr>
              <a:latin typeface="Montserrat" panose="00000500000000000000" pitchFamily="50" charset="0"/>
              <a:sym typeface="Helvetica Neue Medium"/>
            </a:endParaRPr>
          </a:p>
        </p:txBody>
      </p:sp>
      <p:sp>
        <p:nvSpPr>
          <p:cNvPr id="19" name="TextBox 18">
            <a:extLst>
              <a:ext uri="{FF2B5EF4-FFF2-40B4-BE49-F238E27FC236}">
                <a16:creationId xmlns:a16="http://schemas.microsoft.com/office/drawing/2014/main" id="{8B9B970B-C0AA-4AE2-81D5-2D27D16D62C1}"/>
              </a:ext>
            </a:extLst>
          </p:cNvPr>
          <p:cNvSpPr txBox="1"/>
          <p:nvPr/>
        </p:nvSpPr>
        <p:spPr>
          <a:xfrm>
            <a:off x="5456759" y="592111"/>
            <a:ext cx="1223753" cy="216396"/>
          </a:xfrm>
          <a:prstGeom prst="roundRect">
            <a:avLst>
              <a:gd name="adj" fmla="val 50000"/>
            </a:avLst>
          </a:prstGeom>
          <a:solidFill>
            <a:schemeClr val="accent1">
              <a:lumMod val="20000"/>
              <a:lumOff val="80000"/>
            </a:schemeClr>
          </a:solidFill>
        </p:spPr>
        <p:txBody>
          <a:bodyPr wrap="none" tIns="0" bIns="0" rtlCol="0" anchor="ctr" anchorCtr="0">
            <a:spAutoFit/>
          </a:bodyPr>
          <a:lstStyle/>
          <a:p>
            <a:r>
              <a:rPr lang="en-US" sz="1000" dirty="0">
                <a:latin typeface="Montserrat" panose="00000500000000000000" pitchFamily="50" charset="0"/>
              </a:rPr>
              <a:t>&gt; 10 Employees</a:t>
            </a:r>
          </a:p>
        </p:txBody>
      </p:sp>
      <p:sp>
        <p:nvSpPr>
          <p:cNvPr id="21" name="TextBox 20">
            <a:extLst>
              <a:ext uri="{FF2B5EF4-FFF2-40B4-BE49-F238E27FC236}">
                <a16:creationId xmlns:a16="http://schemas.microsoft.com/office/drawing/2014/main" id="{3892E225-48D0-45AC-A6A3-FC3EA73E154B}"/>
              </a:ext>
            </a:extLst>
          </p:cNvPr>
          <p:cNvSpPr txBox="1"/>
          <p:nvPr/>
        </p:nvSpPr>
        <p:spPr>
          <a:xfrm>
            <a:off x="4950053" y="987955"/>
            <a:ext cx="2332057" cy="216396"/>
          </a:xfrm>
          <a:prstGeom prst="roundRect">
            <a:avLst>
              <a:gd name="adj" fmla="val 50000"/>
            </a:avLst>
          </a:prstGeom>
          <a:solidFill>
            <a:schemeClr val="accent1">
              <a:lumMod val="20000"/>
              <a:lumOff val="80000"/>
            </a:schemeClr>
          </a:solidFill>
        </p:spPr>
        <p:txBody>
          <a:bodyPr wrap="none" tIns="0" bIns="0" rtlCol="0" anchor="ctr" anchorCtr="0">
            <a:spAutoFit/>
          </a:bodyPr>
          <a:lstStyle/>
          <a:p>
            <a:r>
              <a:rPr lang="en-US" sz="1000" dirty="0">
                <a:latin typeface="Montserrat" panose="00000500000000000000" pitchFamily="50" charset="0"/>
              </a:rPr>
              <a:t>Single Office or Department use </a:t>
            </a:r>
          </a:p>
        </p:txBody>
      </p:sp>
      <p:sp>
        <p:nvSpPr>
          <p:cNvPr id="22" name="TextBox 21">
            <a:extLst>
              <a:ext uri="{FF2B5EF4-FFF2-40B4-BE49-F238E27FC236}">
                <a16:creationId xmlns:a16="http://schemas.microsoft.com/office/drawing/2014/main" id="{695C2737-9EF1-4AFB-99FE-2AF32C2A9036}"/>
              </a:ext>
            </a:extLst>
          </p:cNvPr>
          <p:cNvSpPr txBox="1"/>
          <p:nvPr/>
        </p:nvSpPr>
        <p:spPr>
          <a:xfrm>
            <a:off x="6306984" y="1319250"/>
            <a:ext cx="1232155" cy="216396"/>
          </a:xfrm>
          <a:prstGeom prst="roundRect">
            <a:avLst>
              <a:gd name="adj" fmla="val 50000"/>
            </a:avLst>
          </a:prstGeom>
          <a:solidFill>
            <a:schemeClr val="accent1">
              <a:lumMod val="20000"/>
              <a:lumOff val="80000"/>
            </a:schemeClr>
          </a:solidFill>
        </p:spPr>
        <p:txBody>
          <a:bodyPr wrap="none" tIns="0" bIns="0" rtlCol="0" anchor="ctr" anchorCtr="0">
            <a:spAutoFit/>
          </a:bodyPr>
          <a:lstStyle/>
          <a:p>
            <a:r>
              <a:rPr lang="en-US" sz="1000" dirty="0">
                <a:latin typeface="Montserrat" panose="00000500000000000000" pitchFamily="50" charset="0"/>
              </a:rPr>
              <a:t>Urban Location</a:t>
            </a:r>
          </a:p>
        </p:txBody>
      </p:sp>
      <p:sp>
        <p:nvSpPr>
          <p:cNvPr id="23" name="TextBox 22">
            <a:extLst>
              <a:ext uri="{FF2B5EF4-FFF2-40B4-BE49-F238E27FC236}">
                <a16:creationId xmlns:a16="http://schemas.microsoft.com/office/drawing/2014/main" id="{55078D64-1E24-4734-84AA-52ED2A690617}"/>
              </a:ext>
            </a:extLst>
          </p:cNvPr>
          <p:cNvSpPr txBox="1"/>
          <p:nvPr/>
        </p:nvSpPr>
        <p:spPr>
          <a:xfrm>
            <a:off x="4545532" y="1328630"/>
            <a:ext cx="1316181" cy="216396"/>
          </a:xfrm>
          <a:prstGeom prst="roundRect">
            <a:avLst>
              <a:gd name="adj" fmla="val 50000"/>
            </a:avLst>
          </a:prstGeom>
          <a:solidFill>
            <a:schemeClr val="accent1">
              <a:lumMod val="20000"/>
              <a:lumOff val="80000"/>
            </a:schemeClr>
          </a:solidFill>
        </p:spPr>
        <p:txBody>
          <a:bodyPr wrap="none" tIns="0" bIns="0" rtlCol="0" anchor="ctr" anchorCtr="0">
            <a:spAutoFit/>
          </a:bodyPr>
          <a:lstStyle/>
          <a:p>
            <a:r>
              <a:rPr lang="en-US" sz="1000" dirty="0">
                <a:latin typeface="Montserrat" panose="00000500000000000000" pitchFamily="50" charset="0"/>
              </a:rPr>
              <a:t>In-office workers</a:t>
            </a:r>
          </a:p>
        </p:txBody>
      </p:sp>
      <p:sp>
        <p:nvSpPr>
          <p:cNvPr id="24" name="TextBox 23">
            <a:extLst>
              <a:ext uri="{FF2B5EF4-FFF2-40B4-BE49-F238E27FC236}">
                <a16:creationId xmlns:a16="http://schemas.microsoft.com/office/drawing/2014/main" id="{4C384815-1ED6-4CD7-8710-9E3AAB9DDC73}"/>
              </a:ext>
            </a:extLst>
          </p:cNvPr>
          <p:cNvSpPr txBox="1"/>
          <p:nvPr/>
        </p:nvSpPr>
        <p:spPr>
          <a:xfrm>
            <a:off x="4304544" y="1733855"/>
            <a:ext cx="1356514" cy="216396"/>
          </a:xfrm>
          <a:prstGeom prst="roundRect">
            <a:avLst>
              <a:gd name="adj" fmla="val 50000"/>
            </a:avLst>
          </a:prstGeom>
          <a:solidFill>
            <a:schemeClr val="accent1">
              <a:lumMod val="20000"/>
              <a:lumOff val="80000"/>
            </a:schemeClr>
          </a:solidFill>
        </p:spPr>
        <p:txBody>
          <a:bodyPr wrap="none" tIns="0" bIns="0" rtlCol="0" anchor="ctr" anchorCtr="0">
            <a:spAutoFit/>
          </a:bodyPr>
          <a:lstStyle/>
          <a:p>
            <a:r>
              <a:rPr lang="en-US" sz="1000" dirty="0">
                <a:latin typeface="Montserrat" panose="00000500000000000000" pitchFamily="50" charset="0"/>
              </a:rPr>
              <a:t>Single Unit Lease</a:t>
            </a:r>
          </a:p>
        </p:txBody>
      </p:sp>
      <p:sp>
        <p:nvSpPr>
          <p:cNvPr id="25" name="TextBox 24">
            <a:extLst>
              <a:ext uri="{FF2B5EF4-FFF2-40B4-BE49-F238E27FC236}">
                <a16:creationId xmlns:a16="http://schemas.microsoft.com/office/drawing/2014/main" id="{89A5BFDF-D2AC-42E9-96F5-7BD14B459761}"/>
              </a:ext>
            </a:extLst>
          </p:cNvPr>
          <p:cNvSpPr txBox="1"/>
          <p:nvPr/>
        </p:nvSpPr>
        <p:spPr>
          <a:xfrm>
            <a:off x="5861713" y="1715095"/>
            <a:ext cx="1989642" cy="216396"/>
          </a:xfrm>
          <a:prstGeom prst="roundRect">
            <a:avLst>
              <a:gd name="adj" fmla="val 50000"/>
            </a:avLst>
          </a:prstGeom>
          <a:solidFill>
            <a:schemeClr val="accent1">
              <a:lumMod val="20000"/>
              <a:lumOff val="80000"/>
            </a:schemeClr>
          </a:solidFill>
        </p:spPr>
        <p:txBody>
          <a:bodyPr wrap="none" tIns="0" bIns="0" rtlCol="0" anchor="ctr" anchorCtr="0">
            <a:spAutoFit/>
          </a:bodyPr>
          <a:lstStyle/>
          <a:p>
            <a:r>
              <a:rPr lang="en-US" sz="1000" dirty="0">
                <a:latin typeface="Montserrat" panose="00000500000000000000" pitchFamily="50" charset="0"/>
              </a:rPr>
              <a:t>Finance &amp; Insurance Sector</a:t>
            </a:r>
          </a:p>
        </p:txBody>
      </p:sp>
      <p:sp>
        <p:nvSpPr>
          <p:cNvPr id="26" name="TextBox 25">
            <a:extLst>
              <a:ext uri="{FF2B5EF4-FFF2-40B4-BE49-F238E27FC236}">
                <a16:creationId xmlns:a16="http://schemas.microsoft.com/office/drawing/2014/main" id="{EB54391C-9DD6-4188-AD2E-0FC7AD00880B}"/>
              </a:ext>
            </a:extLst>
          </p:cNvPr>
          <p:cNvSpPr txBox="1"/>
          <p:nvPr/>
        </p:nvSpPr>
        <p:spPr>
          <a:xfrm>
            <a:off x="2886896" y="3365814"/>
            <a:ext cx="1232155" cy="216396"/>
          </a:xfrm>
          <a:prstGeom prst="roundRect">
            <a:avLst>
              <a:gd name="adj" fmla="val 50000"/>
            </a:avLst>
          </a:prstGeom>
          <a:solidFill>
            <a:schemeClr val="accent3">
              <a:lumMod val="40000"/>
              <a:lumOff val="60000"/>
            </a:schemeClr>
          </a:solidFill>
        </p:spPr>
        <p:txBody>
          <a:bodyPr wrap="none" tIns="0" bIns="0" rtlCol="0" anchor="ctr" anchorCtr="0">
            <a:spAutoFit/>
          </a:bodyPr>
          <a:lstStyle/>
          <a:p>
            <a:r>
              <a:rPr lang="en-US" sz="1000" dirty="0">
                <a:latin typeface="Montserrat" panose="00000500000000000000" pitchFamily="50" charset="0"/>
              </a:rPr>
              <a:t>Urban Location</a:t>
            </a:r>
          </a:p>
        </p:txBody>
      </p:sp>
      <p:sp>
        <p:nvSpPr>
          <p:cNvPr id="27" name="TextBox 26">
            <a:extLst>
              <a:ext uri="{FF2B5EF4-FFF2-40B4-BE49-F238E27FC236}">
                <a16:creationId xmlns:a16="http://schemas.microsoft.com/office/drawing/2014/main" id="{E53F62D0-C6E7-46A6-B565-A8C0ED64A434}"/>
              </a:ext>
            </a:extLst>
          </p:cNvPr>
          <p:cNvSpPr txBox="1"/>
          <p:nvPr/>
        </p:nvSpPr>
        <p:spPr>
          <a:xfrm>
            <a:off x="3004873" y="3793620"/>
            <a:ext cx="1336348" cy="216396"/>
          </a:xfrm>
          <a:prstGeom prst="roundRect">
            <a:avLst>
              <a:gd name="adj" fmla="val 50000"/>
            </a:avLst>
          </a:prstGeom>
          <a:solidFill>
            <a:schemeClr val="accent3">
              <a:lumMod val="40000"/>
              <a:lumOff val="60000"/>
            </a:schemeClr>
          </a:solidFill>
        </p:spPr>
        <p:txBody>
          <a:bodyPr wrap="none" tIns="0" bIns="0" rtlCol="0" anchor="ctr" anchorCtr="0">
            <a:spAutoFit/>
          </a:bodyPr>
          <a:lstStyle/>
          <a:p>
            <a:r>
              <a:rPr lang="en-US" sz="1000" dirty="0">
                <a:latin typeface="Montserrat" panose="00000500000000000000" pitchFamily="50" charset="0"/>
              </a:rPr>
              <a:t>Remote Workers</a:t>
            </a:r>
          </a:p>
        </p:txBody>
      </p:sp>
      <p:sp>
        <p:nvSpPr>
          <p:cNvPr id="28" name="TextBox 27">
            <a:extLst>
              <a:ext uri="{FF2B5EF4-FFF2-40B4-BE49-F238E27FC236}">
                <a16:creationId xmlns:a16="http://schemas.microsoft.com/office/drawing/2014/main" id="{6CEC1E45-3EFE-4474-BFD1-CD836A1EEA23}"/>
              </a:ext>
            </a:extLst>
          </p:cNvPr>
          <p:cNvSpPr txBox="1"/>
          <p:nvPr/>
        </p:nvSpPr>
        <p:spPr>
          <a:xfrm>
            <a:off x="2803184" y="4305150"/>
            <a:ext cx="1808195" cy="216396"/>
          </a:xfrm>
          <a:prstGeom prst="roundRect">
            <a:avLst>
              <a:gd name="adj" fmla="val 50000"/>
            </a:avLst>
          </a:prstGeom>
          <a:solidFill>
            <a:schemeClr val="accent3">
              <a:lumMod val="40000"/>
              <a:lumOff val="60000"/>
            </a:schemeClr>
          </a:solidFill>
        </p:spPr>
        <p:txBody>
          <a:bodyPr wrap="none" tIns="0" bIns="0" rtlCol="0" anchor="ctr" anchorCtr="0">
            <a:spAutoFit/>
          </a:bodyPr>
          <a:lstStyle/>
          <a:p>
            <a:r>
              <a:rPr lang="en-US" sz="1000" dirty="0">
                <a:latin typeface="Montserrat" panose="00000500000000000000" pitchFamily="50" charset="0"/>
              </a:rPr>
              <a:t>Single office or dept. use</a:t>
            </a:r>
          </a:p>
        </p:txBody>
      </p:sp>
      <p:sp>
        <p:nvSpPr>
          <p:cNvPr id="29" name="TextBox 28">
            <a:extLst>
              <a:ext uri="{FF2B5EF4-FFF2-40B4-BE49-F238E27FC236}">
                <a16:creationId xmlns:a16="http://schemas.microsoft.com/office/drawing/2014/main" id="{04EA703F-8814-4F2A-90BB-C876A7D0C37B}"/>
              </a:ext>
            </a:extLst>
          </p:cNvPr>
          <p:cNvSpPr txBox="1"/>
          <p:nvPr/>
        </p:nvSpPr>
        <p:spPr>
          <a:xfrm>
            <a:off x="3709099" y="5458170"/>
            <a:ext cx="1760359" cy="216396"/>
          </a:xfrm>
          <a:prstGeom prst="roundRect">
            <a:avLst>
              <a:gd name="adj" fmla="val 50000"/>
            </a:avLst>
          </a:prstGeom>
          <a:solidFill>
            <a:schemeClr val="accent3">
              <a:lumMod val="40000"/>
              <a:lumOff val="60000"/>
            </a:schemeClr>
          </a:solidFill>
        </p:spPr>
        <p:txBody>
          <a:bodyPr wrap="none" tIns="0" bIns="0" rtlCol="0" anchor="ctr" anchorCtr="0">
            <a:spAutoFit/>
          </a:bodyPr>
          <a:lstStyle/>
          <a:p>
            <a:r>
              <a:rPr lang="en-US" sz="1000" dirty="0">
                <a:latin typeface="Montserrat" panose="00000500000000000000" pitchFamily="50" charset="0"/>
              </a:rPr>
              <a:t>Solopreneur/Contractor</a:t>
            </a:r>
          </a:p>
        </p:txBody>
      </p:sp>
      <p:sp>
        <p:nvSpPr>
          <p:cNvPr id="30" name="TextBox 29">
            <a:extLst>
              <a:ext uri="{FF2B5EF4-FFF2-40B4-BE49-F238E27FC236}">
                <a16:creationId xmlns:a16="http://schemas.microsoft.com/office/drawing/2014/main" id="{A94BCA7F-EFEA-4721-A593-027EE4408DE2}"/>
              </a:ext>
            </a:extLst>
          </p:cNvPr>
          <p:cNvSpPr txBox="1"/>
          <p:nvPr/>
        </p:nvSpPr>
        <p:spPr>
          <a:xfrm>
            <a:off x="3067020" y="5110335"/>
            <a:ext cx="1989642" cy="216396"/>
          </a:xfrm>
          <a:prstGeom prst="roundRect">
            <a:avLst>
              <a:gd name="adj" fmla="val 50000"/>
            </a:avLst>
          </a:prstGeom>
          <a:solidFill>
            <a:schemeClr val="accent3">
              <a:lumMod val="40000"/>
              <a:lumOff val="60000"/>
            </a:schemeClr>
          </a:solidFill>
        </p:spPr>
        <p:txBody>
          <a:bodyPr wrap="none" tIns="0" bIns="0" rtlCol="0" anchor="ctr" anchorCtr="0">
            <a:spAutoFit/>
          </a:bodyPr>
          <a:lstStyle/>
          <a:p>
            <a:r>
              <a:rPr lang="en-US" sz="1000" dirty="0">
                <a:latin typeface="Montserrat" panose="00000500000000000000" pitchFamily="50" charset="0"/>
              </a:rPr>
              <a:t>Finance &amp; Insurance Sector</a:t>
            </a:r>
          </a:p>
        </p:txBody>
      </p:sp>
      <p:sp>
        <p:nvSpPr>
          <p:cNvPr id="43" name="TextBox 42">
            <a:extLst>
              <a:ext uri="{FF2B5EF4-FFF2-40B4-BE49-F238E27FC236}">
                <a16:creationId xmlns:a16="http://schemas.microsoft.com/office/drawing/2014/main" id="{98E14671-EF0D-4AE3-BA7E-8E4C4CFF9283}"/>
              </a:ext>
            </a:extLst>
          </p:cNvPr>
          <p:cNvSpPr txBox="1"/>
          <p:nvPr/>
        </p:nvSpPr>
        <p:spPr>
          <a:xfrm>
            <a:off x="4112944" y="5836867"/>
            <a:ext cx="1356514" cy="216396"/>
          </a:xfrm>
          <a:prstGeom prst="roundRect">
            <a:avLst>
              <a:gd name="adj" fmla="val 50000"/>
            </a:avLst>
          </a:prstGeom>
          <a:solidFill>
            <a:schemeClr val="accent3">
              <a:lumMod val="40000"/>
              <a:lumOff val="60000"/>
            </a:schemeClr>
          </a:solidFill>
        </p:spPr>
        <p:txBody>
          <a:bodyPr wrap="none" tIns="0" bIns="0" rtlCol="0" anchor="ctr" anchorCtr="0">
            <a:spAutoFit/>
          </a:bodyPr>
          <a:lstStyle/>
          <a:p>
            <a:r>
              <a:rPr lang="en-US" sz="1000" dirty="0">
                <a:latin typeface="Montserrat" panose="00000500000000000000" pitchFamily="50" charset="0"/>
              </a:rPr>
              <a:t>Single Unit Lease</a:t>
            </a:r>
          </a:p>
        </p:txBody>
      </p:sp>
      <p:sp>
        <p:nvSpPr>
          <p:cNvPr id="44" name="TextBox 43">
            <a:extLst>
              <a:ext uri="{FF2B5EF4-FFF2-40B4-BE49-F238E27FC236}">
                <a16:creationId xmlns:a16="http://schemas.microsoft.com/office/drawing/2014/main" id="{E6FC8F83-AFED-4640-893B-CB209CFD09D0}"/>
              </a:ext>
            </a:extLst>
          </p:cNvPr>
          <p:cNvSpPr txBox="1"/>
          <p:nvPr/>
        </p:nvSpPr>
        <p:spPr>
          <a:xfrm>
            <a:off x="3002859" y="4733035"/>
            <a:ext cx="2232383" cy="216396"/>
          </a:xfrm>
          <a:prstGeom prst="roundRect">
            <a:avLst>
              <a:gd name="adj" fmla="val 50000"/>
            </a:avLst>
          </a:prstGeom>
          <a:solidFill>
            <a:schemeClr val="accent3">
              <a:lumMod val="40000"/>
              <a:lumOff val="60000"/>
            </a:schemeClr>
          </a:solidFill>
        </p:spPr>
        <p:txBody>
          <a:bodyPr wrap="none" tIns="0" bIns="0" rtlCol="0" anchor="ctr" anchorCtr="0">
            <a:spAutoFit/>
          </a:bodyPr>
          <a:lstStyle/>
          <a:p>
            <a:r>
              <a:rPr lang="en-US" sz="1000" dirty="0">
                <a:latin typeface="Montserrat" panose="00000500000000000000" pitchFamily="50" charset="0"/>
              </a:rPr>
              <a:t>Top Priority: Wireless Reliability</a:t>
            </a:r>
          </a:p>
        </p:txBody>
      </p:sp>
      <p:sp>
        <p:nvSpPr>
          <p:cNvPr id="45" name="TextBox 44">
            <a:extLst>
              <a:ext uri="{FF2B5EF4-FFF2-40B4-BE49-F238E27FC236}">
                <a16:creationId xmlns:a16="http://schemas.microsoft.com/office/drawing/2014/main" id="{DD8DE5C1-73F5-412D-81EB-027105754B88}"/>
              </a:ext>
            </a:extLst>
          </p:cNvPr>
          <p:cNvSpPr txBox="1"/>
          <p:nvPr/>
        </p:nvSpPr>
        <p:spPr>
          <a:xfrm>
            <a:off x="7984059" y="3588526"/>
            <a:ext cx="1223753" cy="216396"/>
          </a:xfrm>
          <a:prstGeom prst="roundRect">
            <a:avLst>
              <a:gd name="adj" fmla="val 50000"/>
            </a:avLst>
          </a:prstGeom>
          <a:solidFill>
            <a:schemeClr val="accent4">
              <a:lumMod val="40000"/>
              <a:lumOff val="60000"/>
            </a:schemeClr>
          </a:solidFill>
        </p:spPr>
        <p:txBody>
          <a:bodyPr wrap="none" tIns="0" bIns="0" rtlCol="0" anchor="ctr" anchorCtr="0">
            <a:spAutoFit/>
          </a:bodyPr>
          <a:lstStyle/>
          <a:p>
            <a:r>
              <a:rPr lang="en-US" sz="1000" dirty="0">
                <a:latin typeface="Montserrat" panose="00000500000000000000" pitchFamily="50" charset="0"/>
              </a:rPr>
              <a:t>&gt; 10 Employees</a:t>
            </a:r>
          </a:p>
        </p:txBody>
      </p:sp>
      <p:sp>
        <p:nvSpPr>
          <p:cNvPr id="46" name="TextBox 45">
            <a:extLst>
              <a:ext uri="{FF2B5EF4-FFF2-40B4-BE49-F238E27FC236}">
                <a16:creationId xmlns:a16="http://schemas.microsoft.com/office/drawing/2014/main" id="{F34FAD10-8E58-4ACC-8D81-E2D4B3137CF6}"/>
              </a:ext>
            </a:extLst>
          </p:cNvPr>
          <p:cNvSpPr txBox="1"/>
          <p:nvPr/>
        </p:nvSpPr>
        <p:spPr>
          <a:xfrm>
            <a:off x="7499893" y="4010429"/>
            <a:ext cx="1808195" cy="216396"/>
          </a:xfrm>
          <a:prstGeom prst="roundRect">
            <a:avLst>
              <a:gd name="adj" fmla="val 50000"/>
            </a:avLst>
          </a:prstGeom>
          <a:solidFill>
            <a:schemeClr val="accent4">
              <a:lumMod val="40000"/>
              <a:lumOff val="60000"/>
            </a:schemeClr>
          </a:solidFill>
        </p:spPr>
        <p:txBody>
          <a:bodyPr wrap="none" tIns="0" bIns="0" rtlCol="0" anchor="ctr" anchorCtr="0">
            <a:spAutoFit/>
          </a:bodyPr>
          <a:lstStyle/>
          <a:p>
            <a:r>
              <a:rPr lang="en-US" sz="1000" dirty="0">
                <a:latin typeface="Montserrat" panose="00000500000000000000" pitchFamily="50" charset="0"/>
              </a:rPr>
              <a:t>Single office or dept. use</a:t>
            </a:r>
          </a:p>
        </p:txBody>
      </p:sp>
      <p:sp>
        <p:nvSpPr>
          <p:cNvPr id="47" name="TextBox 46">
            <a:extLst>
              <a:ext uri="{FF2B5EF4-FFF2-40B4-BE49-F238E27FC236}">
                <a16:creationId xmlns:a16="http://schemas.microsoft.com/office/drawing/2014/main" id="{0D2E9D2C-C44B-44F5-B76A-F6A54BF4F2F9}"/>
              </a:ext>
            </a:extLst>
          </p:cNvPr>
          <p:cNvSpPr txBox="1"/>
          <p:nvPr/>
        </p:nvSpPr>
        <p:spPr>
          <a:xfrm>
            <a:off x="7851355" y="4389352"/>
            <a:ext cx="1316181" cy="216396"/>
          </a:xfrm>
          <a:prstGeom prst="roundRect">
            <a:avLst>
              <a:gd name="adj" fmla="val 50000"/>
            </a:avLst>
          </a:prstGeom>
          <a:solidFill>
            <a:schemeClr val="accent4">
              <a:lumMod val="40000"/>
              <a:lumOff val="60000"/>
            </a:schemeClr>
          </a:solidFill>
        </p:spPr>
        <p:txBody>
          <a:bodyPr wrap="none" tIns="0" bIns="0" rtlCol="0" anchor="ctr" anchorCtr="0">
            <a:spAutoFit/>
          </a:bodyPr>
          <a:lstStyle/>
          <a:p>
            <a:r>
              <a:rPr lang="en-US" sz="1000" dirty="0">
                <a:latin typeface="Montserrat" panose="00000500000000000000" pitchFamily="50" charset="0"/>
              </a:rPr>
              <a:t>In-office workers</a:t>
            </a:r>
          </a:p>
        </p:txBody>
      </p:sp>
      <p:sp>
        <p:nvSpPr>
          <p:cNvPr id="48" name="TextBox 47">
            <a:extLst>
              <a:ext uri="{FF2B5EF4-FFF2-40B4-BE49-F238E27FC236}">
                <a16:creationId xmlns:a16="http://schemas.microsoft.com/office/drawing/2014/main" id="{5171A4F2-9760-44EE-AE19-0C053A06D001}"/>
              </a:ext>
            </a:extLst>
          </p:cNvPr>
          <p:cNvSpPr txBox="1"/>
          <p:nvPr/>
        </p:nvSpPr>
        <p:spPr>
          <a:xfrm>
            <a:off x="6716000" y="5872644"/>
            <a:ext cx="1232155" cy="216396"/>
          </a:xfrm>
          <a:prstGeom prst="roundRect">
            <a:avLst>
              <a:gd name="adj" fmla="val 50000"/>
            </a:avLst>
          </a:prstGeom>
          <a:solidFill>
            <a:schemeClr val="accent4">
              <a:lumMod val="40000"/>
              <a:lumOff val="60000"/>
            </a:schemeClr>
          </a:solidFill>
        </p:spPr>
        <p:txBody>
          <a:bodyPr wrap="none" tIns="0" bIns="0" rtlCol="0" anchor="ctr" anchorCtr="0">
            <a:spAutoFit/>
          </a:bodyPr>
          <a:lstStyle/>
          <a:p>
            <a:r>
              <a:rPr lang="en-US" sz="1000" dirty="0">
                <a:latin typeface="Montserrat" panose="00000500000000000000" pitchFamily="50" charset="0"/>
              </a:rPr>
              <a:t>Urban Location</a:t>
            </a:r>
          </a:p>
        </p:txBody>
      </p:sp>
      <p:sp>
        <p:nvSpPr>
          <p:cNvPr id="49" name="TextBox 48">
            <a:extLst>
              <a:ext uri="{FF2B5EF4-FFF2-40B4-BE49-F238E27FC236}">
                <a16:creationId xmlns:a16="http://schemas.microsoft.com/office/drawing/2014/main" id="{6C6AD918-413D-4770-A2AE-E9FDF1B4409F}"/>
              </a:ext>
            </a:extLst>
          </p:cNvPr>
          <p:cNvSpPr txBox="1"/>
          <p:nvPr/>
        </p:nvSpPr>
        <p:spPr>
          <a:xfrm>
            <a:off x="6989238" y="5145504"/>
            <a:ext cx="1989642" cy="216396"/>
          </a:xfrm>
          <a:prstGeom prst="roundRect">
            <a:avLst>
              <a:gd name="adj" fmla="val 50000"/>
            </a:avLst>
          </a:prstGeom>
          <a:solidFill>
            <a:schemeClr val="accent4">
              <a:lumMod val="40000"/>
              <a:lumOff val="60000"/>
            </a:schemeClr>
          </a:solidFill>
        </p:spPr>
        <p:txBody>
          <a:bodyPr wrap="none" tIns="0" bIns="0" rtlCol="0" anchor="ctr" anchorCtr="0">
            <a:spAutoFit/>
          </a:bodyPr>
          <a:lstStyle/>
          <a:p>
            <a:r>
              <a:rPr lang="en-US" sz="1000" dirty="0">
                <a:latin typeface="Montserrat" panose="00000500000000000000" pitchFamily="50" charset="0"/>
              </a:rPr>
              <a:t>Finance &amp; Insurance Sector</a:t>
            </a:r>
          </a:p>
        </p:txBody>
      </p:sp>
      <p:sp>
        <p:nvSpPr>
          <p:cNvPr id="50" name="TextBox 49">
            <a:extLst>
              <a:ext uri="{FF2B5EF4-FFF2-40B4-BE49-F238E27FC236}">
                <a16:creationId xmlns:a16="http://schemas.microsoft.com/office/drawing/2014/main" id="{CA04911C-B613-4B45-BEE5-D5A00B529BB0}"/>
              </a:ext>
            </a:extLst>
          </p:cNvPr>
          <p:cNvSpPr txBox="1"/>
          <p:nvPr/>
        </p:nvSpPr>
        <p:spPr>
          <a:xfrm>
            <a:off x="7232366" y="5497977"/>
            <a:ext cx="1282571" cy="216396"/>
          </a:xfrm>
          <a:prstGeom prst="roundRect">
            <a:avLst>
              <a:gd name="adj" fmla="val 50000"/>
            </a:avLst>
          </a:prstGeom>
          <a:solidFill>
            <a:schemeClr val="accent4">
              <a:lumMod val="40000"/>
              <a:lumOff val="60000"/>
            </a:schemeClr>
          </a:solidFill>
        </p:spPr>
        <p:txBody>
          <a:bodyPr wrap="none" tIns="0" bIns="0" rtlCol="0" anchor="ctr" anchorCtr="0">
            <a:spAutoFit/>
          </a:bodyPr>
          <a:lstStyle/>
          <a:p>
            <a:r>
              <a:rPr lang="en-US" sz="1000" dirty="0">
                <a:latin typeface="Montserrat" panose="00000500000000000000" pitchFamily="50" charset="0"/>
              </a:rPr>
              <a:t>Multi Unit Lease</a:t>
            </a:r>
          </a:p>
        </p:txBody>
      </p:sp>
      <p:sp>
        <p:nvSpPr>
          <p:cNvPr id="51" name="TextBox 50">
            <a:extLst>
              <a:ext uri="{FF2B5EF4-FFF2-40B4-BE49-F238E27FC236}">
                <a16:creationId xmlns:a16="http://schemas.microsoft.com/office/drawing/2014/main" id="{C65F2053-DAE1-412D-8F08-27747BA6FEC0}"/>
              </a:ext>
            </a:extLst>
          </p:cNvPr>
          <p:cNvSpPr txBox="1"/>
          <p:nvPr/>
        </p:nvSpPr>
        <p:spPr>
          <a:xfrm>
            <a:off x="6975429" y="4772365"/>
            <a:ext cx="2232383" cy="216396"/>
          </a:xfrm>
          <a:prstGeom prst="roundRect">
            <a:avLst>
              <a:gd name="adj" fmla="val 50000"/>
            </a:avLst>
          </a:prstGeom>
          <a:solidFill>
            <a:schemeClr val="accent4">
              <a:lumMod val="40000"/>
              <a:lumOff val="60000"/>
            </a:schemeClr>
          </a:solidFill>
        </p:spPr>
        <p:txBody>
          <a:bodyPr wrap="none" tIns="0" bIns="0" rtlCol="0" anchor="ctr" anchorCtr="0">
            <a:spAutoFit/>
          </a:bodyPr>
          <a:lstStyle/>
          <a:p>
            <a:r>
              <a:rPr lang="en-US" sz="1000" dirty="0">
                <a:latin typeface="Montserrat" panose="00000500000000000000" pitchFamily="50" charset="0"/>
              </a:rPr>
              <a:t>Top Priority: Wireless Reliability</a:t>
            </a:r>
          </a:p>
        </p:txBody>
      </p:sp>
      <p:sp>
        <p:nvSpPr>
          <p:cNvPr id="52" name="TextBox 51">
            <a:extLst>
              <a:ext uri="{FF2B5EF4-FFF2-40B4-BE49-F238E27FC236}">
                <a16:creationId xmlns:a16="http://schemas.microsoft.com/office/drawing/2014/main" id="{A83ACE19-B9D4-462A-AE15-4A868AD2CC9C}"/>
              </a:ext>
            </a:extLst>
          </p:cNvPr>
          <p:cNvSpPr txBox="1"/>
          <p:nvPr/>
        </p:nvSpPr>
        <p:spPr>
          <a:xfrm>
            <a:off x="4215588" y="2262596"/>
            <a:ext cx="1232155" cy="216396"/>
          </a:xfrm>
          <a:prstGeom prst="roundRect">
            <a:avLst>
              <a:gd name="adj" fmla="val 50000"/>
            </a:avLst>
          </a:prstGeom>
          <a:solidFill>
            <a:schemeClr val="bg1"/>
          </a:solidFill>
        </p:spPr>
        <p:txBody>
          <a:bodyPr wrap="none" tIns="0" bIns="0" rtlCol="0" anchor="ctr" anchorCtr="0">
            <a:spAutoFit/>
          </a:bodyPr>
          <a:lstStyle/>
          <a:p>
            <a:r>
              <a:rPr lang="en-US" sz="1000" dirty="0">
                <a:latin typeface="Montserrat" panose="00000500000000000000" pitchFamily="50" charset="0"/>
              </a:rPr>
              <a:t>Urban Location</a:t>
            </a:r>
          </a:p>
        </p:txBody>
      </p:sp>
      <p:sp>
        <p:nvSpPr>
          <p:cNvPr id="53" name="TextBox 52">
            <a:extLst>
              <a:ext uri="{FF2B5EF4-FFF2-40B4-BE49-F238E27FC236}">
                <a16:creationId xmlns:a16="http://schemas.microsoft.com/office/drawing/2014/main" id="{E7FC28F3-2252-41DD-A118-55B4D53006CF}"/>
              </a:ext>
            </a:extLst>
          </p:cNvPr>
          <p:cNvSpPr txBox="1"/>
          <p:nvPr/>
        </p:nvSpPr>
        <p:spPr>
          <a:xfrm>
            <a:off x="4034745" y="2565710"/>
            <a:ext cx="1808195" cy="216396"/>
          </a:xfrm>
          <a:prstGeom prst="roundRect">
            <a:avLst>
              <a:gd name="adj" fmla="val 50000"/>
            </a:avLst>
          </a:prstGeom>
          <a:solidFill>
            <a:schemeClr val="bg1"/>
          </a:solidFill>
        </p:spPr>
        <p:txBody>
          <a:bodyPr wrap="none" tIns="0" bIns="0" rtlCol="0" anchor="ctr" anchorCtr="0">
            <a:spAutoFit/>
          </a:bodyPr>
          <a:lstStyle/>
          <a:p>
            <a:r>
              <a:rPr lang="en-US" sz="1000" dirty="0">
                <a:latin typeface="Montserrat" panose="00000500000000000000" pitchFamily="50" charset="0"/>
              </a:rPr>
              <a:t>Single office or dept. use</a:t>
            </a:r>
          </a:p>
        </p:txBody>
      </p:sp>
      <p:sp>
        <p:nvSpPr>
          <p:cNvPr id="54" name="TextBox 53">
            <a:extLst>
              <a:ext uri="{FF2B5EF4-FFF2-40B4-BE49-F238E27FC236}">
                <a16:creationId xmlns:a16="http://schemas.microsoft.com/office/drawing/2014/main" id="{57FD185E-9F21-4782-992D-5BFCC2A6BC0E}"/>
              </a:ext>
            </a:extLst>
          </p:cNvPr>
          <p:cNvSpPr txBox="1"/>
          <p:nvPr/>
        </p:nvSpPr>
        <p:spPr>
          <a:xfrm>
            <a:off x="4171957" y="2923876"/>
            <a:ext cx="1356514" cy="216396"/>
          </a:xfrm>
          <a:prstGeom prst="roundRect">
            <a:avLst>
              <a:gd name="adj" fmla="val 50000"/>
            </a:avLst>
          </a:prstGeom>
          <a:solidFill>
            <a:schemeClr val="bg1"/>
          </a:solidFill>
        </p:spPr>
        <p:txBody>
          <a:bodyPr wrap="none" tIns="0" bIns="0" rtlCol="0" anchor="ctr" anchorCtr="0">
            <a:spAutoFit/>
          </a:bodyPr>
          <a:lstStyle/>
          <a:p>
            <a:r>
              <a:rPr lang="en-US" sz="1000" dirty="0">
                <a:latin typeface="Montserrat" panose="00000500000000000000" pitchFamily="50" charset="0"/>
              </a:rPr>
              <a:t>Single Unit Lease</a:t>
            </a:r>
          </a:p>
        </p:txBody>
      </p:sp>
      <p:sp>
        <p:nvSpPr>
          <p:cNvPr id="55" name="TextBox 54">
            <a:extLst>
              <a:ext uri="{FF2B5EF4-FFF2-40B4-BE49-F238E27FC236}">
                <a16:creationId xmlns:a16="http://schemas.microsoft.com/office/drawing/2014/main" id="{ED691984-09FF-4D47-B5AE-D350409C9E8B}"/>
              </a:ext>
            </a:extLst>
          </p:cNvPr>
          <p:cNvSpPr txBox="1"/>
          <p:nvPr/>
        </p:nvSpPr>
        <p:spPr>
          <a:xfrm>
            <a:off x="6817016" y="2244613"/>
            <a:ext cx="1223753" cy="216396"/>
          </a:xfrm>
          <a:prstGeom prst="roundRect">
            <a:avLst>
              <a:gd name="adj" fmla="val 50000"/>
            </a:avLst>
          </a:prstGeom>
          <a:solidFill>
            <a:schemeClr val="bg1"/>
          </a:solidFill>
        </p:spPr>
        <p:txBody>
          <a:bodyPr wrap="none" tIns="0" bIns="0" rtlCol="0" anchor="ctr" anchorCtr="0">
            <a:spAutoFit/>
          </a:bodyPr>
          <a:lstStyle/>
          <a:p>
            <a:r>
              <a:rPr lang="en-US" sz="1000" dirty="0">
                <a:latin typeface="Montserrat" panose="00000500000000000000" pitchFamily="50" charset="0"/>
              </a:rPr>
              <a:t>&gt; 10 Employees</a:t>
            </a:r>
          </a:p>
        </p:txBody>
      </p:sp>
      <p:sp>
        <p:nvSpPr>
          <p:cNvPr id="56" name="TextBox 55">
            <a:extLst>
              <a:ext uri="{FF2B5EF4-FFF2-40B4-BE49-F238E27FC236}">
                <a16:creationId xmlns:a16="http://schemas.microsoft.com/office/drawing/2014/main" id="{5958408E-4317-4EA8-B039-5C446C94AA87}"/>
              </a:ext>
            </a:extLst>
          </p:cNvPr>
          <p:cNvSpPr txBox="1"/>
          <p:nvPr/>
        </p:nvSpPr>
        <p:spPr>
          <a:xfrm>
            <a:off x="6328268" y="2543325"/>
            <a:ext cx="1808195" cy="216396"/>
          </a:xfrm>
          <a:prstGeom prst="roundRect">
            <a:avLst>
              <a:gd name="adj" fmla="val 50000"/>
            </a:avLst>
          </a:prstGeom>
          <a:solidFill>
            <a:schemeClr val="bg1"/>
          </a:solidFill>
        </p:spPr>
        <p:txBody>
          <a:bodyPr wrap="none" tIns="0" bIns="0" rtlCol="0" anchor="ctr" anchorCtr="0">
            <a:spAutoFit/>
          </a:bodyPr>
          <a:lstStyle/>
          <a:p>
            <a:r>
              <a:rPr lang="en-US" sz="1000" dirty="0">
                <a:latin typeface="Montserrat" panose="00000500000000000000" pitchFamily="50" charset="0"/>
              </a:rPr>
              <a:t>Single office or dept. use</a:t>
            </a:r>
          </a:p>
        </p:txBody>
      </p:sp>
      <p:sp>
        <p:nvSpPr>
          <p:cNvPr id="57" name="TextBox 56">
            <a:extLst>
              <a:ext uri="{FF2B5EF4-FFF2-40B4-BE49-F238E27FC236}">
                <a16:creationId xmlns:a16="http://schemas.microsoft.com/office/drawing/2014/main" id="{4B3F8E08-214F-4A82-9917-D54EF385E640}"/>
              </a:ext>
            </a:extLst>
          </p:cNvPr>
          <p:cNvSpPr txBox="1"/>
          <p:nvPr/>
        </p:nvSpPr>
        <p:spPr>
          <a:xfrm>
            <a:off x="6704527" y="2854974"/>
            <a:ext cx="1316181" cy="216396"/>
          </a:xfrm>
          <a:prstGeom prst="roundRect">
            <a:avLst>
              <a:gd name="adj" fmla="val 50000"/>
            </a:avLst>
          </a:prstGeom>
          <a:solidFill>
            <a:schemeClr val="bg1"/>
          </a:solidFill>
        </p:spPr>
        <p:txBody>
          <a:bodyPr wrap="none" tIns="0" bIns="0" rtlCol="0" anchor="ctr" anchorCtr="0">
            <a:spAutoFit/>
          </a:bodyPr>
          <a:lstStyle/>
          <a:p>
            <a:r>
              <a:rPr lang="en-US" sz="1000" dirty="0">
                <a:latin typeface="Montserrat" panose="00000500000000000000" pitchFamily="50" charset="0"/>
              </a:rPr>
              <a:t>In-office workers</a:t>
            </a:r>
          </a:p>
        </p:txBody>
      </p:sp>
      <p:sp>
        <p:nvSpPr>
          <p:cNvPr id="58" name="TextBox 57">
            <a:extLst>
              <a:ext uri="{FF2B5EF4-FFF2-40B4-BE49-F238E27FC236}">
                <a16:creationId xmlns:a16="http://schemas.microsoft.com/office/drawing/2014/main" id="{CEFA853E-2B01-4E16-BC4A-F7765288A487}"/>
              </a:ext>
            </a:extLst>
          </p:cNvPr>
          <p:cNvSpPr txBox="1"/>
          <p:nvPr/>
        </p:nvSpPr>
        <p:spPr>
          <a:xfrm>
            <a:off x="6732756" y="3127744"/>
            <a:ext cx="1232155" cy="216396"/>
          </a:xfrm>
          <a:prstGeom prst="roundRect">
            <a:avLst>
              <a:gd name="adj" fmla="val 50000"/>
            </a:avLst>
          </a:prstGeom>
          <a:solidFill>
            <a:schemeClr val="bg1"/>
          </a:solidFill>
        </p:spPr>
        <p:txBody>
          <a:bodyPr wrap="none" tIns="0" bIns="0" rtlCol="0" anchor="ctr" anchorCtr="0">
            <a:spAutoFit/>
          </a:bodyPr>
          <a:lstStyle/>
          <a:p>
            <a:r>
              <a:rPr lang="en-US" sz="1000" dirty="0">
                <a:latin typeface="Montserrat" panose="00000500000000000000" pitchFamily="50" charset="0"/>
              </a:rPr>
              <a:t>Urban Location</a:t>
            </a:r>
          </a:p>
        </p:txBody>
      </p:sp>
      <p:sp>
        <p:nvSpPr>
          <p:cNvPr id="59" name="TextBox 58">
            <a:extLst>
              <a:ext uri="{FF2B5EF4-FFF2-40B4-BE49-F238E27FC236}">
                <a16:creationId xmlns:a16="http://schemas.microsoft.com/office/drawing/2014/main" id="{04591716-8525-410B-A969-C57831EDA6FC}"/>
              </a:ext>
            </a:extLst>
          </p:cNvPr>
          <p:cNvSpPr txBox="1"/>
          <p:nvPr/>
        </p:nvSpPr>
        <p:spPr>
          <a:xfrm>
            <a:off x="5467524" y="4565653"/>
            <a:ext cx="1232155" cy="216396"/>
          </a:xfrm>
          <a:prstGeom prst="roundRect">
            <a:avLst>
              <a:gd name="adj" fmla="val 50000"/>
            </a:avLst>
          </a:prstGeom>
          <a:solidFill>
            <a:schemeClr val="bg1"/>
          </a:solidFill>
        </p:spPr>
        <p:txBody>
          <a:bodyPr wrap="none" tIns="0" bIns="0" rtlCol="0" anchor="ctr" anchorCtr="0">
            <a:spAutoFit/>
          </a:bodyPr>
          <a:lstStyle/>
          <a:p>
            <a:r>
              <a:rPr lang="en-US" sz="1000" dirty="0">
                <a:latin typeface="Montserrat" panose="00000500000000000000" pitchFamily="50" charset="0"/>
              </a:rPr>
              <a:t>Urban Location</a:t>
            </a:r>
          </a:p>
        </p:txBody>
      </p:sp>
      <p:sp>
        <p:nvSpPr>
          <p:cNvPr id="60" name="TextBox 59">
            <a:extLst>
              <a:ext uri="{FF2B5EF4-FFF2-40B4-BE49-F238E27FC236}">
                <a16:creationId xmlns:a16="http://schemas.microsoft.com/office/drawing/2014/main" id="{EE978401-AB08-41CD-8CF1-84D08781D5A9}"/>
              </a:ext>
            </a:extLst>
          </p:cNvPr>
          <p:cNvSpPr txBox="1"/>
          <p:nvPr/>
        </p:nvSpPr>
        <p:spPr>
          <a:xfrm>
            <a:off x="5592960" y="4874109"/>
            <a:ext cx="1006079" cy="216396"/>
          </a:xfrm>
          <a:prstGeom prst="roundRect">
            <a:avLst>
              <a:gd name="adj" fmla="val 50000"/>
            </a:avLst>
          </a:prstGeom>
          <a:solidFill>
            <a:schemeClr val="bg1"/>
          </a:solidFill>
        </p:spPr>
        <p:txBody>
          <a:bodyPr wrap="none" tIns="0" bIns="0" rtlCol="0" anchor="ctr" anchorCtr="0">
            <a:spAutoFit/>
          </a:bodyPr>
          <a:lstStyle/>
          <a:p>
            <a:r>
              <a:rPr lang="en-US" sz="1000" dirty="0">
                <a:latin typeface="Montserrat" panose="00000500000000000000" pitchFamily="50" charset="0"/>
              </a:rPr>
              <a:t>Top Priority</a:t>
            </a:r>
          </a:p>
        </p:txBody>
      </p:sp>
      <p:sp>
        <p:nvSpPr>
          <p:cNvPr id="61" name="TextBox 60">
            <a:extLst>
              <a:ext uri="{FF2B5EF4-FFF2-40B4-BE49-F238E27FC236}">
                <a16:creationId xmlns:a16="http://schemas.microsoft.com/office/drawing/2014/main" id="{067C70FF-3DEF-4BA8-AFA5-5BBF041F9B97}"/>
              </a:ext>
            </a:extLst>
          </p:cNvPr>
          <p:cNvSpPr txBox="1"/>
          <p:nvPr/>
        </p:nvSpPr>
        <p:spPr>
          <a:xfrm>
            <a:off x="5592960" y="5174599"/>
            <a:ext cx="1026432" cy="216396"/>
          </a:xfrm>
          <a:prstGeom prst="roundRect">
            <a:avLst>
              <a:gd name="adj" fmla="val 50000"/>
            </a:avLst>
          </a:prstGeom>
          <a:solidFill>
            <a:schemeClr val="bg1"/>
          </a:solidFill>
        </p:spPr>
        <p:txBody>
          <a:bodyPr wrap="none" tIns="0" bIns="0" rtlCol="0" anchor="ctr" anchorCtr="0">
            <a:spAutoFit/>
          </a:bodyPr>
          <a:lstStyle/>
          <a:p>
            <a:r>
              <a:rPr lang="en-US" sz="1000" dirty="0">
                <a:latin typeface="Montserrat" panose="00000500000000000000" pitchFamily="50" charset="0"/>
              </a:rPr>
              <a:t>Single office</a:t>
            </a:r>
          </a:p>
        </p:txBody>
      </p:sp>
      <p:sp>
        <p:nvSpPr>
          <p:cNvPr id="62" name="TextBox 61">
            <a:extLst>
              <a:ext uri="{FF2B5EF4-FFF2-40B4-BE49-F238E27FC236}">
                <a16:creationId xmlns:a16="http://schemas.microsoft.com/office/drawing/2014/main" id="{A98BC0D4-768E-4F13-B27B-6EC8CCEA5173}"/>
              </a:ext>
            </a:extLst>
          </p:cNvPr>
          <p:cNvSpPr txBox="1"/>
          <p:nvPr/>
        </p:nvSpPr>
        <p:spPr>
          <a:xfrm>
            <a:off x="5487570" y="3499593"/>
            <a:ext cx="1232155" cy="216396"/>
          </a:xfrm>
          <a:prstGeom prst="roundRect">
            <a:avLst>
              <a:gd name="adj" fmla="val 50000"/>
            </a:avLst>
          </a:prstGeom>
          <a:gradFill>
            <a:gsLst>
              <a:gs pos="100000">
                <a:schemeClr val="accent4"/>
              </a:gs>
              <a:gs pos="0">
                <a:schemeClr val="accent1"/>
              </a:gs>
            </a:gsLst>
            <a:lin ang="8100000" scaled="0"/>
          </a:gradFill>
        </p:spPr>
        <p:txBody>
          <a:bodyPr wrap="none" tIns="0" bIns="0" rtlCol="0" anchor="ctr" anchorCtr="0">
            <a:spAutoFit/>
          </a:bodyPr>
          <a:lstStyle/>
          <a:p>
            <a:r>
              <a:rPr lang="en-US" sz="1000" dirty="0">
                <a:solidFill>
                  <a:schemeClr val="bg1"/>
                </a:solidFill>
                <a:latin typeface="Montserrat" panose="00000500000000000000" pitchFamily="50" charset="0"/>
              </a:rPr>
              <a:t>Urban Location</a:t>
            </a:r>
          </a:p>
        </p:txBody>
      </p:sp>
      <p:sp>
        <p:nvSpPr>
          <p:cNvPr id="63" name="TextBox 62">
            <a:extLst>
              <a:ext uri="{FF2B5EF4-FFF2-40B4-BE49-F238E27FC236}">
                <a16:creationId xmlns:a16="http://schemas.microsoft.com/office/drawing/2014/main" id="{15F48F34-B903-48BD-B460-EC76808D0254}"/>
              </a:ext>
            </a:extLst>
          </p:cNvPr>
          <p:cNvSpPr txBox="1"/>
          <p:nvPr/>
        </p:nvSpPr>
        <p:spPr>
          <a:xfrm>
            <a:off x="5501161" y="3817026"/>
            <a:ext cx="1191194" cy="432792"/>
          </a:xfrm>
          <a:prstGeom prst="roundRect">
            <a:avLst>
              <a:gd name="adj" fmla="val 50000"/>
            </a:avLst>
          </a:prstGeom>
          <a:gradFill>
            <a:gsLst>
              <a:gs pos="100000">
                <a:schemeClr val="accent4"/>
              </a:gs>
              <a:gs pos="0">
                <a:schemeClr val="accent1"/>
              </a:gs>
            </a:gsLst>
            <a:lin ang="8100000" scaled="0"/>
          </a:gradFill>
        </p:spPr>
        <p:txBody>
          <a:bodyPr wrap="square" tIns="0" bIns="0" rtlCol="0" anchor="ctr" anchorCtr="0">
            <a:spAutoFit/>
          </a:bodyPr>
          <a:lstStyle>
            <a:defPPr>
              <a:defRPr lang="en-US"/>
            </a:defPPr>
            <a:lvl1pPr>
              <a:defRPr sz="1000">
                <a:solidFill>
                  <a:schemeClr val="bg1"/>
                </a:solidFill>
                <a:latin typeface="Montserrat" panose="00000500000000000000" pitchFamily="50" charset="0"/>
              </a:defRPr>
            </a:lvl1pPr>
          </a:lstStyle>
          <a:p>
            <a:pPr algn="ctr"/>
            <a:r>
              <a:rPr lang="en-US" dirty="0"/>
              <a:t>Single Office or dept. use</a:t>
            </a:r>
          </a:p>
        </p:txBody>
      </p:sp>
      <p:sp>
        <p:nvSpPr>
          <p:cNvPr id="15360" name="TextBox 15359">
            <a:extLst>
              <a:ext uri="{FF2B5EF4-FFF2-40B4-BE49-F238E27FC236}">
                <a16:creationId xmlns:a16="http://schemas.microsoft.com/office/drawing/2014/main" id="{EDBC0682-99DC-43C8-9DDC-B2AEC50B872D}"/>
              </a:ext>
            </a:extLst>
          </p:cNvPr>
          <p:cNvSpPr txBox="1"/>
          <p:nvPr/>
        </p:nvSpPr>
        <p:spPr>
          <a:xfrm>
            <a:off x="8746137" y="1088417"/>
            <a:ext cx="1672253" cy="461665"/>
          </a:xfrm>
          <a:prstGeom prst="rect">
            <a:avLst/>
          </a:prstGeom>
          <a:noFill/>
        </p:spPr>
        <p:txBody>
          <a:bodyPr wrap="none" rtlCol="0">
            <a:spAutoFit/>
          </a:bodyPr>
          <a:lstStyle/>
          <a:p>
            <a:r>
              <a:rPr lang="en-US" sz="1200" b="1" dirty="0">
                <a:latin typeface="Montserrat" panose="00000500000000000000" pitchFamily="50" charset="0"/>
              </a:rPr>
              <a:t>Desktop all-in-one</a:t>
            </a:r>
          </a:p>
          <a:p>
            <a:r>
              <a:rPr lang="en-US" sz="1200" b="1" dirty="0">
                <a:latin typeface="Montserrat" panose="00000500000000000000" pitchFamily="50" charset="0"/>
              </a:rPr>
              <a:t>scan/copy printer</a:t>
            </a:r>
          </a:p>
        </p:txBody>
      </p:sp>
      <p:sp>
        <p:nvSpPr>
          <p:cNvPr id="66" name="TextBox 65">
            <a:extLst>
              <a:ext uri="{FF2B5EF4-FFF2-40B4-BE49-F238E27FC236}">
                <a16:creationId xmlns:a16="http://schemas.microsoft.com/office/drawing/2014/main" id="{EE857888-C156-4060-A78E-D176E5D9D32C}"/>
              </a:ext>
            </a:extLst>
          </p:cNvPr>
          <p:cNvSpPr txBox="1"/>
          <p:nvPr/>
        </p:nvSpPr>
        <p:spPr>
          <a:xfrm>
            <a:off x="9582264" y="5162952"/>
            <a:ext cx="2214068" cy="461665"/>
          </a:xfrm>
          <a:prstGeom prst="rect">
            <a:avLst/>
          </a:prstGeom>
          <a:noFill/>
        </p:spPr>
        <p:txBody>
          <a:bodyPr wrap="none" rtlCol="0">
            <a:spAutoFit/>
          </a:bodyPr>
          <a:lstStyle/>
          <a:p>
            <a:r>
              <a:rPr lang="en-US" sz="1200" b="1" dirty="0">
                <a:latin typeface="Montserrat" panose="00000500000000000000" pitchFamily="50" charset="0"/>
              </a:rPr>
              <a:t>Standing Floor Model full</a:t>
            </a:r>
          </a:p>
          <a:p>
            <a:r>
              <a:rPr lang="en-US" sz="1200" b="1" dirty="0">
                <a:latin typeface="Montserrat" panose="00000500000000000000" pitchFamily="50" charset="0"/>
              </a:rPr>
              <a:t>color scan/copy Printer</a:t>
            </a:r>
          </a:p>
        </p:txBody>
      </p:sp>
      <p:sp>
        <p:nvSpPr>
          <p:cNvPr id="67" name="TextBox 66">
            <a:extLst>
              <a:ext uri="{FF2B5EF4-FFF2-40B4-BE49-F238E27FC236}">
                <a16:creationId xmlns:a16="http://schemas.microsoft.com/office/drawing/2014/main" id="{79E5B45D-D80F-40C9-951A-7BAAF7F2E42C}"/>
              </a:ext>
            </a:extLst>
          </p:cNvPr>
          <p:cNvSpPr txBox="1"/>
          <p:nvPr/>
        </p:nvSpPr>
        <p:spPr>
          <a:xfrm>
            <a:off x="514009" y="5248522"/>
            <a:ext cx="2074607" cy="276999"/>
          </a:xfrm>
          <a:prstGeom prst="rect">
            <a:avLst/>
          </a:prstGeom>
          <a:noFill/>
        </p:spPr>
        <p:txBody>
          <a:bodyPr wrap="none" rtlCol="0">
            <a:spAutoFit/>
          </a:bodyPr>
          <a:lstStyle/>
          <a:p>
            <a:r>
              <a:rPr lang="en-US" sz="1200" b="1" dirty="0">
                <a:latin typeface="Montserrat" panose="00000500000000000000" pitchFamily="50" charset="0"/>
              </a:rPr>
              <a:t>Mobile Wireless Printer</a:t>
            </a:r>
          </a:p>
        </p:txBody>
      </p:sp>
      <p:sp>
        <p:nvSpPr>
          <p:cNvPr id="15361" name="Arc 15360">
            <a:extLst>
              <a:ext uri="{FF2B5EF4-FFF2-40B4-BE49-F238E27FC236}">
                <a16:creationId xmlns:a16="http://schemas.microsoft.com/office/drawing/2014/main" id="{DFD3811F-45C3-444F-8117-20FBFDA8CA37}"/>
              </a:ext>
            </a:extLst>
          </p:cNvPr>
          <p:cNvSpPr/>
          <p:nvPr/>
        </p:nvSpPr>
        <p:spPr>
          <a:xfrm flipH="1">
            <a:off x="1634062" y="4092575"/>
            <a:ext cx="2072212" cy="2072212"/>
          </a:xfrm>
          <a:prstGeom prst="arc">
            <a:avLst>
              <a:gd name="adj1" fmla="val 16200000"/>
              <a:gd name="adj2" fmla="val 21418859"/>
            </a:avLst>
          </a:prstGeom>
          <a:noFill/>
          <a:ln w="12700" cap="flat">
            <a:solidFill>
              <a:schemeClr val="accent3"/>
            </a:solidFill>
            <a:prstDash val="solid"/>
            <a:round/>
            <a:tailEnd type="arrow"/>
          </a:ln>
        </p:spPr>
        <p:txBody>
          <a:bodyPr wrap="square" rtlCol="0" anchor="ctr">
            <a:noAutofit/>
          </a:bodyPr>
          <a:lstStyle/>
          <a:p>
            <a:endParaRPr lang="en-US">
              <a:latin typeface="Montserrat" panose="00000500000000000000" pitchFamily="50" charset="0"/>
            </a:endParaRPr>
          </a:p>
        </p:txBody>
      </p:sp>
      <p:sp>
        <p:nvSpPr>
          <p:cNvPr id="69" name="Arc 68">
            <a:extLst>
              <a:ext uri="{FF2B5EF4-FFF2-40B4-BE49-F238E27FC236}">
                <a16:creationId xmlns:a16="http://schemas.microsoft.com/office/drawing/2014/main" id="{0FD4DDCD-7168-4A89-A574-0654B46408C5}"/>
              </a:ext>
            </a:extLst>
          </p:cNvPr>
          <p:cNvSpPr/>
          <p:nvPr/>
        </p:nvSpPr>
        <p:spPr>
          <a:xfrm>
            <a:off x="8485726" y="4092575"/>
            <a:ext cx="2072212" cy="2072212"/>
          </a:xfrm>
          <a:prstGeom prst="arc">
            <a:avLst>
              <a:gd name="adj1" fmla="val 16200000"/>
              <a:gd name="adj2" fmla="val 21418859"/>
            </a:avLst>
          </a:prstGeom>
          <a:noFill/>
          <a:ln w="12700" cap="flat">
            <a:solidFill>
              <a:schemeClr val="accent4"/>
            </a:solidFill>
            <a:prstDash val="solid"/>
            <a:round/>
            <a:tailEnd type="arrow"/>
          </a:ln>
        </p:spPr>
        <p:txBody>
          <a:bodyPr wrap="square" rtlCol="0" anchor="ctr">
            <a:noAutofit/>
          </a:bodyPr>
          <a:lstStyle/>
          <a:p>
            <a:endParaRPr lang="en-US">
              <a:latin typeface="Montserrat" panose="00000500000000000000" pitchFamily="50" charset="0"/>
            </a:endParaRPr>
          </a:p>
        </p:txBody>
      </p:sp>
      <p:sp>
        <p:nvSpPr>
          <p:cNvPr id="70" name="Arc 69">
            <a:extLst>
              <a:ext uri="{FF2B5EF4-FFF2-40B4-BE49-F238E27FC236}">
                <a16:creationId xmlns:a16="http://schemas.microsoft.com/office/drawing/2014/main" id="{4CCB0FD6-2A78-4E41-866A-7A9C79BFC22A}"/>
              </a:ext>
            </a:extLst>
          </p:cNvPr>
          <p:cNvSpPr/>
          <p:nvPr/>
        </p:nvSpPr>
        <p:spPr>
          <a:xfrm>
            <a:off x="6809716" y="678989"/>
            <a:ext cx="2072212" cy="2072212"/>
          </a:xfrm>
          <a:prstGeom prst="arc">
            <a:avLst>
              <a:gd name="adj1" fmla="val 15046675"/>
              <a:gd name="adj2" fmla="val 19188253"/>
            </a:avLst>
          </a:prstGeom>
          <a:noFill/>
          <a:ln w="12700" cap="flat">
            <a:solidFill>
              <a:schemeClr val="accent1"/>
            </a:solidFill>
            <a:prstDash val="solid"/>
            <a:round/>
            <a:tailEnd type="arrow"/>
          </a:ln>
        </p:spPr>
        <p:txBody>
          <a:bodyPr wrap="square" rtlCol="0" anchor="ctr">
            <a:noAutofit/>
          </a:bodyPr>
          <a:lstStyle/>
          <a:p>
            <a:endParaRPr lang="en-US">
              <a:latin typeface="Montserrat" panose="00000500000000000000" pitchFamily="50" charset="0"/>
            </a:endParaRPr>
          </a:p>
        </p:txBody>
      </p:sp>
      <p:sp>
        <p:nvSpPr>
          <p:cNvPr id="71" name="TextBox 70">
            <a:extLst>
              <a:ext uri="{FF2B5EF4-FFF2-40B4-BE49-F238E27FC236}">
                <a16:creationId xmlns:a16="http://schemas.microsoft.com/office/drawing/2014/main" id="{269B440D-AE1A-4581-9F96-E359EFA32209}"/>
              </a:ext>
            </a:extLst>
          </p:cNvPr>
          <p:cNvSpPr txBox="1"/>
          <p:nvPr/>
        </p:nvSpPr>
        <p:spPr>
          <a:xfrm>
            <a:off x="777927" y="853055"/>
            <a:ext cx="3169345" cy="1015663"/>
          </a:xfrm>
          <a:prstGeom prst="rect">
            <a:avLst/>
          </a:prstGeom>
          <a:noFill/>
        </p:spPr>
        <p:txBody>
          <a:bodyPr wrap="square" rtlCol="0">
            <a:spAutoFit/>
          </a:bodyPr>
          <a:lstStyle/>
          <a:p>
            <a:r>
              <a:rPr lang="en-US" sz="3000" b="1" dirty="0">
                <a:solidFill>
                  <a:schemeClr val="tx2">
                    <a:lumMod val="40000"/>
                    <a:lumOff val="60000"/>
                  </a:schemeClr>
                </a:solidFill>
                <a:latin typeface="Montserrat" panose="00000500000000000000" pitchFamily="50" charset="0"/>
              </a:rPr>
              <a:t>VENN DIAGRAM</a:t>
            </a:r>
          </a:p>
        </p:txBody>
      </p:sp>
    </p:spTree>
    <p:extLst>
      <p:ext uri="{BB962C8B-B14F-4D97-AF65-F5344CB8AC3E}">
        <p14:creationId xmlns:p14="http://schemas.microsoft.com/office/powerpoint/2010/main" val="591873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1500" fill="hold"/>
                                        <p:tgtEl>
                                          <p:spTgt spid="16"/>
                                        </p:tgtEl>
                                        <p:attrNameLst>
                                          <p:attrName>ppt_w</p:attrName>
                                        </p:attrNameLst>
                                      </p:cBhvr>
                                      <p:tavLst>
                                        <p:tav tm="0">
                                          <p:val>
                                            <p:fltVal val="0"/>
                                          </p:val>
                                        </p:tav>
                                        <p:tav tm="100000">
                                          <p:val>
                                            <p:strVal val="#ppt_w"/>
                                          </p:val>
                                        </p:tav>
                                      </p:tavLst>
                                    </p:anim>
                                    <p:anim calcmode="lin" valueType="num">
                                      <p:cBhvr>
                                        <p:cTn id="8" dur="1500" fill="hold"/>
                                        <p:tgtEl>
                                          <p:spTgt spid="16"/>
                                        </p:tgtEl>
                                        <p:attrNameLst>
                                          <p:attrName>ppt_h</p:attrName>
                                        </p:attrNameLst>
                                      </p:cBhvr>
                                      <p:tavLst>
                                        <p:tav tm="0">
                                          <p:val>
                                            <p:fltVal val="0"/>
                                          </p:val>
                                        </p:tav>
                                        <p:tav tm="100000">
                                          <p:val>
                                            <p:strVal val="#ppt_h"/>
                                          </p:val>
                                        </p:tav>
                                      </p:tavLst>
                                    </p:anim>
                                    <p:animEffect transition="in" filter="fade">
                                      <p:cBhvr>
                                        <p:cTn id="9" dur="1500"/>
                                        <p:tgtEl>
                                          <p:spTgt spid="16"/>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 calcmode="lin" valueType="num">
                                      <p:cBhvr>
                                        <p:cTn id="12" dur="1500" fill="hold"/>
                                        <p:tgtEl>
                                          <p:spTgt spid="17"/>
                                        </p:tgtEl>
                                        <p:attrNameLst>
                                          <p:attrName>ppt_w</p:attrName>
                                        </p:attrNameLst>
                                      </p:cBhvr>
                                      <p:tavLst>
                                        <p:tav tm="0">
                                          <p:val>
                                            <p:fltVal val="0"/>
                                          </p:val>
                                        </p:tav>
                                        <p:tav tm="100000">
                                          <p:val>
                                            <p:strVal val="#ppt_w"/>
                                          </p:val>
                                        </p:tav>
                                      </p:tavLst>
                                    </p:anim>
                                    <p:anim calcmode="lin" valueType="num">
                                      <p:cBhvr>
                                        <p:cTn id="13" dur="1500" fill="hold"/>
                                        <p:tgtEl>
                                          <p:spTgt spid="17"/>
                                        </p:tgtEl>
                                        <p:attrNameLst>
                                          <p:attrName>ppt_h</p:attrName>
                                        </p:attrNameLst>
                                      </p:cBhvr>
                                      <p:tavLst>
                                        <p:tav tm="0">
                                          <p:val>
                                            <p:fltVal val="0"/>
                                          </p:val>
                                        </p:tav>
                                        <p:tav tm="100000">
                                          <p:val>
                                            <p:strVal val="#ppt_h"/>
                                          </p:val>
                                        </p:tav>
                                      </p:tavLst>
                                    </p:anim>
                                    <p:animEffect transition="in" filter="fade">
                                      <p:cBhvr>
                                        <p:cTn id="14" dur="1500"/>
                                        <p:tgtEl>
                                          <p:spTgt spid="17"/>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p:cTn id="17" dur="1500" fill="hold"/>
                                        <p:tgtEl>
                                          <p:spTgt spid="15"/>
                                        </p:tgtEl>
                                        <p:attrNameLst>
                                          <p:attrName>ppt_w</p:attrName>
                                        </p:attrNameLst>
                                      </p:cBhvr>
                                      <p:tavLst>
                                        <p:tav tm="0">
                                          <p:val>
                                            <p:fltVal val="0"/>
                                          </p:val>
                                        </p:tav>
                                        <p:tav tm="100000">
                                          <p:val>
                                            <p:strVal val="#ppt_w"/>
                                          </p:val>
                                        </p:tav>
                                      </p:tavLst>
                                    </p:anim>
                                    <p:anim calcmode="lin" valueType="num">
                                      <p:cBhvr>
                                        <p:cTn id="18" dur="1500" fill="hold"/>
                                        <p:tgtEl>
                                          <p:spTgt spid="15"/>
                                        </p:tgtEl>
                                        <p:attrNameLst>
                                          <p:attrName>ppt_h</p:attrName>
                                        </p:attrNameLst>
                                      </p:cBhvr>
                                      <p:tavLst>
                                        <p:tav tm="0">
                                          <p:val>
                                            <p:fltVal val="0"/>
                                          </p:val>
                                        </p:tav>
                                        <p:tav tm="100000">
                                          <p:val>
                                            <p:strVal val="#ppt_h"/>
                                          </p:val>
                                        </p:tav>
                                      </p:tavLst>
                                    </p:anim>
                                    <p:animEffect transition="in" filter="fade">
                                      <p:cBhvr>
                                        <p:cTn id="19" dur="1500"/>
                                        <p:tgtEl>
                                          <p:spTgt spid="15"/>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750"/>
                                        <p:tgtEl>
                                          <p:spTgt spid="40"/>
                                        </p:tgtEl>
                                      </p:cBhvr>
                                    </p:animEffect>
                                  </p:childTnLst>
                                </p:cTn>
                              </p:par>
                              <p:par>
                                <p:cTn id="23" presetID="10" presetClass="entr" presetSubtype="0" fill="hold" grpId="0" nodeType="withEffect">
                                  <p:stCondLst>
                                    <p:cond delay="150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750"/>
                                        <p:tgtEl>
                                          <p:spTgt spid="39"/>
                                        </p:tgtEl>
                                      </p:cBhvr>
                                    </p:animEffect>
                                  </p:childTnLst>
                                </p:cTn>
                              </p:par>
                              <p:par>
                                <p:cTn id="26" presetID="10" presetClass="entr" presetSubtype="0" fill="hold" grpId="0" nodeType="withEffect">
                                  <p:stCondLst>
                                    <p:cond delay="1500"/>
                                  </p:stCondLst>
                                  <p:childTnLst>
                                    <p:set>
                                      <p:cBhvr>
                                        <p:cTn id="27" dur="1" fill="hold">
                                          <p:stCondLst>
                                            <p:cond delay="0"/>
                                          </p:stCondLst>
                                        </p:cTn>
                                        <p:tgtEl>
                                          <p:spTgt spid="38"/>
                                        </p:tgtEl>
                                        <p:attrNameLst>
                                          <p:attrName>style.visibility</p:attrName>
                                        </p:attrNameLst>
                                      </p:cBhvr>
                                      <p:to>
                                        <p:strVal val="visible"/>
                                      </p:to>
                                    </p:set>
                                    <p:animEffect transition="in" filter="fade">
                                      <p:cBhvr>
                                        <p:cTn id="28" dur="750"/>
                                        <p:tgtEl>
                                          <p:spTgt spid="38"/>
                                        </p:tgtEl>
                                      </p:cBhvr>
                                    </p:animEffect>
                                  </p:childTnLst>
                                </p:cTn>
                              </p:par>
                              <p:par>
                                <p:cTn id="29" presetID="22" presetClass="entr" presetSubtype="8" fill="hold" grpId="0" nodeType="withEffect">
                                  <p:stCondLst>
                                    <p:cond delay="1500"/>
                                  </p:stCondLst>
                                  <p:childTnLst>
                                    <p:set>
                                      <p:cBhvr>
                                        <p:cTn id="30" dur="1" fill="hold">
                                          <p:stCondLst>
                                            <p:cond delay="0"/>
                                          </p:stCondLst>
                                        </p:cTn>
                                        <p:tgtEl>
                                          <p:spTgt spid="70"/>
                                        </p:tgtEl>
                                        <p:attrNameLst>
                                          <p:attrName>style.visibility</p:attrName>
                                        </p:attrNameLst>
                                      </p:cBhvr>
                                      <p:to>
                                        <p:strVal val="visible"/>
                                      </p:to>
                                    </p:set>
                                    <p:animEffect transition="in" filter="wipe(left)">
                                      <p:cBhvr>
                                        <p:cTn id="31" dur="1000"/>
                                        <p:tgtEl>
                                          <p:spTgt spid="70"/>
                                        </p:tgtEl>
                                      </p:cBhvr>
                                    </p:animEffect>
                                  </p:childTnLst>
                                </p:cTn>
                              </p:par>
                              <p:par>
                                <p:cTn id="32" presetID="22" presetClass="entr" presetSubtype="8" fill="hold" grpId="0" nodeType="withEffect">
                                  <p:stCondLst>
                                    <p:cond delay="1500"/>
                                  </p:stCondLst>
                                  <p:childTnLst>
                                    <p:set>
                                      <p:cBhvr>
                                        <p:cTn id="33" dur="1" fill="hold">
                                          <p:stCondLst>
                                            <p:cond delay="0"/>
                                          </p:stCondLst>
                                        </p:cTn>
                                        <p:tgtEl>
                                          <p:spTgt spid="69"/>
                                        </p:tgtEl>
                                        <p:attrNameLst>
                                          <p:attrName>style.visibility</p:attrName>
                                        </p:attrNameLst>
                                      </p:cBhvr>
                                      <p:to>
                                        <p:strVal val="visible"/>
                                      </p:to>
                                    </p:set>
                                    <p:animEffect transition="in" filter="wipe(left)">
                                      <p:cBhvr>
                                        <p:cTn id="34" dur="1000"/>
                                        <p:tgtEl>
                                          <p:spTgt spid="69"/>
                                        </p:tgtEl>
                                      </p:cBhvr>
                                    </p:animEffect>
                                  </p:childTnLst>
                                </p:cTn>
                              </p:par>
                              <p:par>
                                <p:cTn id="35" presetID="22" presetClass="entr" presetSubtype="2" fill="hold" grpId="0" nodeType="withEffect">
                                  <p:stCondLst>
                                    <p:cond delay="1500"/>
                                  </p:stCondLst>
                                  <p:childTnLst>
                                    <p:set>
                                      <p:cBhvr>
                                        <p:cTn id="36" dur="1" fill="hold">
                                          <p:stCondLst>
                                            <p:cond delay="0"/>
                                          </p:stCondLst>
                                        </p:cTn>
                                        <p:tgtEl>
                                          <p:spTgt spid="15361"/>
                                        </p:tgtEl>
                                        <p:attrNameLst>
                                          <p:attrName>style.visibility</p:attrName>
                                        </p:attrNameLst>
                                      </p:cBhvr>
                                      <p:to>
                                        <p:strVal val="visible"/>
                                      </p:to>
                                    </p:set>
                                    <p:animEffect transition="in" filter="wipe(right)">
                                      <p:cBhvr>
                                        <p:cTn id="37" dur="1000"/>
                                        <p:tgtEl>
                                          <p:spTgt spid="15361"/>
                                        </p:tgtEl>
                                      </p:cBhvr>
                                    </p:animEffect>
                                  </p:childTnLst>
                                </p:cTn>
                              </p:par>
                              <p:par>
                                <p:cTn id="38" presetID="10" presetClass="entr" presetSubtype="0" fill="hold" grpId="0" nodeType="withEffect">
                                  <p:stCondLst>
                                    <p:cond delay="1500"/>
                                  </p:stCondLst>
                                  <p:childTnLst>
                                    <p:set>
                                      <p:cBhvr>
                                        <p:cTn id="39" dur="1" fill="hold">
                                          <p:stCondLst>
                                            <p:cond delay="0"/>
                                          </p:stCondLst>
                                        </p:cTn>
                                        <p:tgtEl>
                                          <p:spTgt spid="15360"/>
                                        </p:tgtEl>
                                        <p:attrNameLst>
                                          <p:attrName>style.visibility</p:attrName>
                                        </p:attrNameLst>
                                      </p:cBhvr>
                                      <p:to>
                                        <p:strVal val="visible"/>
                                      </p:to>
                                    </p:set>
                                    <p:animEffect transition="in" filter="fade">
                                      <p:cBhvr>
                                        <p:cTn id="40" dur="1000"/>
                                        <p:tgtEl>
                                          <p:spTgt spid="15360"/>
                                        </p:tgtEl>
                                      </p:cBhvr>
                                    </p:animEffect>
                                  </p:childTnLst>
                                </p:cTn>
                              </p:par>
                              <p:par>
                                <p:cTn id="41" presetID="10" presetClass="entr" presetSubtype="0" fill="hold" grpId="0" nodeType="withEffect">
                                  <p:stCondLst>
                                    <p:cond delay="1500"/>
                                  </p:stCondLst>
                                  <p:childTnLst>
                                    <p:set>
                                      <p:cBhvr>
                                        <p:cTn id="42" dur="1" fill="hold">
                                          <p:stCondLst>
                                            <p:cond delay="0"/>
                                          </p:stCondLst>
                                        </p:cTn>
                                        <p:tgtEl>
                                          <p:spTgt spid="67"/>
                                        </p:tgtEl>
                                        <p:attrNameLst>
                                          <p:attrName>style.visibility</p:attrName>
                                        </p:attrNameLst>
                                      </p:cBhvr>
                                      <p:to>
                                        <p:strVal val="visible"/>
                                      </p:to>
                                    </p:set>
                                    <p:animEffect transition="in" filter="fade">
                                      <p:cBhvr>
                                        <p:cTn id="43" dur="1000"/>
                                        <p:tgtEl>
                                          <p:spTgt spid="67"/>
                                        </p:tgtEl>
                                      </p:cBhvr>
                                    </p:animEffect>
                                  </p:childTnLst>
                                </p:cTn>
                              </p:par>
                              <p:par>
                                <p:cTn id="44" presetID="10" presetClass="entr" presetSubtype="0" fill="hold" grpId="0" nodeType="withEffect">
                                  <p:stCondLst>
                                    <p:cond delay="1500"/>
                                  </p:stCondLst>
                                  <p:childTnLst>
                                    <p:set>
                                      <p:cBhvr>
                                        <p:cTn id="45" dur="1" fill="hold">
                                          <p:stCondLst>
                                            <p:cond delay="0"/>
                                          </p:stCondLst>
                                        </p:cTn>
                                        <p:tgtEl>
                                          <p:spTgt spid="66"/>
                                        </p:tgtEl>
                                        <p:attrNameLst>
                                          <p:attrName>style.visibility</p:attrName>
                                        </p:attrNameLst>
                                      </p:cBhvr>
                                      <p:to>
                                        <p:strVal val="visible"/>
                                      </p:to>
                                    </p:set>
                                    <p:animEffect transition="in" filter="fade">
                                      <p:cBhvr>
                                        <p:cTn id="46" dur="1000"/>
                                        <p:tgtEl>
                                          <p:spTgt spid="66"/>
                                        </p:tgtEl>
                                      </p:cBhvr>
                                    </p:animEffect>
                                  </p:childTnLst>
                                </p:cTn>
                              </p:par>
                              <p:par>
                                <p:cTn id="47" presetID="55" presetClass="entr" presetSubtype="0" fill="hold" grpId="0" nodeType="withEffect">
                                  <p:stCondLst>
                                    <p:cond delay="2500"/>
                                  </p:stCondLst>
                                  <p:childTnLst>
                                    <p:set>
                                      <p:cBhvr>
                                        <p:cTn id="48" dur="1" fill="hold">
                                          <p:stCondLst>
                                            <p:cond delay="0"/>
                                          </p:stCondLst>
                                        </p:cTn>
                                        <p:tgtEl>
                                          <p:spTgt spid="24"/>
                                        </p:tgtEl>
                                        <p:attrNameLst>
                                          <p:attrName>style.visibility</p:attrName>
                                        </p:attrNameLst>
                                      </p:cBhvr>
                                      <p:to>
                                        <p:strVal val="visible"/>
                                      </p:to>
                                    </p:set>
                                    <p:anim calcmode="lin" valueType="num">
                                      <p:cBhvr>
                                        <p:cTn id="49" dur="1000" fill="hold"/>
                                        <p:tgtEl>
                                          <p:spTgt spid="24"/>
                                        </p:tgtEl>
                                        <p:attrNameLst>
                                          <p:attrName>ppt_w</p:attrName>
                                        </p:attrNameLst>
                                      </p:cBhvr>
                                      <p:tavLst>
                                        <p:tav tm="0">
                                          <p:val>
                                            <p:strVal val="#ppt_w*0.70"/>
                                          </p:val>
                                        </p:tav>
                                        <p:tav tm="100000">
                                          <p:val>
                                            <p:strVal val="#ppt_w"/>
                                          </p:val>
                                        </p:tav>
                                      </p:tavLst>
                                    </p:anim>
                                    <p:anim calcmode="lin" valueType="num">
                                      <p:cBhvr>
                                        <p:cTn id="50" dur="1000" fill="hold"/>
                                        <p:tgtEl>
                                          <p:spTgt spid="24"/>
                                        </p:tgtEl>
                                        <p:attrNameLst>
                                          <p:attrName>ppt_h</p:attrName>
                                        </p:attrNameLst>
                                      </p:cBhvr>
                                      <p:tavLst>
                                        <p:tav tm="0">
                                          <p:val>
                                            <p:strVal val="#ppt_h"/>
                                          </p:val>
                                        </p:tav>
                                        <p:tav tm="100000">
                                          <p:val>
                                            <p:strVal val="#ppt_h"/>
                                          </p:val>
                                        </p:tav>
                                      </p:tavLst>
                                    </p:anim>
                                    <p:animEffect transition="in" filter="fade">
                                      <p:cBhvr>
                                        <p:cTn id="51" dur="1000"/>
                                        <p:tgtEl>
                                          <p:spTgt spid="24"/>
                                        </p:tgtEl>
                                      </p:cBhvr>
                                    </p:animEffect>
                                  </p:childTnLst>
                                </p:cTn>
                              </p:par>
                              <p:par>
                                <p:cTn id="52" presetID="55" presetClass="entr" presetSubtype="0" fill="hold" grpId="0" nodeType="withEffect">
                                  <p:stCondLst>
                                    <p:cond delay="2500"/>
                                  </p:stCondLst>
                                  <p:childTnLst>
                                    <p:set>
                                      <p:cBhvr>
                                        <p:cTn id="53" dur="1" fill="hold">
                                          <p:stCondLst>
                                            <p:cond delay="0"/>
                                          </p:stCondLst>
                                        </p:cTn>
                                        <p:tgtEl>
                                          <p:spTgt spid="23"/>
                                        </p:tgtEl>
                                        <p:attrNameLst>
                                          <p:attrName>style.visibility</p:attrName>
                                        </p:attrNameLst>
                                      </p:cBhvr>
                                      <p:to>
                                        <p:strVal val="visible"/>
                                      </p:to>
                                    </p:set>
                                    <p:anim calcmode="lin" valueType="num">
                                      <p:cBhvr>
                                        <p:cTn id="54" dur="1000" fill="hold"/>
                                        <p:tgtEl>
                                          <p:spTgt spid="23"/>
                                        </p:tgtEl>
                                        <p:attrNameLst>
                                          <p:attrName>ppt_w</p:attrName>
                                        </p:attrNameLst>
                                      </p:cBhvr>
                                      <p:tavLst>
                                        <p:tav tm="0">
                                          <p:val>
                                            <p:strVal val="#ppt_w*0.70"/>
                                          </p:val>
                                        </p:tav>
                                        <p:tav tm="100000">
                                          <p:val>
                                            <p:strVal val="#ppt_w"/>
                                          </p:val>
                                        </p:tav>
                                      </p:tavLst>
                                    </p:anim>
                                    <p:anim calcmode="lin" valueType="num">
                                      <p:cBhvr>
                                        <p:cTn id="55" dur="1000" fill="hold"/>
                                        <p:tgtEl>
                                          <p:spTgt spid="23"/>
                                        </p:tgtEl>
                                        <p:attrNameLst>
                                          <p:attrName>ppt_h</p:attrName>
                                        </p:attrNameLst>
                                      </p:cBhvr>
                                      <p:tavLst>
                                        <p:tav tm="0">
                                          <p:val>
                                            <p:strVal val="#ppt_h"/>
                                          </p:val>
                                        </p:tav>
                                        <p:tav tm="100000">
                                          <p:val>
                                            <p:strVal val="#ppt_h"/>
                                          </p:val>
                                        </p:tav>
                                      </p:tavLst>
                                    </p:anim>
                                    <p:animEffect transition="in" filter="fade">
                                      <p:cBhvr>
                                        <p:cTn id="56" dur="1000"/>
                                        <p:tgtEl>
                                          <p:spTgt spid="23"/>
                                        </p:tgtEl>
                                      </p:cBhvr>
                                    </p:animEffect>
                                  </p:childTnLst>
                                </p:cTn>
                              </p:par>
                              <p:par>
                                <p:cTn id="57" presetID="55" presetClass="entr" presetSubtype="0" fill="hold" grpId="0" nodeType="withEffect">
                                  <p:stCondLst>
                                    <p:cond delay="2500"/>
                                  </p:stCondLst>
                                  <p:childTnLst>
                                    <p:set>
                                      <p:cBhvr>
                                        <p:cTn id="58" dur="1" fill="hold">
                                          <p:stCondLst>
                                            <p:cond delay="0"/>
                                          </p:stCondLst>
                                        </p:cTn>
                                        <p:tgtEl>
                                          <p:spTgt spid="25"/>
                                        </p:tgtEl>
                                        <p:attrNameLst>
                                          <p:attrName>style.visibility</p:attrName>
                                        </p:attrNameLst>
                                      </p:cBhvr>
                                      <p:to>
                                        <p:strVal val="visible"/>
                                      </p:to>
                                    </p:set>
                                    <p:anim calcmode="lin" valueType="num">
                                      <p:cBhvr>
                                        <p:cTn id="59" dur="1000" fill="hold"/>
                                        <p:tgtEl>
                                          <p:spTgt spid="25"/>
                                        </p:tgtEl>
                                        <p:attrNameLst>
                                          <p:attrName>ppt_w</p:attrName>
                                        </p:attrNameLst>
                                      </p:cBhvr>
                                      <p:tavLst>
                                        <p:tav tm="0">
                                          <p:val>
                                            <p:strVal val="#ppt_w*0.70"/>
                                          </p:val>
                                        </p:tav>
                                        <p:tav tm="100000">
                                          <p:val>
                                            <p:strVal val="#ppt_w"/>
                                          </p:val>
                                        </p:tav>
                                      </p:tavLst>
                                    </p:anim>
                                    <p:anim calcmode="lin" valueType="num">
                                      <p:cBhvr>
                                        <p:cTn id="60" dur="1000" fill="hold"/>
                                        <p:tgtEl>
                                          <p:spTgt spid="25"/>
                                        </p:tgtEl>
                                        <p:attrNameLst>
                                          <p:attrName>ppt_h</p:attrName>
                                        </p:attrNameLst>
                                      </p:cBhvr>
                                      <p:tavLst>
                                        <p:tav tm="0">
                                          <p:val>
                                            <p:strVal val="#ppt_h"/>
                                          </p:val>
                                        </p:tav>
                                        <p:tav tm="100000">
                                          <p:val>
                                            <p:strVal val="#ppt_h"/>
                                          </p:val>
                                        </p:tav>
                                      </p:tavLst>
                                    </p:anim>
                                    <p:animEffect transition="in" filter="fade">
                                      <p:cBhvr>
                                        <p:cTn id="61" dur="1000"/>
                                        <p:tgtEl>
                                          <p:spTgt spid="25"/>
                                        </p:tgtEl>
                                      </p:cBhvr>
                                    </p:animEffect>
                                  </p:childTnLst>
                                </p:cTn>
                              </p:par>
                              <p:par>
                                <p:cTn id="62" presetID="55" presetClass="entr" presetSubtype="0" fill="hold" grpId="0" nodeType="withEffect">
                                  <p:stCondLst>
                                    <p:cond delay="2500"/>
                                  </p:stCondLst>
                                  <p:childTnLst>
                                    <p:set>
                                      <p:cBhvr>
                                        <p:cTn id="63" dur="1" fill="hold">
                                          <p:stCondLst>
                                            <p:cond delay="0"/>
                                          </p:stCondLst>
                                        </p:cTn>
                                        <p:tgtEl>
                                          <p:spTgt spid="22"/>
                                        </p:tgtEl>
                                        <p:attrNameLst>
                                          <p:attrName>style.visibility</p:attrName>
                                        </p:attrNameLst>
                                      </p:cBhvr>
                                      <p:to>
                                        <p:strVal val="visible"/>
                                      </p:to>
                                    </p:set>
                                    <p:anim calcmode="lin" valueType="num">
                                      <p:cBhvr>
                                        <p:cTn id="64" dur="1000" fill="hold"/>
                                        <p:tgtEl>
                                          <p:spTgt spid="22"/>
                                        </p:tgtEl>
                                        <p:attrNameLst>
                                          <p:attrName>ppt_w</p:attrName>
                                        </p:attrNameLst>
                                      </p:cBhvr>
                                      <p:tavLst>
                                        <p:tav tm="0">
                                          <p:val>
                                            <p:strVal val="#ppt_w*0.70"/>
                                          </p:val>
                                        </p:tav>
                                        <p:tav tm="100000">
                                          <p:val>
                                            <p:strVal val="#ppt_w"/>
                                          </p:val>
                                        </p:tav>
                                      </p:tavLst>
                                    </p:anim>
                                    <p:anim calcmode="lin" valueType="num">
                                      <p:cBhvr>
                                        <p:cTn id="65" dur="1000" fill="hold"/>
                                        <p:tgtEl>
                                          <p:spTgt spid="22"/>
                                        </p:tgtEl>
                                        <p:attrNameLst>
                                          <p:attrName>ppt_h</p:attrName>
                                        </p:attrNameLst>
                                      </p:cBhvr>
                                      <p:tavLst>
                                        <p:tav tm="0">
                                          <p:val>
                                            <p:strVal val="#ppt_h"/>
                                          </p:val>
                                        </p:tav>
                                        <p:tav tm="100000">
                                          <p:val>
                                            <p:strVal val="#ppt_h"/>
                                          </p:val>
                                        </p:tav>
                                      </p:tavLst>
                                    </p:anim>
                                    <p:animEffect transition="in" filter="fade">
                                      <p:cBhvr>
                                        <p:cTn id="66" dur="1000"/>
                                        <p:tgtEl>
                                          <p:spTgt spid="22"/>
                                        </p:tgtEl>
                                      </p:cBhvr>
                                    </p:animEffect>
                                  </p:childTnLst>
                                </p:cTn>
                              </p:par>
                              <p:par>
                                <p:cTn id="67" presetID="55" presetClass="entr" presetSubtype="0" fill="hold" grpId="0" nodeType="withEffect">
                                  <p:stCondLst>
                                    <p:cond delay="2500"/>
                                  </p:stCondLst>
                                  <p:childTnLst>
                                    <p:set>
                                      <p:cBhvr>
                                        <p:cTn id="68" dur="1" fill="hold">
                                          <p:stCondLst>
                                            <p:cond delay="0"/>
                                          </p:stCondLst>
                                        </p:cTn>
                                        <p:tgtEl>
                                          <p:spTgt spid="21"/>
                                        </p:tgtEl>
                                        <p:attrNameLst>
                                          <p:attrName>style.visibility</p:attrName>
                                        </p:attrNameLst>
                                      </p:cBhvr>
                                      <p:to>
                                        <p:strVal val="visible"/>
                                      </p:to>
                                    </p:set>
                                    <p:anim calcmode="lin" valueType="num">
                                      <p:cBhvr>
                                        <p:cTn id="69" dur="1000" fill="hold"/>
                                        <p:tgtEl>
                                          <p:spTgt spid="21"/>
                                        </p:tgtEl>
                                        <p:attrNameLst>
                                          <p:attrName>ppt_w</p:attrName>
                                        </p:attrNameLst>
                                      </p:cBhvr>
                                      <p:tavLst>
                                        <p:tav tm="0">
                                          <p:val>
                                            <p:strVal val="#ppt_w*0.70"/>
                                          </p:val>
                                        </p:tav>
                                        <p:tav tm="100000">
                                          <p:val>
                                            <p:strVal val="#ppt_w"/>
                                          </p:val>
                                        </p:tav>
                                      </p:tavLst>
                                    </p:anim>
                                    <p:anim calcmode="lin" valueType="num">
                                      <p:cBhvr>
                                        <p:cTn id="70" dur="1000" fill="hold"/>
                                        <p:tgtEl>
                                          <p:spTgt spid="21"/>
                                        </p:tgtEl>
                                        <p:attrNameLst>
                                          <p:attrName>ppt_h</p:attrName>
                                        </p:attrNameLst>
                                      </p:cBhvr>
                                      <p:tavLst>
                                        <p:tav tm="0">
                                          <p:val>
                                            <p:strVal val="#ppt_h"/>
                                          </p:val>
                                        </p:tav>
                                        <p:tav tm="100000">
                                          <p:val>
                                            <p:strVal val="#ppt_h"/>
                                          </p:val>
                                        </p:tav>
                                      </p:tavLst>
                                    </p:anim>
                                    <p:animEffect transition="in" filter="fade">
                                      <p:cBhvr>
                                        <p:cTn id="71" dur="1000"/>
                                        <p:tgtEl>
                                          <p:spTgt spid="21"/>
                                        </p:tgtEl>
                                      </p:cBhvr>
                                    </p:animEffect>
                                  </p:childTnLst>
                                </p:cTn>
                              </p:par>
                              <p:par>
                                <p:cTn id="72" presetID="55" presetClass="entr" presetSubtype="0" fill="hold" grpId="0" nodeType="withEffect">
                                  <p:stCondLst>
                                    <p:cond delay="2500"/>
                                  </p:stCondLst>
                                  <p:childTnLst>
                                    <p:set>
                                      <p:cBhvr>
                                        <p:cTn id="73" dur="1" fill="hold">
                                          <p:stCondLst>
                                            <p:cond delay="0"/>
                                          </p:stCondLst>
                                        </p:cTn>
                                        <p:tgtEl>
                                          <p:spTgt spid="19"/>
                                        </p:tgtEl>
                                        <p:attrNameLst>
                                          <p:attrName>style.visibility</p:attrName>
                                        </p:attrNameLst>
                                      </p:cBhvr>
                                      <p:to>
                                        <p:strVal val="visible"/>
                                      </p:to>
                                    </p:set>
                                    <p:anim calcmode="lin" valueType="num">
                                      <p:cBhvr>
                                        <p:cTn id="74" dur="1000" fill="hold"/>
                                        <p:tgtEl>
                                          <p:spTgt spid="19"/>
                                        </p:tgtEl>
                                        <p:attrNameLst>
                                          <p:attrName>ppt_w</p:attrName>
                                        </p:attrNameLst>
                                      </p:cBhvr>
                                      <p:tavLst>
                                        <p:tav tm="0">
                                          <p:val>
                                            <p:strVal val="#ppt_w*0.70"/>
                                          </p:val>
                                        </p:tav>
                                        <p:tav tm="100000">
                                          <p:val>
                                            <p:strVal val="#ppt_w"/>
                                          </p:val>
                                        </p:tav>
                                      </p:tavLst>
                                    </p:anim>
                                    <p:anim calcmode="lin" valueType="num">
                                      <p:cBhvr>
                                        <p:cTn id="75" dur="1000" fill="hold"/>
                                        <p:tgtEl>
                                          <p:spTgt spid="19"/>
                                        </p:tgtEl>
                                        <p:attrNameLst>
                                          <p:attrName>ppt_h</p:attrName>
                                        </p:attrNameLst>
                                      </p:cBhvr>
                                      <p:tavLst>
                                        <p:tav tm="0">
                                          <p:val>
                                            <p:strVal val="#ppt_h"/>
                                          </p:val>
                                        </p:tav>
                                        <p:tav tm="100000">
                                          <p:val>
                                            <p:strVal val="#ppt_h"/>
                                          </p:val>
                                        </p:tav>
                                      </p:tavLst>
                                    </p:anim>
                                    <p:animEffect transition="in" filter="fade">
                                      <p:cBhvr>
                                        <p:cTn id="76" dur="1000"/>
                                        <p:tgtEl>
                                          <p:spTgt spid="19"/>
                                        </p:tgtEl>
                                      </p:cBhvr>
                                    </p:animEffect>
                                  </p:childTnLst>
                                </p:cTn>
                              </p:par>
                              <p:par>
                                <p:cTn id="77" presetID="55" presetClass="entr" presetSubtype="0" fill="hold" grpId="0" nodeType="withEffect">
                                  <p:stCondLst>
                                    <p:cond delay="2500"/>
                                  </p:stCondLst>
                                  <p:childTnLst>
                                    <p:set>
                                      <p:cBhvr>
                                        <p:cTn id="78" dur="1" fill="hold">
                                          <p:stCondLst>
                                            <p:cond delay="0"/>
                                          </p:stCondLst>
                                        </p:cTn>
                                        <p:tgtEl>
                                          <p:spTgt spid="45"/>
                                        </p:tgtEl>
                                        <p:attrNameLst>
                                          <p:attrName>style.visibility</p:attrName>
                                        </p:attrNameLst>
                                      </p:cBhvr>
                                      <p:to>
                                        <p:strVal val="visible"/>
                                      </p:to>
                                    </p:set>
                                    <p:anim calcmode="lin" valueType="num">
                                      <p:cBhvr>
                                        <p:cTn id="79" dur="1000" fill="hold"/>
                                        <p:tgtEl>
                                          <p:spTgt spid="45"/>
                                        </p:tgtEl>
                                        <p:attrNameLst>
                                          <p:attrName>ppt_w</p:attrName>
                                        </p:attrNameLst>
                                      </p:cBhvr>
                                      <p:tavLst>
                                        <p:tav tm="0">
                                          <p:val>
                                            <p:strVal val="#ppt_w*0.70"/>
                                          </p:val>
                                        </p:tav>
                                        <p:tav tm="100000">
                                          <p:val>
                                            <p:strVal val="#ppt_w"/>
                                          </p:val>
                                        </p:tav>
                                      </p:tavLst>
                                    </p:anim>
                                    <p:anim calcmode="lin" valueType="num">
                                      <p:cBhvr>
                                        <p:cTn id="80" dur="1000" fill="hold"/>
                                        <p:tgtEl>
                                          <p:spTgt spid="45"/>
                                        </p:tgtEl>
                                        <p:attrNameLst>
                                          <p:attrName>ppt_h</p:attrName>
                                        </p:attrNameLst>
                                      </p:cBhvr>
                                      <p:tavLst>
                                        <p:tav tm="0">
                                          <p:val>
                                            <p:strVal val="#ppt_h"/>
                                          </p:val>
                                        </p:tav>
                                        <p:tav tm="100000">
                                          <p:val>
                                            <p:strVal val="#ppt_h"/>
                                          </p:val>
                                        </p:tav>
                                      </p:tavLst>
                                    </p:anim>
                                    <p:animEffect transition="in" filter="fade">
                                      <p:cBhvr>
                                        <p:cTn id="81" dur="1000"/>
                                        <p:tgtEl>
                                          <p:spTgt spid="45"/>
                                        </p:tgtEl>
                                      </p:cBhvr>
                                    </p:animEffect>
                                  </p:childTnLst>
                                </p:cTn>
                              </p:par>
                              <p:par>
                                <p:cTn id="82" presetID="55" presetClass="entr" presetSubtype="0" fill="hold" grpId="0" nodeType="withEffect">
                                  <p:stCondLst>
                                    <p:cond delay="2500"/>
                                  </p:stCondLst>
                                  <p:childTnLst>
                                    <p:set>
                                      <p:cBhvr>
                                        <p:cTn id="83" dur="1" fill="hold">
                                          <p:stCondLst>
                                            <p:cond delay="0"/>
                                          </p:stCondLst>
                                        </p:cTn>
                                        <p:tgtEl>
                                          <p:spTgt spid="46"/>
                                        </p:tgtEl>
                                        <p:attrNameLst>
                                          <p:attrName>style.visibility</p:attrName>
                                        </p:attrNameLst>
                                      </p:cBhvr>
                                      <p:to>
                                        <p:strVal val="visible"/>
                                      </p:to>
                                    </p:set>
                                    <p:anim calcmode="lin" valueType="num">
                                      <p:cBhvr>
                                        <p:cTn id="84" dur="1000" fill="hold"/>
                                        <p:tgtEl>
                                          <p:spTgt spid="46"/>
                                        </p:tgtEl>
                                        <p:attrNameLst>
                                          <p:attrName>ppt_w</p:attrName>
                                        </p:attrNameLst>
                                      </p:cBhvr>
                                      <p:tavLst>
                                        <p:tav tm="0">
                                          <p:val>
                                            <p:strVal val="#ppt_w*0.70"/>
                                          </p:val>
                                        </p:tav>
                                        <p:tav tm="100000">
                                          <p:val>
                                            <p:strVal val="#ppt_w"/>
                                          </p:val>
                                        </p:tav>
                                      </p:tavLst>
                                    </p:anim>
                                    <p:anim calcmode="lin" valueType="num">
                                      <p:cBhvr>
                                        <p:cTn id="85" dur="1000" fill="hold"/>
                                        <p:tgtEl>
                                          <p:spTgt spid="46"/>
                                        </p:tgtEl>
                                        <p:attrNameLst>
                                          <p:attrName>ppt_h</p:attrName>
                                        </p:attrNameLst>
                                      </p:cBhvr>
                                      <p:tavLst>
                                        <p:tav tm="0">
                                          <p:val>
                                            <p:strVal val="#ppt_h"/>
                                          </p:val>
                                        </p:tav>
                                        <p:tav tm="100000">
                                          <p:val>
                                            <p:strVal val="#ppt_h"/>
                                          </p:val>
                                        </p:tav>
                                      </p:tavLst>
                                    </p:anim>
                                    <p:animEffect transition="in" filter="fade">
                                      <p:cBhvr>
                                        <p:cTn id="86" dur="1000"/>
                                        <p:tgtEl>
                                          <p:spTgt spid="46"/>
                                        </p:tgtEl>
                                      </p:cBhvr>
                                    </p:animEffect>
                                  </p:childTnLst>
                                </p:cTn>
                              </p:par>
                              <p:par>
                                <p:cTn id="87" presetID="55" presetClass="entr" presetSubtype="0" fill="hold" grpId="0" nodeType="withEffect">
                                  <p:stCondLst>
                                    <p:cond delay="2500"/>
                                  </p:stCondLst>
                                  <p:childTnLst>
                                    <p:set>
                                      <p:cBhvr>
                                        <p:cTn id="88" dur="1" fill="hold">
                                          <p:stCondLst>
                                            <p:cond delay="0"/>
                                          </p:stCondLst>
                                        </p:cTn>
                                        <p:tgtEl>
                                          <p:spTgt spid="47"/>
                                        </p:tgtEl>
                                        <p:attrNameLst>
                                          <p:attrName>style.visibility</p:attrName>
                                        </p:attrNameLst>
                                      </p:cBhvr>
                                      <p:to>
                                        <p:strVal val="visible"/>
                                      </p:to>
                                    </p:set>
                                    <p:anim calcmode="lin" valueType="num">
                                      <p:cBhvr>
                                        <p:cTn id="89" dur="1000" fill="hold"/>
                                        <p:tgtEl>
                                          <p:spTgt spid="47"/>
                                        </p:tgtEl>
                                        <p:attrNameLst>
                                          <p:attrName>ppt_w</p:attrName>
                                        </p:attrNameLst>
                                      </p:cBhvr>
                                      <p:tavLst>
                                        <p:tav tm="0">
                                          <p:val>
                                            <p:strVal val="#ppt_w*0.70"/>
                                          </p:val>
                                        </p:tav>
                                        <p:tav tm="100000">
                                          <p:val>
                                            <p:strVal val="#ppt_w"/>
                                          </p:val>
                                        </p:tav>
                                      </p:tavLst>
                                    </p:anim>
                                    <p:anim calcmode="lin" valueType="num">
                                      <p:cBhvr>
                                        <p:cTn id="90" dur="1000" fill="hold"/>
                                        <p:tgtEl>
                                          <p:spTgt spid="47"/>
                                        </p:tgtEl>
                                        <p:attrNameLst>
                                          <p:attrName>ppt_h</p:attrName>
                                        </p:attrNameLst>
                                      </p:cBhvr>
                                      <p:tavLst>
                                        <p:tav tm="0">
                                          <p:val>
                                            <p:strVal val="#ppt_h"/>
                                          </p:val>
                                        </p:tav>
                                        <p:tav tm="100000">
                                          <p:val>
                                            <p:strVal val="#ppt_h"/>
                                          </p:val>
                                        </p:tav>
                                      </p:tavLst>
                                    </p:anim>
                                    <p:animEffect transition="in" filter="fade">
                                      <p:cBhvr>
                                        <p:cTn id="91" dur="1000"/>
                                        <p:tgtEl>
                                          <p:spTgt spid="47"/>
                                        </p:tgtEl>
                                      </p:cBhvr>
                                    </p:animEffect>
                                  </p:childTnLst>
                                </p:cTn>
                              </p:par>
                              <p:par>
                                <p:cTn id="92" presetID="55" presetClass="entr" presetSubtype="0" fill="hold" grpId="0" nodeType="withEffect">
                                  <p:stCondLst>
                                    <p:cond delay="2500"/>
                                  </p:stCondLst>
                                  <p:childTnLst>
                                    <p:set>
                                      <p:cBhvr>
                                        <p:cTn id="93" dur="1" fill="hold">
                                          <p:stCondLst>
                                            <p:cond delay="0"/>
                                          </p:stCondLst>
                                        </p:cTn>
                                        <p:tgtEl>
                                          <p:spTgt spid="51"/>
                                        </p:tgtEl>
                                        <p:attrNameLst>
                                          <p:attrName>style.visibility</p:attrName>
                                        </p:attrNameLst>
                                      </p:cBhvr>
                                      <p:to>
                                        <p:strVal val="visible"/>
                                      </p:to>
                                    </p:set>
                                    <p:anim calcmode="lin" valueType="num">
                                      <p:cBhvr>
                                        <p:cTn id="94" dur="1000" fill="hold"/>
                                        <p:tgtEl>
                                          <p:spTgt spid="51"/>
                                        </p:tgtEl>
                                        <p:attrNameLst>
                                          <p:attrName>ppt_w</p:attrName>
                                        </p:attrNameLst>
                                      </p:cBhvr>
                                      <p:tavLst>
                                        <p:tav tm="0">
                                          <p:val>
                                            <p:strVal val="#ppt_w*0.70"/>
                                          </p:val>
                                        </p:tav>
                                        <p:tav tm="100000">
                                          <p:val>
                                            <p:strVal val="#ppt_w"/>
                                          </p:val>
                                        </p:tav>
                                      </p:tavLst>
                                    </p:anim>
                                    <p:anim calcmode="lin" valueType="num">
                                      <p:cBhvr>
                                        <p:cTn id="95" dur="1000" fill="hold"/>
                                        <p:tgtEl>
                                          <p:spTgt spid="51"/>
                                        </p:tgtEl>
                                        <p:attrNameLst>
                                          <p:attrName>ppt_h</p:attrName>
                                        </p:attrNameLst>
                                      </p:cBhvr>
                                      <p:tavLst>
                                        <p:tav tm="0">
                                          <p:val>
                                            <p:strVal val="#ppt_h"/>
                                          </p:val>
                                        </p:tav>
                                        <p:tav tm="100000">
                                          <p:val>
                                            <p:strVal val="#ppt_h"/>
                                          </p:val>
                                        </p:tav>
                                      </p:tavLst>
                                    </p:anim>
                                    <p:animEffect transition="in" filter="fade">
                                      <p:cBhvr>
                                        <p:cTn id="96" dur="1000"/>
                                        <p:tgtEl>
                                          <p:spTgt spid="51"/>
                                        </p:tgtEl>
                                      </p:cBhvr>
                                    </p:animEffect>
                                  </p:childTnLst>
                                </p:cTn>
                              </p:par>
                              <p:par>
                                <p:cTn id="97" presetID="55" presetClass="entr" presetSubtype="0" fill="hold" grpId="0" nodeType="withEffect">
                                  <p:stCondLst>
                                    <p:cond delay="2500"/>
                                  </p:stCondLst>
                                  <p:childTnLst>
                                    <p:set>
                                      <p:cBhvr>
                                        <p:cTn id="98" dur="1" fill="hold">
                                          <p:stCondLst>
                                            <p:cond delay="0"/>
                                          </p:stCondLst>
                                        </p:cTn>
                                        <p:tgtEl>
                                          <p:spTgt spid="49"/>
                                        </p:tgtEl>
                                        <p:attrNameLst>
                                          <p:attrName>style.visibility</p:attrName>
                                        </p:attrNameLst>
                                      </p:cBhvr>
                                      <p:to>
                                        <p:strVal val="visible"/>
                                      </p:to>
                                    </p:set>
                                    <p:anim calcmode="lin" valueType="num">
                                      <p:cBhvr>
                                        <p:cTn id="99" dur="1000" fill="hold"/>
                                        <p:tgtEl>
                                          <p:spTgt spid="49"/>
                                        </p:tgtEl>
                                        <p:attrNameLst>
                                          <p:attrName>ppt_w</p:attrName>
                                        </p:attrNameLst>
                                      </p:cBhvr>
                                      <p:tavLst>
                                        <p:tav tm="0">
                                          <p:val>
                                            <p:strVal val="#ppt_w*0.70"/>
                                          </p:val>
                                        </p:tav>
                                        <p:tav tm="100000">
                                          <p:val>
                                            <p:strVal val="#ppt_w"/>
                                          </p:val>
                                        </p:tav>
                                      </p:tavLst>
                                    </p:anim>
                                    <p:anim calcmode="lin" valueType="num">
                                      <p:cBhvr>
                                        <p:cTn id="100" dur="1000" fill="hold"/>
                                        <p:tgtEl>
                                          <p:spTgt spid="49"/>
                                        </p:tgtEl>
                                        <p:attrNameLst>
                                          <p:attrName>ppt_h</p:attrName>
                                        </p:attrNameLst>
                                      </p:cBhvr>
                                      <p:tavLst>
                                        <p:tav tm="0">
                                          <p:val>
                                            <p:strVal val="#ppt_h"/>
                                          </p:val>
                                        </p:tav>
                                        <p:tav tm="100000">
                                          <p:val>
                                            <p:strVal val="#ppt_h"/>
                                          </p:val>
                                        </p:tav>
                                      </p:tavLst>
                                    </p:anim>
                                    <p:animEffect transition="in" filter="fade">
                                      <p:cBhvr>
                                        <p:cTn id="101" dur="1000"/>
                                        <p:tgtEl>
                                          <p:spTgt spid="49"/>
                                        </p:tgtEl>
                                      </p:cBhvr>
                                    </p:animEffect>
                                  </p:childTnLst>
                                </p:cTn>
                              </p:par>
                              <p:par>
                                <p:cTn id="102" presetID="55" presetClass="entr" presetSubtype="0" fill="hold" grpId="0" nodeType="withEffect">
                                  <p:stCondLst>
                                    <p:cond delay="2500"/>
                                  </p:stCondLst>
                                  <p:childTnLst>
                                    <p:set>
                                      <p:cBhvr>
                                        <p:cTn id="103" dur="1" fill="hold">
                                          <p:stCondLst>
                                            <p:cond delay="0"/>
                                          </p:stCondLst>
                                        </p:cTn>
                                        <p:tgtEl>
                                          <p:spTgt spid="50"/>
                                        </p:tgtEl>
                                        <p:attrNameLst>
                                          <p:attrName>style.visibility</p:attrName>
                                        </p:attrNameLst>
                                      </p:cBhvr>
                                      <p:to>
                                        <p:strVal val="visible"/>
                                      </p:to>
                                    </p:set>
                                    <p:anim calcmode="lin" valueType="num">
                                      <p:cBhvr>
                                        <p:cTn id="104" dur="1000" fill="hold"/>
                                        <p:tgtEl>
                                          <p:spTgt spid="50"/>
                                        </p:tgtEl>
                                        <p:attrNameLst>
                                          <p:attrName>ppt_w</p:attrName>
                                        </p:attrNameLst>
                                      </p:cBhvr>
                                      <p:tavLst>
                                        <p:tav tm="0">
                                          <p:val>
                                            <p:strVal val="#ppt_w*0.70"/>
                                          </p:val>
                                        </p:tav>
                                        <p:tav tm="100000">
                                          <p:val>
                                            <p:strVal val="#ppt_w"/>
                                          </p:val>
                                        </p:tav>
                                      </p:tavLst>
                                    </p:anim>
                                    <p:anim calcmode="lin" valueType="num">
                                      <p:cBhvr>
                                        <p:cTn id="105" dur="1000" fill="hold"/>
                                        <p:tgtEl>
                                          <p:spTgt spid="50"/>
                                        </p:tgtEl>
                                        <p:attrNameLst>
                                          <p:attrName>ppt_h</p:attrName>
                                        </p:attrNameLst>
                                      </p:cBhvr>
                                      <p:tavLst>
                                        <p:tav tm="0">
                                          <p:val>
                                            <p:strVal val="#ppt_h"/>
                                          </p:val>
                                        </p:tav>
                                        <p:tav tm="100000">
                                          <p:val>
                                            <p:strVal val="#ppt_h"/>
                                          </p:val>
                                        </p:tav>
                                      </p:tavLst>
                                    </p:anim>
                                    <p:animEffect transition="in" filter="fade">
                                      <p:cBhvr>
                                        <p:cTn id="106" dur="1000"/>
                                        <p:tgtEl>
                                          <p:spTgt spid="50"/>
                                        </p:tgtEl>
                                      </p:cBhvr>
                                    </p:animEffect>
                                  </p:childTnLst>
                                </p:cTn>
                              </p:par>
                              <p:par>
                                <p:cTn id="107" presetID="55" presetClass="entr" presetSubtype="0" fill="hold" grpId="0" nodeType="withEffect">
                                  <p:stCondLst>
                                    <p:cond delay="2500"/>
                                  </p:stCondLst>
                                  <p:childTnLst>
                                    <p:set>
                                      <p:cBhvr>
                                        <p:cTn id="108" dur="1" fill="hold">
                                          <p:stCondLst>
                                            <p:cond delay="0"/>
                                          </p:stCondLst>
                                        </p:cTn>
                                        <p:tgtEl>
                                          <p:spTgt spid="48"/>
                                        </p:tgtEl>
                                        <p:attrNameLst>
                                          <p:attrName>style.visibility</p:attrName>
                                        </p:attrNameLst>
                                      </p:cBhvr>
                                      <p:to>
                                        <p:strVal val="visible"/>
                                      </p:to>
                                    </p:set>
                                    <p:anim calcmode="lin" valueType="num">
                                      <p:cBhvr>
                                        <p:cTn id="109" dur="1000" fill="hold"/>
                                        <p:tgtEl>
                                          <p:spTgt spid="48"/>
                                        </p:tgtEl>
                                        <p:attrNameLst>
                                          <p:attrName>ppt_w</p:attrName>
                                        </p:attrNameLst>
                                      </p:cBhvr>
                                      <p:tavLst>
                                        <p:tav tm="0">
                                          <p:val>
                                            <p:strVal val="#ppt_w*0.70"/>
                                          </p:val>
                                        </p:tav>
                                        <p:tav tm="100000">
                                          <p:val>
                                            <p:strVal val="#ppt_w"/>
                                          </p:val>
                                        </p:tav>
                                      </p:tavLst>
                                    </p:anim>
                                    <p:anim calcmode="lin" valueType="num">
                                      <p:cBhvr>
                                        <p:cTn id="110" dur="1000" fill="hold"/>
                                        <p:tgtEl>
                                          <p:spTgt spid="48"/>
                                        </p:tgtEl>
                                        <p:attrNameLst>
                                          <p:attrName>ppt_h</p:attrName>
                                        </p:attrNameLst>
                                      </p:cBhvr>
                                      <p:tavLst>
                                        <p:tav tm="0">
                                          <p:val>
                                            <p:strVal val="#ppt_h"/>
                                          </p:val>
                                        </p:tav>
                                        <p:tav tm="100000">
                                          <p:val>
                                            <p:strVal val="#ppt_h"/>
                                          </p:val>
                                        </p:tav>
                                      </p:tavLst>
                                    </p:anim>
                                    <p:animEffect transition="in" filter="fade">
                                      <p:cBhvr>
                                        <p:cTn id="111" dur="1000"/>
                                        <p:tgtEl>
                                          <p:spTgt spid="48"/>
                                        </p:tgtEl>
                                      </p:cBhvr>
                                    </p:animEffect>
                                  </p:childTnLst>
                                </p:cTn>
                              </p:par>
                              <p:par>
                                <p:cTn id="112" presetID="55" presetClass="entr" presetSubtype="0" fill="hold" grpId="0" nodeType="withEffect">
                                  <p:stCondLst>
                                    <p:cond delay="2500"/>
                                  </p:stCondLst>
                                  <p:childTnLst>
                                    <p:set>
                                      <p:cBhvr>
                                        <p:cTn id="113" dur="1" fill="hold">
                                          <p:stCondLst>
                                            <p:cond delay="0"/>
                                          </p:stCondLst>
                                        </p:cTn>
                                        <p:tgtEl>
                                          <p:spTgt spid="43"/>
                                        </p:tgtEl>
                                        <p:attrNameLst>
                                          <p:attrName>style.visibility</p:attrName>
                                        </p:attrNameLst>
                                      </p:cBhvr>
                                      <p:to>
                                        <p:strVal val="visible"/>
                                      </p:to>
                                    </p:set>
                                    <p:anim calcmode="lin" valueType="num">
                                      <p:cBhvr>
                                        <p:cTn id="114" dur="1000" fill="hold"/>
                                        <p:tgtEl>
                                          <p:spTgt spid="43"/>
                                        </p:tgtEl>
                                        <p:attrNameLst>
                                          <p:attrName>ppt_w</p:attrName>
                                        </p:attrNameLst>
                                      </p:cBhvr>
                                      <p:tavLst>
                                        <p:tav tm="0">
                                          <p:val>
                                            <p:strVal val="#ppt_w*0.70"/>
                                          </p:val>
                                        </p:tav>
                                        <p:tav tm="100000">
                                          <p:val>
                                            <p:strVal val="#ppt_w"/>
                                          </p:val>
                                        </p:tav>
                                      </p:tavLst>
                                    </p:anim>
                                    <p:anim calcmode="lin" valueType="num">
                                      <p:cBhvr>
                                        <p:cTn id="115" dur="1000" fill="hold"/>
                                        <p:tgtEl>
                                          <p:spTgt spid="43"/>
                                        </p:tgtEl>
                                        <p:attrNameLst>
                                          <p:attrName>ppt_h</p:attrName>
                                        </p:attrNameLst>
                                      </p:cBhvr>
                                      <p:tavLst>
                                        <p:tav tm="0">
                                          <p:val>
                                            <p:strVal val="#ppt_h"/>
                                          </p:val>
                                        </p:tav>
                                        <p:tav tm="100000">
                                          <p:val>
                                            <p:strVal val="#ppt_h"/>
                                          </p:val>
                                        </p:tav>
                                      </p:tavLst>
                                    </p:anim>
                                    <p:animEffect transition="in" filter="fade">
                                      <p:cBhvr>
                                        <p:cTn id="116" dur="1000"/>
                                        <p:tgtEl>
                                          <p:spTgt spid="43"/>
                                        </p:tgtEl>
                                      </p:cBhvr>
                                    </p:animEffect>
                                  </p:childTnLst>
                                </p:cTn>
                              </p:par>
                              <p:par>
                                <p:cTn id="117" presetID="55" presetClass="entr" presetSubtype="0" fill="hold" grpId="0" nodeType="withEffect">
                                  <p:stCondLst>
                                    <p:cond delay="2500"/>
                                  </p:stCondLst>
                                  <p:childTnLst>
                                    <p:set>
                                      <p:cBhvr>
                                        <p:cTn id="118" dur="1" fill="hold">
                                          <p:stCondLst>
                                            <p:cond delay="0"/>
                                          </p:stCondLst>
                                        </p:cTn>
                                        <p:tgtEl>
                                          <p:spTgt spid="29"/>
                                        </p:tgtEl>
                                        <p:attrNameLst>
                                          <p:attrName>style.visibility</p:attrName>
                                        </p:attrNameLst>
                                      </p:cBhvr>
                                      <p:to>
                                        <p:strVal val="visible"/>
                                      </p:to>
                                    </p:set>
                                    <p:anim calcmode="lin" valueType="num">
                                      <p:cBhvr>
                                        <p:cTn id="119" dur="1000" fill="hold"/>
                                        <p:tgtEl>
                                          <p:spTgt spid="29"/>
                                        </p:tgtEl>
                                        <p:attrNameLst>
                                          <p:attrName>ppt_w</p:attrName>
                                        </p:attrNameLst>
                                      </p:cBhvr>
                                      <p:tavLst>
                                        <p:tav tm="0">
                                          <p:val>
                                            <p:strVal val="#ppt_w*0.70"/>
                                          </p:val>
                                        </p:tav>
                                        <p:tav tm="100000">
                                          <p:val>
                                            <p:strVal val="#ppt_w"/>
                                          </p:val>
                                        </p:tav>
                                      </p:tavLst>
                                    </p:anim>
                                    <p:anim calcmode="lin" valueType="num">
                                      <p:cBhvr>
                                        <p:cTn id="120" dur="1000" fill="hold"/>
                                        <p:tgtEl>
                                          <p:spTgt spid="29"/>
                                        </p:tgtEl>
                                        <p:attrNameLst>
                                          <p:attrName>ppt_h</p:attrName>
                                        </p:attrNameLst>
                                      </p:cBhvr>
                                      <p:tavLst>
                                        <p:tav tm="0">
                                          <p:val>
                                            <p:strVal val="#ppt_h"/>
                                          </p:val>
                                        </p:tav>
                                        <p:tav tm="100000">
                                          <p:val>
                                            <p:strVal val="#ppt_h"/>
                                          </p:val>
                                        </p:tav>
                                      </p:tavLst>
                                    </p:anim>
                                    <p:animEffect transition="in" filter="fade">
                                      <p:cBhvr>
                                        <p:cTn id="121" dur="1000"/>
                                        <p:tgtEl>
                                          <p:spTgt spid="29"/>
                                        </p:tgtEl>
                                      </p:cBhvr>
                                    </p:animEffect>
                                  </p:childTnLst>
                                </p:cTn>
                              </p:par>
                              <p:par>
                                <p:cTn id="122" presetID="55" presetClass="entr" presetSubtype="0" fill="hold" grpId="0" nodeType="withEffect">
                                  <p:stCondLst>
                                    <p:cond delay="2500"/>
                                  </p:stCondLst>
                                  <p:childTnLst>
                                    <p:set>
                                      <p:cBhvr>
                                        <p:cTn id="123" dur="1" fill="hold">
                                          <p:stCondLst>
                                            <p:cond delay="0"/>
                                          </p:stCondLst>
                                        </p:cTn>
                                        <p:tgtEl>
                                          <p:spTgt spid="30"/>
                                        </p:tgtEl>
                                        <p:attrNameLst>
                                          <p:attrName>style.visibility</p:attrName>
                                        </p:attrNameLst>
                                      </p:cBhvr>
                                      <p:to>
                                        <p:strVal val="visible"/>
                                      </p:to>
                                    </p:set>
                                    <p:anim calcmode="lin" valueType="num">
                                      <p:cBhvr>
                                        <p:cTn id="124" dur="1000" fill="hold"/>
                                        <p:tgtEl>
                                          <p:spTgt spid="30"/>
                                        </p:tgtEl>
                                        <p:attrNameLst>
                                          <p:attrName>ppt_w</p:attrName>
                                        </p:attrNameLst>
                                      </p:cBhvr>
                                      <p:tavLst>
                                        <p:tav tm="0">
                                          <p:val>
                                            <p:strVal val="#ppt_w*0.70"/>
                                          </p:val>
                                        </p:tav>
                                        <p:tav tm="100000">
                                          <p:val>
                                            <p:strVal val="#ppt_w"/>
                                          </p:val>
                                        </p:tav>
                                      </p:tavLst>
                                    </p:anim>
                                    <p:anim calcmode="lin" valueType="num">
                                      <p:cBhvr>
                                        <p:cTn id="125" dur="1000" fill="hold"/>
                                        <p:tgtEl>
                                          <p:spTgt spid="30"/>
                                        </p:tgtEl>
                                        <p:attrNameLst>
                                          <p:attrName>ppt_h</p:attrName>
                                        </p:attrNameLst>
                                      </p:cBhvr>
                                      <p:tavLst>
                                        <p:tav tm="0">
                                          <p:val>
                                            <p:strVal val="#ppt_h"/>
                                          </p:val>
                                        </p:tav>
                                        <p:tav tm="100000">
                                          <p:val>
                                            <p:strVal val="#ppt_h"/>
                                          </p:val>
                                        </p:tav>
                                      </p:tavLst>
                                    </p:anim>
                                    <p:animEffect transition="in" filter="fade">
                                      <p:cBhvr>
                                        <p:cTn id="126" dur="1000"/>
                                        <p:tgtEl>
                                          <p:spTgt spid="30"/>
                                        </p:tgtEl>
                                      </p:cBhvr>
                                    </p:animEffect>
                                  </p:childTnLst>
                                </p:cTn>
                              </p:par>
                              <p:par>
                                <p:cTn id="127" presetID="55" presetClass="entr" presetSubtype="0" fill="hold" grpId="0" nodeType="withEffect">
                                  <p:stCondLst>
                                    <p:cond delay="2500"/>
                                  </p:stCondLst>
                                  <p:childTnLst>
                                    <p:set>
                                      <p:cBhvr>
                                        <p:cTn id="128" dur="1" fill="hold">
                                          <p:stCondLst>
                                            <p:cond delay="0"/>
                                          </p:stCondLst>
                                        </p:cTn>
                                        <p:tgtEl>
                                          <p:spTgt spid="44"/>
                                        </p:tgtEl>
                                        <p:attrNameLst>
                                          <p:attrName>style.visibility</p:attrName>
                                        </p:attrNameLst>
                                      </p:cBhvr>
                                      <p:to>
                                        <p:strVal val="visible"/>
                                      </p:to>
                                    </p:set>
                                    <p:anim calcmode="lin" valueType="num">
                                      <p:cBhvr>
                                        <p:cTn id="129" dur="1000" fill="hold"/>
                                        <p:tgtEl>
                                          <p:spTgt spid="44"/>
                                        </p:tgtEl>
                                        <p:attrNameLst>
                                          <p:attrName>ppt_w</p:attrName>
                                        </p:attrNameLst>
                                      </p:cBhvr>
                                      <p:tavLst>
                                        <p:tav tm="0">
                                          <p:val>
                                            <p:strVal val="#ppt_w*0.70"/>
                                          </p:val>
                                        </p:tav>
                                        <p:tav tm="100000">
                                          <p:val>
                                            <p:strVal val="#ppt_w"/>
                                          </p:val>
                                        </p:tav>
                                      </p:tavLst>
                                    </p:anim>
                                    <p:anim calcmode="lin" valueType="num">
                                      <p:cBhvr>
                                        <p:cTn id="130" dur="1000" fill="hold"/>
                                        <p:tgtEl>
                                          <p:spTgt spid="44"/>
                                        </p:tgtEl>
                                        <p:attrNameLst>
                                          <p:attrName>ppt_h</p:attrName>
                                        </p:attrNameLst>
                                      </p:cBhvr>
                                      <p:tavLst>
                                        <p:tav tm="0">
                                          <p:val>
                                            <p:strVal val="#ppt_h"/>
                                          </p:val>
                                        </p:tav>
                                        <p:tav tm="100000">
                                          <p:val>
                                            <p:strVal val="#ppt_h"/>
                                          </p:val>
                                        </p:tav>
                                      </p:tavLst>
                                    </p:anim>
                                    <p:animEffect transition="in" filter="fade">
                                      <p:cBhvr>
                                        <p:cTn id="131" dur="1000"/>
                                        <p:tgtEl>
                                          <p:spTgt spid="44"/>
                                        </p:tgtEl>
                                      </p:cBhvr>
                                    </p:animEffect>
                                  </p:childTnLst>
                                </p:cTn>
                              </p:par>
                              <p:par>
                                <p:cTn id="132" presetID="55" presetClass="entr" presetSubtype="0" fill="hold" grpId="0" nodeType="withEffect">
                                  <p:stCondLst>
                                    <p:cond delay="2500"/>
                                  </p:stCondLst>
                                  <p:childTnLst>
                                    <p:set>
                                      <p:cBhvr>
                                        <p:cTn id="133" dur="1" fill="hold">
                                          <p:stCondLst>
                                            <p:cond delay="0"/>
                                          </p:stCondLst>
                                        </p:cTn>
                                        <p:tgtEl>
                                          <p:spTgt spid="28"/>
                                        </p:tgtEl>
                                        <p:attrNameLst>
                                          <p:attrName>style.visibility</p:attrName>
                                        </p:attrNameLst>
                                      </p:cBhvr>
                                      <p:to>
                                        <p:strVal val="visible"/>
                                      </p:to>
                                    </p:set>
                                    <p:anim calcmode="lin" valueType="num">
                                      <p:cBhvr>
                                        <p:cTn id="134" dur="1000" fill="hold"/>
                                        <p:tgtEl>
                                          <p:spTgt spid="28"/>
                                        </p:tgtEl>
                                        <p:attrNameLst>
                                          <p:attrName>ppt_w</p:attrName>
                                        </p:attrNameLst>
                                      </p:cBhvr>
                                      <p:tavLst>
                                        <p:tav tm="0">
                                          <p:val>
                                            <p:strVal val="#ppt_w*0.70"/>
                                          </p:val>
                                        </p:tav>
                                        <p:tav tm="100000">
                                          <p:val>
                                            <p:strVal val="#ppt_w"/>
                                          </p:val>
                                        </p:tav>
                                      </p:tavLst>
                                    </p:anim>
                                    <p:anim calcmode="lin" valueType="num">
                                      <p:cBhvr>
                                        <p:cTn id="135" dur="1000" fill="hold"/>
                                        <p:tgtEl>
                                          <p:spTgt spid="28"/>
                                        </p:tgtEl>
                                        <p:attrNameLst>
                                          <p:attrName>ppt_h</p:attrName>
                                        </p:attrNameLst>
                                      </p:cBhvr>
                                      <p:tavLst>
                                        <p:tav tm="0">
                                          <p:val>
                                            <p:strVal val="#ppt_h"/>
                                          </p:val>
                                        </p:tav>
                                        <p:tav tm="100000">
                                          <p:val>
                                            <p:strVal val="#ppt_h"/>
                                          </p:val>
                                        </p:tav>
                                      </p:tavLst>
                                    </p:anim>
                                    <p:animEffect transition="in" filter="fade">
                                      <p:cBhvr>
                                        <p:cTn id="136" dur="1000"/>
                                        <p:tgtEl>
                                          <p:spTgt spid="28"/>
                                        </p:tgtEl>
                                      </p:cBhvr>
                                    </p:animEffect>
                                  </p:childTnLst>
                                </p:cTn>
                              </p:par>
                              <p:par>
                                <p:cTn id="137" presetID="55" presetClass="entr" presetSubtype="0" fill="hold" grpId="0" nodeType="withEffect">
                                  <p:stCondLst>
                                    <p:cond delay="2500"/>
                                  </p:stCondLst>
                                  <p:childTnLst>
                                    <p:set>
                                      <p:cBhvr>
                                        <p:cTn id="138" dur="1" fill="hold">
                                          <p:stCondLst>
                                            <p:cond delay="0"/>
                                          </p:stCondLst>
                                        </p:cTn>
                                        <p:tgtEl>
                                          <p:spTgt spid="27"/>
                                        </p:tgtEl>
                                        <p:attrNameLst>
                                          <p:attrName>style.visibility</p:attrName>
                                        </p:attrNameLst>
                                      </p:cBhvr>
                                      <p:to>
                                        <p:strVal val="visible"/>
                                      </p:to>
                                    </p:set>
                                    <p:anim calcmode="lin" valueType="num">
                                      <p:cBhvr>
                                        <p:cTn id="139" dur="1000" fill="hold"/>
                                        <p:tgtEl>
                                          <p:spTgt spid="27"/>
                                        </p:tgtEl>
                                        <p:attrNameLst>
                                          <p:attrName>ppt_w</p:attrName>
                                        </p:attrNameLst>
                                      </p:cBhvr>
                                      <p:tavLst>
                                        <p:tav tm="0">
                                          <p:val>
                                            <p:strVal val="#ppt_w*0.70"/>
                                          </p:val>
                                        </p:tav>
                                        <p:tav tm="100000">
                                          <p:val>
                                            <p:strVal val="#ppt_w"/>
                                          </p:val>
                                        </p:tav>
                                      </p:tavLst>
                                    </p:anim>
                                    <p:anim calcmode="lin" valueType="num">
                                      <p:cBhvr>
                                        <p:cTn id="140" dur="1000" fill="hold"/>
                                        <p:tgtEl>
                                          <p:spTgt spid="27"/>
                                        </p:tgtEl>
                                        <p:attrNameLst>
                                          <p:attrName>ppt_h</p:attrName>
                                        </p:attrNameLst>
                                      </p:cBhvr>
                                      <p:tavLst>
                                        <p:tav tm="0">
                                          <p:val>
                                            <p:strVal val="#ppt_h"/>
                                          </p:val>
                                        </p:tav>
                                        <p:tav tm="100000">
                                          <p:val>
                                            <p:strVal val="#ppt_h"/>
                                          </p:val>
                                        </p:tav>
                                      </p:tavLst>
                                    </p:anim>
                                    <p:animEffect transition="in" filter="fade">
                                      <p:cBhvr>
                                        <p:cTn id="141" dur="1000"/>
                                        <p:tgtEl>
                                          <p:spTgt spid="27"/>
                                        </p:tgtEl>
                                      </p:cBhvr>
                                    </p:animEffect>
                                  </p:childTnLst>
                                </p:cTn>
                              </p:par>
                              <p:par>
                                <p:cTn id="142" presetID="55" presetClass="entr" presetSubtype="0" fill="hold" grpId="0" nodeType="withEffect">
                                  <p:stCondLst>
                                    <p:cond delay="2500"/>
                                  </p:stCondLst>
                                  <p:childTnLst>
                                    <p:set>
                                      <p:cBhvr>
                                        <p:cTn id="143" dur="1" fill="hold">
                                          <p:stCondLst>
                                            <p:cond delay="0"/>
                                          </p:stCondLst>
                                        </p:cTn>
                                        <p:tgtEl>
                                          <p:spTgt spid="26"/>
                                        </p:tgtEl>
                                        <p:attrNameLst>
                                          <p:attrName>style.visibility</p:attrName>
                                        </p:attrNameLst>
                                      </p:cBhvr>
                                      <p:to>
                                        <p:strVal val="visible"/>
                                      </p:to>
                                    </p:set>
                                    <p:anim calcmode="lin" valueType="num">
                                      <p:cBhvr>
                                        <p:cTn id="144" dur="1000" fill="hold"/>
                                        <p:tgtEl>
                                          <p:spTgt spid="26"/>
                                        </p:tgtEl>
                                        <p:attrNameLst>
                                          <p:attrName>ppt_w</p:attrName>
                                        </p:attrNameLst>
                                      </p:cBhvr>
                                      <p:tavLst>
                                        <p:tav tm="0">
                                          <p:val>
                                            <p:strVal val="#ppt_w*0.70"/>
                                          </p:val>
                                        </p:tav>
                                        <p:tav tm="100000">
                                          <p:val>
                                            <p:strVal val="#ppt_w"/>
                                          </p:val>
                                        </p:tav>
                                      </p:tavLst>
                                    </p:anim>
                                    <p:anim calcmode="lin" valueType="num">
                                      <p:cBhvr>
                                        <p:cTn id="145" dur="1000" fill="hold"/>
                                        <p:tgtEl>
                                          <p:spTgt spid="26"/>
                                        </p:tgtEl>
                                        <p:attrNameLst>
                                          <p:attrName>ppt_h</p:attrName>
                                        </p:attrNameLst>
                                      </p:cBhvr>
                                      <p:tavLst>
                                        <p:tav tm="0">
                                          <p:val>
                                            <p:strVal val="#ppt_h"/>
                                          </p:val>
                                        </p:tav>
                                        <p:tav tm="100000">
                                          <p:val>
                                            <p:strVal val="#ppt_h"/>
                                          </p:val>
                                        </p:tav>
                                      </p:tavLst>
                                    </p:anim>
                                    <p:animEffect transition="in" filter="fade">
                                      <p:cBhvr>
                                        <p:cTn id="146" dur="1000"/>
                                        <p:tgtEl>
                                          <p:spTgt spid="26"/>
                                        </p:tgtEl>
                                      </p:cBhvr>
                                    </p:animEffect>
                                  </p:childTnLst>
                                </p:cTn>
                              </p:par>
                              <p:par>
                                <p:cTn id="147" presetID="55" presetClass="entr" presetSubtype="0" fill="hold" grpId="0" nodeType="withEffect">
                                  <p:stCondLst>
                                    <p:cond delay="3250"/>
                                  </p:stCondLst>
                                  <p:childTnLst>
                                    <p:set>
                                      <p:cBhvr>
                                        <p:cTn id="148" dur="1" fill="hold">
                                          <p:stCondLst>
                                            <p:cond delay="0"/>
                                          </p:stCondLst>
                                        </p:cTn>
                                        <p:tgtEl>
                                          <p:spTgt spid="52"/>
                                        </p:tgtEl>
                                        <p:attrNameLst>
                                          <p:attrName>style.visibility</p:attrName>
                                        </p:attrNameLst>
                                      </p:cBhvr>
                                      <p:to>
                                        <p:strVal val="visible"/>
                                      </p:to>
                                    </p:set>
                                    <p:anim calcmode="lin" valueType="num">
                                      <p:cBhvr>
                                        <p:cTn id="149" dur="1000" fill="hold"/>
                                        <p:tgtEl>
                                          <p:spTgt spid="52"/>
                                        </p:tgtEl>
                                        <p:attrNameLst>
                                          <p:attrName>ppt_w</p:attrName>
                                        </p:attrNameLst>
                                      </p:cBhvr>
                                      <p:tavLst>
                                        <p:tav tm="0">
                                          <p:val>
                                            <p:strVal val="#ppt_w*0.70"/>
                                          </p:val>
                                        </p:tav>
                                        <p:tav tm="100000">
                                          <p:val>
                                            <p:strVal val="#ppt_w"/>
                                          </p:val>
                                        </p:tav>
                                      </p:tavLst>
                                    </p:anim>
                                    <p:anim calcmode="lin" valueType="num">
                                      <p:cBhvr>
                                        <p:cTn id="150" dur="1000" fill="hold"/>
                                        <p:tgtEl>
                                          <p:spTgt spid="52"/>
                                        </p:tgtEl>
                                        <p:attrNameLst>
                                          <p:attrName>ppt_h</p:attrName>
                                        </p:attrNameLst>
                                      </p:cBhvr>
                                      <p:tavLst>
                                        <p:tav tm="0">
                                          <p:val>
                                            <p:strVal val="#ppt_h"/>
                                          </p:val>
                                        </p:tav>
                                        <p:tav tm="100000">
                                          <p:val>
                                            <p:strVal val="#ppt_h"/>
                                          </p:val>
                                        </p:tav>
                                      </p:tavLst>
                                    </p:anim>
                                    <p:animEffect transition="in" filter="fade">
                                      <p:cBhvr>
                                        <p:cTn id="151" dur="1000"/>
                                        <p:tgtEl>
                                          <p:spTgt spid="52"/>
                                        </p:tgtEl>
                                      </p:cBhvr>
                                    </p:animEffect>
                                  </p:childTnLst>
                                </p:cTn>
                              </p:par>
                              <p:par>
                                <p:cTn id="152" presetID="55" presetClass="entr" presetSubtype="0" fill="hold" grpId="0" nodeType="withEffect">
                                  <p:stCondLst>
                                    <p:cond delay="3250"/>
                                  </p:stCondLst>
                                  <p:childTnLst>
                                    <p:set>
                                      <p:cBhvr>
                                        <p:cTn id="153" dur="1" fill="hold">
                                          <p:stCondLst>
                                            <p:cond delay="0"/>
                                          </p:stCondLst>
                                        </p:cTn>
                                        <p:tgtEl>
                                          <p:spTgt spid="53"/>
                                        </p:tgtEl>
                                        <p:attrNameLst>
                                          <p:attrName>style.visibility</p:attrName>
                                        </p:attrNameLst>
                                      </p:cBhvr>
                                      <p:to>
                                        <p:strVal val="visible"/>
                                      </p:to>
                                    </p:set>
                                    <p:anim calcmode="lin" valueType="num">
                                      <p:cBhvr>
                                        <p:cTn id="154" dur="1000" fill="hold"/>
                                        <p:tgtEl>
                                          <p:spTgt spid="53"/>
                                        </p:tgtEl>
                                        <p:attrNameLst>
                                          <p:attrName>ppt_w</p:attrName>
                                        </p:attrNameLst>
                                      </p:cBhvr>
                                      <p:tavLst>
                                        <p:tav tm="0">
                                          <p:val>
                                            <p:strVal val="#ppt_w*0.70"/>
                                          </p:val>
                                        </p:tav>
                                        <p:tav tm="100000">
                                          <p:val>
                                            <p:strVal val="#ppt_w"/>
                                          </p:val>
                                        </p:tav>
                                      </p:tavLst>
                                    </p:anim>
                                    <p:anim calcmode="lin" valueType="num">
                                      <p:cBhvr>
                                        <p:cTn id="155" dur="1000" fill="hold"/>
                                        <p:tgtEl>
                                          <p:spTgt spid="53"/>
                                        </p:tgtEl>
                                        <p:attrNameLst>
                                          <p:attrName>ppt_h</p:attrName>
                                        </p:attrNameLst>
                                      </p:cBhvr>
                                      <p:tavLst>
                                        <p:tav tm="0">
                                          <p:val>
                                            <p:strVal val="#ppt_h"/>
                                          </p:val>
                                        </p:tav>
                                        <p:tav tm="100000">
                                          <p:val>
                                            <p:strVal val="#ppt_h"/>
                                          </p:val>
                                        </p:tav>
                                      </p:tavLst>
                                    </p:anim>
                                    <p:animEffect transition="in" filter="fade">
                                      <p:cBhvr>
                                        <p:cTn id="156" dur="1000"/>
                                        <p:tgtEl>
                                          <p:spTgt spid="53"/>
                                        </p:tgtEl>
                                      </p:cBhvr>
                                    </p:animEffect>
                                  </p:childTnLst>
                                </p:cTn>
                              </p:par>
                              <p:par>
                                <p:cTn id="157" presetID="55" presetClass="entr" presetSubtype="0" fill="hold" grpId="0" nodeType="withEffect">
                                  <p:stCondLst>
                                    <p:cond delay="3250"/>
                                  </p:stCondLst>
                                  <p:childTnLst>
                                    <p:set>
                                      <p:cBhvr>
                                        <p:cTn id="158" dur="1" fill="hold">
                                          <p:stCondLst>
                                            <p:cond delay="0"/>
                                          </p:stCondLst>
                                        </p:cTn>
                                        <p:tgtEl>
                                          <p:spTgt spid="54"/>
                                        </p:tgtEl>
                                        <p:attrNameLst>
                                          <p:attrName>style.visibility</p:attrName>
                                        </p:attrNameLst>
                                      </p:cBhvr>
                                      <p:to>
                                        <p:strVal val="visible"/>
                                      </p:to>
                                    </p:set>
                                    <p:anim calcmode="lin" valueType="num">
                                      <p:cBhvr>
                                        <p:cTn id="159" dur="1000" fill="hold"/>
                                        <p:tgtEl>
                                          <p:spTgt spid="54"/>
                                        </p:tgtEl>
                                        <p:attrNameLst>
                                          <p:attrName>ppt_w</p:attrName>
                                        </p:attrNameLst>
                                      </p:cBhvr>
                                      <p:tavLst>
                                        <p:tav tm="0">
                                          <p:val>
                                            <p:strVal val="#ppt_w*0.70"/>
                                          </p:val>
                                        </p:tav>
                                        <p:tav tm="100000">
                                          <p:val>
                                            <p:strVal val="#ppt_w"/>
                                          </p:val>
                                        </p:tav>
                                      </p:tavLst>
                                    </p:anim>
                                    <p:anim calcmode="lin" valueType="num">
                                      <p:cBhvr>
                                        <p:cTn id="160" dur="1000" fill="hold"/>
                                        <p:tgtEl>
                                          <p:spTgt spid="54"/>
                                        </p:tgtEl>
                                        <p:attrNameLst>
                                          <p:attrName>ppt_h</p:attrName>
                                        </p:attrNameLst>
                                      </p:cBhvr>
                                      <p:tavLst>
                                        <p:tav tm="0">
                                          <p:val>
                                            <p:strVal val="#ppt_h"/>
                                          </p:val>
                                        </p:tav>
                                        <p:tav tm="100000">
                                          <p:val>
                                            <p:strVal val="#ppt_h"/>
                                          </p:val>
                                        </p:tav>
                                      </p:tavLst>
                                    </p:anim>
                                    <p:animEffect transition="in" filter="fade">
                                      <p:cBhvr>
                                        <p:cTn id="161" dur="1000"/>
                                        <p:tgtEl>
                                          <p:spTgt spid="54"/>
                                        </p:tgtEl>
                                      </p:cBhvr>
                                    </p:animEffect>
                                  </p:childTnLst>
                                </p:cTn>
                              </p:par>
                              <p:par>
                                <p:cTn id="162" presetID="55" presetClass="entr" presetSubtype="0" fill="hold" grpId="0" nodeType="withEffect">
                                  <p:stCondLst>
                                    <p:cond delay="3250"/>
                                  </p:stCondLst>
                                  <p:childTnLst>
                                    <p:set>
                                      <p:cBhvr>
                                        <p:cTn id="163" dur="1" fill="hold">
                                          <p:stCondLst>
                                            <p:cond delay="0"/>
                                          </p:stCondLst>
                                        </p:cTn>
                                        <p:tgtEl>
                                          <p:spTgt spid="59"/>
                                        </p:tgtEl>
                                        <p:attrNameLst>
                                          <p:attrName>style.visibility</p:attrName>
                                        </p:attrNameLst>
                                      </p:cBhvr>
                                      <p:to>
                                        <p:strVal val="visible"/>
                                      </p:to>
                                    </p:set>
                                    <p:anim calcmode="lin" valueType="num">
                                      <p:cBhvr>
                                        <p:cTn id="164" dur="1000" fill="hold"/>
                                        <p:tgtEl>
                                          <p:spTgt spid="59"/>
                                        </p:tgtEl>
                                        <p:attrNameLst>
                                          <p:attrName>ppt_w</p:attrName>
                                        </p:attrNameLst>
                                      </p:cBhvr>
                                      <p:tavLst>
                                        <p:tav tm="0">
                                          <p:val>
                                            <p:strVal val="#ppt_w*0.70"/>
                                          </p:val>
                                        </p:tav>
                                        <p:tav tm="100000">
                                          <p:val>
                                            <p:strVal val="#ppt_w"/>
                                          </p:val>
                                        </p:tav>
                                      </p:tavLst>
                                    </p:anim>
                                    <p:anim calcmode="lin" valueType="num">
                                      <p:cBhvr>
                                        <p:cTn id="165" dur="1000" fill="hold"/>
                                        <p:tgtEl>
                                          <p:spTgt spid="59"/>
                                        </p:tgtEl>
                                        <p:attrNameLst>
                                          <p:attrName>ppt_h</p:attrName>
                                        </p:attrNameLst>
                                      </p:cBhvr>
                                      <p:tavLst>
                                        <p:tav tm="0">
                                          <p:val>
                                            <p:strVal val="#ppt_h"/>
                                          </p:val>
                                        </p:tav>
                                        <p:tav tm="100000">
                                          <p:val>
                                            <p:strVal val="#ppt_h"/>
                                          </p:val>
                                        </p:tav>
                                      </p:tavLst>
                                    </p:anim>
                                    <p:animEffect transition="in" filter="fade">
                                      <p:cBhvr>
                                        <p:cTn id="166" dur="1000"/>
                                        <p:tgtEl>
                                          <p:spTgt spid="59"/>
                                        </p:tgtEl>
                                      </p:cBhvr>
                                    </p:animEffect>
                                  </p:childTnLst>
                                </p:cTn>
                              </p:par>
                              <p:par>
                                <p:cTn id="167" presetID="55" presetClass="entr" presetSubtype="0" fill="hold" grpId="0" nodeType="withEffect">
                                  <p:stCondLst>
                                    <p:cond delay="3250"/>
                                  </p:stCondLst>
                                  <p:childTnLst>
                                    <p:set>
                                      <p:cBhvr>
                                        <p:cTn id="168" dur="1" fill="hold">
                                          <p:stCondLst>
                                            <p:cond delay="0"/>
                                          </p:stCondLst>
                                        </p:cTn>
                                        <p:tgtEl>
                                          <p:spTgt spid="60"/>
                                        </p:tgtEl>
                                        <p:attrNameLst>
                                          <p:attrName>style.visibility</p:attrName>
                                        </p:attrNameLst>
                                      </p:cBhvr>
                                      <p:to>
                                        <p:strVal val="visible"/>
                                      </p:to>
                                    </p:set>
                                    <p:anim calcmode="lin" valueType="num">
                                      <p:cBhvr>
                                        <p:cTn id="169" dur="1000" fill="hold"/>
                                        <p:tgtEl>
                                          <p:spTgt spid="60"/>
                                        </p:tgtEl>
                                        <p:attrNameLst>
                                          <p:attrName>ppt_w</p:attrName>
                                        </p:attrNameLst>
                                      </p:cBhvr>
                                      <p:tavLst>
                                        <p:tav tm="0">
                                          <p:val>
                                            <p:strVal val="#ppt_w*0.70"/>
                                          </p:val>
                                        </p:tav>
                                        <p:tav tm="100000">
                                          <p:val>
                                            <p:strVal val="#ppt_w"/>
                                          </p:val>
                                        </p:tav>
                                      </p:tavLst>
                                    </p:anim>
                                    <p:anim calcmode="lin" valueType="num">
                                      <p:cBhvr>
                                        <p:cTn id="170" dur="1000" fill="hold"/>
                                        <p:tgtEl>
                                          <p:spTgt spid="60"/>
                                        </p:tgtEl>
                                        <p:attrNameLst>
                                          <p:attrName>ppt_h</p:attrName>
                                        </p:attrNameLst>
                                      </p:cBhvr>
                                      <p:tavLst>
                                        <p:tav tm="0">
                                          <p:val>
                                            <p:strVal val="#ppt_h"/>
                                          </p:val>
                                        </p:tav>
                                        <p:tav tm="100000">
                                          <p:val>
                                            <p:strVal val="#ppt_h"/>
                                          </p:val>
                                        </p:tav>
                                      </p:tavLst>
                                    </p:anim>
                                    <p:animEffect transition="in" filter="fade">
                                      <p:cBhvr>
                                        <p:cTn id="171" dur="1000"/>
                                        <p:tgtEl>
                                          <p:spTgt spid="60"/>
                                        </p:tgtEl>
                                      </p:cBhvr>
                                    </p:animEffect>
                                  </p:childTnLst>
                                </p:cTn>
                              </p:par>
                              <p:par>
                                <p:cTn id="172" presetID="55" presetClass="entr" presetSubtype="0" fill="hold" grpId="0" nodeType="withEffect">
                                  <p:stCondLst>
                                    <p:cond delay="3250"/>
                                  </p:stCondLst>
                                  <p:childTnLst>
                                    <p:set>
                                      <p:cBhvr>
                                        <p:cTn id="173" dur="1" fill="hold">
                                          <p:stCondLst>
                                            <p:cond delay="0"/>
                                          </p:stCondLst>
                                        </p:cTn>
                                        <p:tgtEl>
                                          <p:spTgt spid="61"/>
                                        </p:tgtEl>
                                        <p:attrNameLst>
                                          <p:attrName>style.visibility</p:attrName>
                                        </p:attrNameLst>
                                      </p:cBhvr>
                                      <p:to>
                                        <p:strVal val="visible"/>
                                      </p:to>
                                    </p:set>
                                    <p:anim calcmode="lin" valueType="num">
                                      <p:cBhvr>
                                        <p:cTn id="174" dur="1000" fill="hold"/>
                                        <p:tgtEl>
                                          <p:spTgt spid="61"/>
                                        </p:tgtEl>
                                        <p:attrNameLst>
                                          <p:attrName>ppt_w</p:attrName>
                                        </p:attrNameLst>
                                      </p:cBhvr>
                                      <p:tavLst>
                                        <p:tav tm="0">
                                          <p:val>
                                            <p:strVal val="#ppt_w*0.70"/>
                                          </p:val>
                                        </p:tav>
                                        <p:tav tm="100000">
                                          <p:val>
                                            <p:strVal val="#ppt_w"/>
                                          </p:val>
                                        </p:tav>
                                      </p:tavLst>
                                    </p:anim>
                                    <p:anim calcmode="lin" valueType="num">
                                      <p:cBhvr>
                                        <p:cTn id="175" dur="1000" fill="hold"/>
                                        <p:tgtEl>
                                          <p:spTgt spid="61"/>
                                        </p:tgtEl>
                                        <p:attrNameLst>
                                          <p:attrName>ppt_h</p:attrName>
                                        </p:attrNameLst>
                                      </p:cBhvr>
                                      <p:tavLst>
                                        <p:tav tm="0">
                                          <p:val>
                                            <p:strVal val="#ppt_h"/>
                                          </p:val>
                                        </p:tav>
                                        <p:tav tm="100000">
                                          <p:val>
                                            <p:strVal val="#ppt_h"/>
                                          </p:val>
                                        </p:tav>
                                      </p:tavLst>
                                    </p:anim>
                                    <p:animEffect transition="in" filter="fade">
                                      <p:cBhvr>
                                        <p:cTn id="176" dur="1000"/>
                                        <p:tgtEl>
                                          <p:spTgt spid="61"/>
                                        </p:tgtEl>
                                      </p:cBhvr>
                                    </p:animEffect>
                                  </p:childTnLst>
                                </p:cTn>
                              </p:par>
                              <p:par>
                                <p:cTn id="177" presetID="55" presetClass="entr" presetSubtype="0" fill="hold" grpId="0" nodeType="withEffect">
                                  <p:stCondLst>
                                    <p:cond delay="3250"/>
                                  </p:stCondLst>
                                  <p:childTnLst>
                                    <p:set>
                                      <p:cBhvr>
                                        <p:cTn id="178" dur="1" fill="hold">
                                          <p:stCondLst>
                                            <p:cond delay="0"/>
                                          </p:stCondLst>
                                        </p:cTn>
                                        <p:tgtEl>
                                          <p:spTgt spid="58"/>
                                        </p:tgtEl>
                                        <p:attrNameLst>
                                          <p:attrName>style.visibility</p:attrName>
                                        </p:attrNameLst>
                                      </p:cBhvr>
                                      <p:to>
                                        <p:strVal val="visible"/>
                                      </p:to>
                                    </p:set>
                                    <p:anim calcmode="lin" valueType="num">
                                      <p:cBhvr>
                                        <p:cTn id="179" dur="1000" fill="hold"/>
                                        <p:tgtEl>
                                          <p:spTgt spid="58"/>
                                        </p:tgtEl>
                                        <p:attrNameLst>
                                          <p:attrName>ppt_w</p:attrName>
                                        </p:attrNameLst>
                                      </p:cBhvr>
                                      <p:tavLst>
                                        <p:tav tm="0">
                                          <p:val>
                                            <p:strVal val="#ppt_w*0.70"/>
                                          </p:val>
                                        </p:tav>
                                        <p:tav tm="100000">
                                          <p:val>
                                            <p:strVal val="#ppt_w"/>
                                          </p:val>
                                        </p:tav>
                                      </p:tavLst>
                                    </p:anim>
                                    <p:anim calcmode="lin" valueType="num">
                                      <p:cBhvr>
                                        <p:cTn id="180" dur="1000" fill="hold"/>
                                        <p:tgtEl>
                                          <p:spTgt spid="58"/>
                                        </p:tgtEl>
                                        <p:attrNameLst>
                                          <p:attrName>ppt_h</p:attrName>
                                        </p:attrNameLst>
                                      </p:cBhvr>
                                      <p:tavLst>
                                        <p:tav tm="0">
                                          <p:val>
                                            <p:strVal val="#ppt_h"/>
                                          </p:val>
                                        </p:tav>
                                        <p:tav tm="100000">
                                          <p:val>
                                            <p:strVal val="#ppt_h"/>
                                          </p:val>
                                        </p:tav>
                                      </p:tavLst>
                                    </p:anim>
                                    <p:animEffect transition="in" filter="fade">
                                      <p:cBhvr>
                                        <p:cTn id="181" dur="1000"/>
                                        <p:tgtEl>
                                          <p:spTgt spid="58"/>
                                        </p:tgtEl>
                                      </p:cBhvr>
                                    </p:animEffect>
                                  </p:childTnLst>
                                </p:cTn>
                              </p:par>
                              <p:par>
                                <p:cTn id="182" presetID="55" presetClass="entr" presetSubtype="0" fill="hold" grpId="0" nodeType="withEffect">
                                  <p:stCondLst>
                                    <p:cond delay="3250"/>
                                  </p:stCondLst>
                                  <p:childTnLst>
                                    <p:set>
                                      <p:cBhvr>
                                        <p:cTn id="183" dur="1" fill="hold">
                                          <p:stCondLst>
                                            <p:cond delay="0"/>
                                          </p:stCondLst>
                                        </p:cTn>
                                        <p:tgtEl>
                                          <p:spTgt spid="57"/>
                                        </p:tgtEl>
                                        <p:attrNameLst>
                                          <p:attrName>style.visibility</p:attrName>
                                        </p:attrNameLst>
                                      </p:cBhvr>
                                      <p:to>
                                        <p:strVal val="visible"/>
                                      </p:to>
                                    </p:set>
                                    <p:anim calcmode="lin" valueType="num">
                                      <p:cBhvr>
                                        <p:cTn id="184" dur="1000" fill="hold"/>
                                        <p:tgtEl>
                                          <p:spTgt spid="57"/>
                                        </p:tgtEl>
                                        <p:attrNameLst>
                                          <p:attrName>ppt_w</p:attrName>
                                        </p:attrNameLst>
                                      </p:cBhvr>
                                      <p:tavLst>
                                        <p:tav tm="0">
                                          <p:val>
                                            <p:strVal val="#ppt_w*0.70"/>
                                          </p:val>
                                        </p:tav>
                                        <p:tav tm="100000">
                                          <p:val>
                                            <p:strVal val="#ppt_w"/>
                                          </p:val>
                                        </p:tav>
                                      </p:tavLst>
                                    </p:anim>
                                    <p:anim calcmode="lin" valueType="num">
                                      <p:cBhvr>
                                        <p:cTn id="185" dur="1000" fill="hold"/>
                                        <p:tgtEl>
                                          <p:spTgt spid="57"/>
                                        </p:tgtEl>
                                        <p:attrNameLst>
                                          <p:attrName>ppt_h</p:attrName>
                                        </p:attrNameLst>
                                      </p:cBhvr>
                                      <p:tavLst>
                                        <p:tav tm="0">
                                          <p:val>
                                            <p:strVal val="#ppt_h"/>
                                          </p:val>
                                        </p:tav>
                                        <p:tav tm="100000">
                                          <p:val>
                                            <p:strVal val="#ppt_h"/>
                                          </p:val>
                                        </p:tav>
                                      </p:tavLst>
                                    </p:anim>
                                    <p:animEffect transition="in" filter="fade">
                                      <p:cBhvr>
                                        <p:cTn id="186" dur="1000"/>
                                        <p:tgtEl>
                                          <p:spTgt spid="57"/>
                                        </p:tgtEl>
                                      </p:cBhvr>
                                    </p:animEffect>
                                  </p:childTnLst>
                                </p:cTn>
                              </p:par>
                              <p:par>
                                <p:cTn id="187" presetID="55" presetClass="entr" presetSubtype="0" fill="hold" grpId="0" nodeType="withEffect">
                                  <p:stCondLst>
                                    <p:cond delay="3250"/>
                                  </p:stCondLst>
                                  <p:childTnLst>
                                    <p:set>
                                      <p:cBhvr>
                                        <p:cTn id="188" dur="1" fill="hold">
                                          <p:stCondLst>
                                            <p:cond delay="0"/>
                                          </p:stCondLst>
                                        </p:cTn>
                                        <p:tgtEl>
                                          <p:spTgt spid="56"/>
                                        </p:tgtEl>
                                        <p:attrNameLst>
                                          <p:attrName>style.visibility</p:attrName>
                                        </p:attrNameLst>
                                      </p:cBhvr>
                                      <p:to>
                                        <p:strVal val="visible"/>
                                      </p:to>
                                    </p:set>
                                    <p:anim calcmode="lin" valueType="num">
                                      <p:cBhvr>
                                        <p:cTn id="189" dur="1000" fill="hold"/>
                                        <p:tgtEl>
                                          <p:spTgt spid="56"/>
                                        </p:tgtEl>
                                        <p:attrNameLst>
                                          <p:attrName>ppt_w</p:attrName>
                                        </p:attrNameLst>
                                      </p:cBhvr>
                                      <p:tavLst>
                                        <p:tav tm="0">
                                          <p:val>
                                            <p:strVal val="#ppt_w*0.70"/>
                                          </p:val>
                                        </p:tav>
                                        <p:tav tm="100000">
                                          <p:val>
                                            <p:strVal val="#ppt_w"/>
                                          </p:val>
                                        </p:tav>
                                      </p:tavLst>
                                    </p:anim>
                                    <p:anim calcmode="lin" valueType="num">
                                      <p:cBhvr>
                                        <p:cTn id="190" dur="1000" fill="hold"/>
                                        <p:tgtEl>
                                          <p:spTgt spid="56"/>
                                        </p:tgtEl>
                                        <p:attrNameLst>
                                          <p:attrName>ppt_h</p:attrName>
                                        </p:attrNameLst>
                                      </p:cBhvr>
                                      <p:tavLst>
                                        <p:tav tm="0">
                                          <p:val>
                                            <p:strVal val="#ppt_h"/>
                                          </p:val>
                                        </p:tav>
                                        <p:tav tm="100000">
                                          <p:val>
                                            <p:strVal val="#ppt_h"/>
                                          </p:val>
                                        </p:tav>
                                      </p:tavLst>
                                    </p:anim>
                                    <p:animEffect transition="in" filter="fade">
                                      <p:cBhvr>
                                        <p:cTn id="191" dur="1000"/>
                                        <p:tgtEl>
                                          <p:spTgt spid="56"/>
                                        </p:tgtEl>
                                      </p:cBhvr>
                                    </p:animEffect>
                                  </p:childTnLst>
                                </p:cTn>
                              </p:par>
                              <p:par>
                                <p:cTn id="192" presetID="55" presetClass="entr" presetSubtype="0" fill="hold" grpId="0" nodeType="withEffect">
                                  <p:stCondLst>
                                    <p:cond delay="3250"/>
                                  </p:stCondLst>
                                  <p:childTnLst>
                                    <p:set>
                                      <p:cBhvr>
                                        <p:cTn id="193" dur="1" fill="hold">
                                          <p:stCondLst>
                                            <p:cond delay="0"/>
                                          </p:stCondLst>
                                        </p:cTn>
                                        <p:tgtEl>
                                          <p:spTgt spid="55"/>
                                        </p:tgtEl>
                                        <p:attrNameLst>
                                          <p:attrName>style.visibility</p:attrName>
                                        </p:attrNameLst>
                                      </p:cBhvr>
                                      <p:to>
                                        <p:strVal val="visible"/>
                                      </p:to>
                                    </p:set>
                                    <p:anim calcmode="lin" valueType="num">
                                      <p:cBhvr>
                                        <p:cTn id="194" dur="1000" fill="hold"/>
                                        <p:tgtEl>
                                          <p:spTgt spid="55"/>
                                        </p:tgtEl>
                                        <p:attrNameLst>
                                          <p:attrName>ppt_w</p:attrName>
                                        </p:attrNameLst>
                                      </p:cBhvr>
                                      <p:tavLst>
                                        <p:tav tm="0">
                                          <p:val>
                                            <p:strVal val="#ppt_w*0.70"/>
                                          </p:val>
                                        </p:tav>
                                        <p:tav tm="100000">
                                          <p:val>
                                            <p:strVal val="#ppt_w"/>
                                          </p:val>
                                        </p:tav>
                                      </p:tavLst>
                                    </p:anim>
                                    <p:anim calcmode="lin" valueType="num">
                                      <p:cBhvr>
                                        <p:cTn id="195" dur="1000" fill="hold"/>
                                        <p:tgtEl>
                                          <p:spTgt spid="55"/>
                                        </p:tgtEl>
                                        <p:attrNameLst>
                                          <p:attrName>ppt_h</p:attrName>
                                        </p:attrNameLst>
                                      </p:cBhvr>
                                      <p:tavLst>
                                        <p:tav tm="0">
                                          <p:val>
                                            <p:strVal val="#ppt_h"/>
                                          </p:val>
                                        </p:tav>
                                        <p:tav tm="100000">
                                          <p:val>
                                            <p:strVal val="#ppt_h"/>
                                          </p:val>
                                        </p:tav>
                                      </p:tavLst>
                                    </p:anim>
                                    <p:animEffect transition="in" filter="fade">
                                      <p:cBhvr>
                                        <p:cTn id="196" dur="1000"/>
                                        <p:tgtEl>
                                          <p:spTgt spid="55"/>
                                        </p:tgtEl>
                                      </p:cBhvr>
                                    </p:animEffect>
                                  </p:childTnLst>
                                </p:cTn>
                              </p:par>
                              <p:par>
                                <p:cTn id="197" presetID="55" presetClass="entr" presetSubtype="0" fill="hold" grpId="0" nodeType="withEffect">
                                  <p:stCondLst>
                                    <p:cond delay="4000"/>
                                  </p:stCondLst>
                                  <p:childTnLst>
                                    <p:set>
                                      <p:cBhvr>
                                        <p:cTn id="198" dur="1" fill="hold">
                                          <p:stCondLst>
                                            <p:cond delay="0"/>
                                          </p:stCondLst>
                                        </p:cTn>
                                        <p:tgtEl>
                                          <p:spTgt spid="63"/>
                                        </p:tgtEl>
                                        <p:attrNameLst>
                                          <p:attrName>style.visibility</p:attrName>
                                        </p:attrNameLst>
                                      </p:cBhvr>
                                      <p:to>
                                        <p:strVal val="visible"/>
                                      </p:to>
                                    </p:set>
                                    <p:anim calcmode="lin" valueType="num">
                                      <p:cBhvr>
                                        <p:cTn id="199" dur="1000" fill="hold"/>
                                        <p:tgtEl>
                                          <p:spTgt spid="63"/>
                                        </p:tgtEl>
                                        <p:attrNameLst>
                                          <p:attrName>ppt_w</p:attrName>
                                        </p:attrNameLst>
                                      </p:cBhvr>
                                      <p:tavLst>
                                        <p:tav tm="0">
                                          <p:val>
                                            <p:strVal val="#ppt_w*0.70"/>
                                          </p:val>
                                        </p:tav>
                                        <p:tav tm="100000">
                                          <p:val>
                                            <p:strVal val="#ppt_w"/>
                                          </p:val>
                                        </p:tav>
                                      </p:tavLst>
                                    </p:anim>
                                    <p:anim calcmode="lin" valueType="num">
                                      <p:cBhvr>
                                        <p:cTn id="200" dur="1000" fill="hold"/>
                                        <p:tgtEl>
                                          <p:spTgt spid="63"/>
                                        </p:tgtEl>
                                        <p:attrNameLst>
                                          <p:attrName>ppt_h</p:attrName>
                                        </p:attrNameLst>
                                      </p:cBhvr>
                                      <p:tavLst>
                                        <p:tav tm="0">
                                          <p:val>
                                            <p:strVal val="#ppt_h"/>
                                          </p:val>
                                        </p:tav>
                                        <p:tav tm="100000">
                                          <p:val>
                                            <p:strVal val="#ppt_h"/>
                                          </p:val>
                                        </p:tav>
                                      </p:tavLst>
                                    </p:anim>
                                    <p:animEffect transition="in" filter="fade">
                                      <p:cBhvr>
                                        <p:cTn id="201" dur="1000"/>
                                        <p:tgtEl>
                                          <p:spTgt spid="63"/>
                                        </p:tgtEl>
                                      </p:cBhvr>
                                    </p:animEffect>
                                  </p:childTnLst>
                                </p:cTn>
                              </p:par>
                              <p:par>
                                <p:cTn id="202" presetID="55" presetClass="entr" presetSubtype="0" fill="hold" grpId="0" nodeType="withEffect">
                                  <p:stCondLst>
                                    <p:cond delay="4000"/>
                                  </p:stCondLst>
                                  <p:childTnLst>
                                    <p:set>
                                      <p:cBhvr>
                                        <p:cTn id="203" dur="1" fill="hold">
                                          <p:stCondLst>
                                            <p:cond delay="0"/>
                                          </p:stCondLst>
                                        </p:cTn>
                                        <p:tgtEl>
                                          <p:spTgt spid="62"/>
                                        </p:tgtEl>
                                        <p:attrNameLst>
                                          <p:attrName>style.visibility</p:attrName>
                                        </p:attrNameLst>
                                      </p:cBhvr>
                                      <p:to>
                                        <p:strVal val="visible"/>
                                      </p:to>
                                    </p:set>
                                    <p:anim calcmode="lin" valueType="num">
                                      <p:cBhvr>
                                        <p:cTn id="204" dur="1000" fill="hold"/>
                                        <p:tgtEl>
                                          <p:spTgt spid="62"/>
                                        </p:tgtEl>
                                        <p:attrNameLst>
                                          <p:attrName>ppt_w</p:attrName>
                                        </p:attrNameLst>
                                      </p:cBhvr>
                                      <p:tavLst>
                                        <p:tav tm="0">
                                          <p:val>
                                            <p:strVal val="#ppt_w*0.70"/>
                                          </p:val>
                                        </p:tav>
                                        <p:tav tm="100000">
                                          <p:val>
                                            <p:strVal val="#ppt_w"/>
                                          </p:val>
                                        </p:tav>
                                      </p:tavLst>
                                    </p:anim>
                                    <p:anim calcmode="lin" valueType="num">
                                      <p:cBhvr>
                                        <p:cTn id="205" dur="1000" fill="hold"/>
                                        <p:tgtEl>
                                          <p:spTgt spid="62"/>
                                        </p:tgtEl>
                                        <p:attrNameLst>
                                          <p:attrName>ppt_h</p:attrName>
                                        </p:attrNameLst>
                                      </p:cBhvr>
                                      <p:tavLst>
                                        <p:tav tm="0">
                                          <p:val>
                                            <p:strVal val="#ppt_h"/>
                                          </p:val>
                                        </p:tav>
                                        <p:tav tm="100000">
                                          <p:val>
                                            <p:strVal val="#ppt_h"/>
                                          </p:val>
                                        </p:tav>
                                      </p:tavLst>
                                    </p:anim>
                                    <p:animEffect transition="in" filter="fade">
                                      <p:cBhvr>
                                        <p:cTn id="206" dur="10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39" grpId="0" animBg="1"/>
      <p:bldP spid="38" grpId="0" animBg="1"/>
      <p:bldP spid="15" grpId="0" animBg="1"/>
      <p:bldP spid="16" grpId="0" animBg="1"/>
      <p:bldP spid="17" grpId="0" animBg="1"/>
      <p:bldP spid="19"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P spid="58" grpId="0" animBg="1"/>
      <p:bldP spid="59" grpId="0" animBg="1"/>
      <p:bldP spid="60" grpId="0" animBg="1"/>
      <p:bldP spid="61" grpId="0" animBg="1"/>
      <p:bldP spid="62" grpId="0" animBg="1"/>
      <p:bldP spid="63" grpId="0" animBg="1"/>
      <p:bldP spid="15360" grpId="0"/>
      <p:bldP spid="66" grpId="0"/>
      <p:bldP spid="67" grpId="0"/>
      <p:bldP spid="15361" grpId="0" animBg="1"/>
      <p:bldP spid="69" grpId="0" animBg="1"/>
      <p:bldP spid="7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2F296281-AE1A-43D9-B89E-0B0F5B7C6488}"/>
              </a:ext>
            </a:extLst>
          </p:cNvPr>
          <p:cNvGrpSpPr/>
          <p:nvPr/>
        </p:nvGrpSpPr>
        <p:grpSpPr>
          <a:xfrm>
            <a:off x="2587477" y="133350"/>
            <a:ext cx="7017048" cy="6591300"/>
            <a:chOff x="2587477" y="133350"/>
            <a:chExt cx="7017048" cy="6591300"/>
          </a:xfrm>
        </p:grpSpPr>
        <p:grpSp>
          <p:nvGrpSpPr>
            <p:cNvPr id="6" name="Group 5">
              <a:extLst>
                <a:ext uri="{FF2B5EF4-FFF2-40B4-BE49-F238E27FC236}">
                  <a16:creationId xmlns:a16="http://schemas.microsoft.com/office/drawing/2014/main" id="{0328E846-572F-46E6-921D-34D9AFB71897}"/>
                </a:ext>
              </a:extLst>
            </p:cNvPr>
            <p:cNvGrpSpPr/>
            <p:nvPr/>
          </p:nvGrpSpPr>
          <p:grpSpPr>
            <a:xfrm>
              <a:off x="2587477" y="133350"/>
              <a:ext cx="7017048" cy="6591300"/>
              <a:chOff x="4371254" y="1394248"/>
              <a:chExt cx="3759931" cy="3531804"/>
            </a:xfrm>
          </p:grpSpPr>
          <p:sp>
            <p:nvSpPr>
              <p:cNvPr id="5" name="Freeform: Shape 4">
                <a:extLst>
                  <a:ext uri="{FF2B5EF4-FFF2-40B4-BE49-F238E27FC236}">
                    <a16:creationId xmlns:a16="http://schemas.microsoft.com/office/drawing/2014/main" id="{F41E37C4-45ED-4ECB-B3A5-F9848783ADF8}"/>
                  </a:ext>
                </a:extLst>
              </p:cNvPr>
              <p:cNvSpPr/>
              <p:nvPr/>
            </p:nvSpPr>
            <p:spPr>
              <a:xfrm>
                <a:off x="5065197" y="1394248"/>
                <a:ext cx="2372045" cy="2372043"/>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adFill>
                <a:gsLst>
                  <a:gs pos="0">
                    <a:schemeClr val="accent1"/>
                  </a:gs>
                  <a:gs pos="100000">
                    <a:schemeClr val="accent1">
                      <a:alpha val="25000"/>
                    </a:schemeClr>
                  </a:gs>
                </a:gsLst>
                <a:lin ang="5400000" scaled="0"/>
              </a:gradFill>
              <a:ln w="25400" cap="flat">
                <a:noFill/>
                <a:prstDash val="solid"/>
                <a:round/>
              </a:ln>
            </p:spPr>
            <p:txBody>
              <a:bodyPr wrap="square" rtlCol="0" anchor="ctr">
                <a:noAutofit/>
              </a:bodyPr>
              <a:lstStyle/>
              <a:p>
                <a:endParaRPr lang="en-US"/>
              </a:p>
            </p:txBody>
          </p:sp>
          <p:sp>
            <p:nvSpPr>
              <p:cNvPr id="3" name="Freeform: Shape 2">
                <a:extLst>
                  <a:ext uri="{FF2B5EF4-FFF2-40B4-BE49-F238E27FC236}">
                    <a16:creationId xmlns:a16="http://schemas.microsoft.com/office/drawing/2014/main" id="{980C662A-FCEE-4A2D-9CB9-EF1C0EB68F7F}"/>
                  </a:ext>
                </a:extLst>
              </p:cNvPr>
              <p:cNvSpPr/>
              <p:nvPr/>
            </p:nvSpPr>
            <p:spPr>
              <a:xfrm flipH="1">
                <a:off x="4371254" y="2554009"/>
                <a:ext cx="2372045" cy="2372043"/>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adFill>
                <a:gsLst>
                  <a:gs pos="100000">
                    <a:schemeClr val="accent3"/>
                  </a:gs>
                  <a:gs pos="0">
                    <a:schemeClr val="accent3">
                      <a:alpha val="25000"/>
                    </a:schemeClr>
                  </a:gs>
                </a:gsLst>
                <a:lin ang="2700000" scaled="0"/>
              </a:gradFill>
              <a:ln w="25400" cap="flat">
                <a:noFill/>
                <a:prstDash val="solid"/>
                <a:round/>
              </a:ln>
            </p:spPr>
            <p:txBody>
              <a:bodyPr wrap="square" rtlCol="0" anchor="ctr">
                <a:noAutofit/>
              </a:bodyPr>
              <a:lstStyle/>
              <a:p>
                <a:endParaRPr lang="en-US"/>
              </a:p>
            </p:txBody>
          </p:sp>
          <p:sp>
            <p:nvSpPr>
              <p:cNvPr id="4" name="Freeform: Shape 3">
                <a:extLst>
                  <a:ext uri="{FF2B5EF4-FFF2-40B4-BE49-F238E27FC236}">
                    <a16:creationId xmlns:a16="http://schemas.microsoft.com/office/drawing/2014/main" id="{18EE6593-9FA8-4F7E-BDFF-CFED7AD85D10}"/>
                  </a:ext>
                </a:extLst>
              </p:cNvPr>
              <p:cNvSpPr/>
              <p:nvPr/>
            </p:nvSpPr>
            <p:spPr>
              <a:xfrm>
                <a:off x="5759140" y="2554009"/>
                <a:ext cx="2372045" cy="2372043"/>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adFill>
                <a:gsLst>
                  <a:gs pos="100000">
                    <a:schemeClr val="accent4"/>
                  </a:gs>
                  <a:gs pos="0">
                    <a:schemeClr val="accent4">
                      <a:alpha val="25000"/>
                    </a:schemeClr>
                  </a:gs>
                </a:gsLst>
                <a:lin ang="2700000" scaled="1"/>
              </a:gradFill>
              <a:ln w="25400" cap="flat">
                <a:noFill/>
                <a:prstDash val="solid"/>
                <a:round/>
              </a:ln>
            </p:spPr>
            <p:txBody>
              <a:bodyPr wrap="square" rtlCol="0" anchor="ctr">
                <a:noAutofit/>
              </a:bodyPr>
              <a:lstStyle/>
              <a:p>
                <a:endParaRPr lang="en-US"/>
              </a:p>
            </p:txBody>
          </p:sp>
        </p:grpSp>
        <p:sp>
          <p:nvSpPr>
            <p:cNvPr id="7" name="TextBox 6">
              <a:extLst>
                <a:ext uri="{FF2B5EF4-FFF2-40B4-BE49-F238E27FC236}">
                  <a16:creationId xmlns:a16="http://schemas.microsoft.com/office/drawing/2014/main" id="{19429816-1D42-40A5-8A9D-D1B04551FFFF}"/>
                </a:ext>
              </a:extLst>
            </p:cNvPr>
            <p:cNvSpPr txBox="1"/>
            <p:nvPr/>
          </p:nvSpPr>
          <p:spPr>
            <a:xfrm>
              <a:off x="5610070" y="1655231"/>
              <a:ext cx="1588897" cy="246221"/>
            </a:xfrm>
            <a:prstGeom prst="rect">
              <a:avLst/>
            </a:prstGeom>
            <a:noFill/>
          </p:spPr>
          <p:txBody>
            <a:bodyPr wrap="none" rtlCol="0">
              <a:spAutoFit/>
            </a:bodyPr>
            <a:lstStyle/>
            <a:p>
              <a:pPr algn="ctr"/>
              <a:r>
                <a:rPr lang="en-US" sz="1000" dirty="0">
                  <a:solidFill>
                    <a:schemeClr val="bg1"/>
                  </a:solidFill>
                  <a:latin typeface="Montserrat" panose="00000500000000000000" pitchFamily="50" charset="0"/>
                </a:rPr>
                <a:t>Sound Scientific Basis</a:t>
              </a:r>
            </a:p>
          </p:txBody>
        </p:sp>
        <p:sp>
          <p:nvSpPr>
            <p:cNvPr id="13" name="TextBox 12">
              <a:extLst>
                <a:ext uri="{FF2B5EF4-FFF2-40B4-BE49-F238E27FC236}">
                  <a16:creationId xmlns:a16="http://schemas.microsoft.com/office/drawing/2014/main" id="{3F323370-3E66-43AA-A192-6F1E106565B2}"/>
                </a:ext>
              </a:extLst>
            </p:cNvPr>
            <p:cNvSpPr txBox="1"/>
            <p:nvPr/>
          </p:nvSpPr>
          <p:spPr>
            <a:xfrm>
              <a:off x="6854095" y="962086"/>
              <a:ext cx="853119" cy="246221"/>
            </a:xfrm>
            <a:prstGeom prst="rect">
              <a:avLst/>
            </a:prstGeom>
            <a:noFill/>
          </p:spPr>
          <p:txBody>
            <a:bodyPr wrap="none" rtlCol="0">
              <a:spAutoFit/>
            </a:bodyPr>
            <a:lstStyle/>
            <a:p>
              <a:pPr algn="ctr"/>
              <a:r>
                <a:rPr lang="en-US" sz="1000" dirty="0">
                  <a:solidFill>
                    <a:schemeClr val="bg1"/>
                  </a:solidFill>
                  <a:latin typeface="Montserrat" panose="00000500000000000000" pitchFamily="50" charset="0"/>
                </a:rPr>
                <a:t>Innovative</a:t>
              </a:r>
            </a:p>
          </p:txBody>
        </p:sp>
        <p:sp>
          <p:nvSpPr>
            <p:cNvPr id="14" name="TextBox 13">
              <a:extLst>
                <a:ext uri="{FF2B5EF4-FFF2-40B4-BE49-F238E27FC236}">
                  <a16:creationId xmlns:a16="http://schemas.microsoft.com/office/drawing/2014/main" id="{418E2DE5-6A36-4BEB-BA7E-0D9BEEBFA561}"/>
                </a:ext>
              </a:extLst>
            </p:cNvPr>
            <p:cNvSpPr txBox="1"/>
            <p:nvPr/>
          </p:nvSpPr>
          <p:spPr>
            <a:xfrm>
              <a:off x="5237306" y="393818"/>
              <a:ext cx="1717383" cy="553998"/>
            </a:xfrm>
            <a:prstGeom prst="rect">
              <a:avLst/>
            </a:prstGeom>
            <a:noFill/>
          </p:spPr>
          <p:txBody>
            <a:bodyPr wrap="square" rtlCol="0">
              <a:spAutoFit/>
            </a:bodyPr>
            <a:lstStyle/>
            <a:p>
              <a:pPr algn="ctr"/>
              <a:r>
                <a:rPr lang="en-US" sz="1000" dirty="0">
                  <a:solidFill>
                    <a:schemeClr val="bg1"/>
                  </a:solidFill>
                  <a:latin typeface="Montserrat" panose="00000500000000000000" pitchFamily="50" charset="0"/>
                </a:rPr>
                <a:t>Statistical significance of improvements beyond state-of-the-art</a:t>
              </a:r>
            </a:p>
          </p:txBody>
        </p:sp>
        <p:sp>
          <p:nvSpPr>
            <p:cNvPr id="15" name="TextBox 14">
              <a:extLst>
                <a:ext uri="{FF2B5EF4-FFF2-40B4-BE49-F238E27FC236}">
                  <a16:creationId xmlns:a16="http://schemas.microsoft.com/office/drawing/2014/main" id="{ACF19AA2-752C-4910-9153-C9DC0F3173ED}"/>
                </a:ext>
              </a:extLst>
            </p:cNvPr>
            <p:cNvSpPr txBox="1"/>
            <p:nvPr/>
          </p:nvSpPr>
          <p:spPr>
            <a:xfrm>
              <a:off x="5237307" y="1953149"/>
              <a:ext cx="1717383" cy="353943"/>
            </a:xfrm>
            <a:prstGeom prst="rect">
              <a:avLst/>
            </a:prstGeom>
            <a:noFill/>
          </p:spPr>
          <p:txBody>
            <a:bodyPr wrap="square" rtlCol="0">
              <a:spAutoFit/>
            </a:bodyPr>
            <a:lstStyle/>
            <a:p>
              <a:pPr algn="ctr"/>
              <a:r>
                <a:rPr lang="en-US" sz="1700" b="1" dirty="0">
                  <a:solidFill>
                    <a:schemeClr val="bg1"/>
                  </a:solidFill>
                  <a:latin typeface="Montserrat" panose="00000500000000000000" pitchFamily="50" charset="0"/>
                </a:rPr>
                <a:t>SCIENTIFIC</a:t>
              </a:r>
            </a:p>
          </p:txBody>
        </p:sp>
        <p:sp>
          <p:nvSpPr>
            <p:cNvPr id="16" name="TextBox 15">
              <a:extLst>
                <a:ext uri="{FF2B5EF4-FFF2-40B4-BE49-F238E27FC236}">
                  <a16:creationId xmlns:a16="http://schemas.microsoft.com/office/drawing/2014/main" id="{7831386F-5016-4DAC-B48C-46F978927119}"/>
                </a:ext>
              </a:extLst>
            </p:cNvPr>
            <p:cNvSpPr txBox="1"/>
            <p:nvPr/>
          </p:nvSpPr>
          <p:spPr>
            <a:xfrm rot="18113653">
              <a:off x="6699944" y="4488026"/>
              <a:ext cx="1717383" cy="353943"/>
            </a:xfrm>
            <a:prstGeom prst="rect">
              <a:avLst/>
            </a:prstGeom>
            <a:noFill/>
          </p:spPr>
          <p:txBody>
            <a:bodyPr wrap="square" rtlCol="0">
              <a:spAutoFit/>
            </a:bodyPr>
            <a:lstStyle/>
            <a:p>
              <a:pPr algn="ctr"/>
              <a:r>
                <a:rPr lang="en-US" sz="1700" b="1" dirty="0">
                  <a:solidFill>
                    <a:schemeClr val="bg1"/>
                  </a:solidFill>
                  <a:latin typeface="Montserrat" panose="00000500000000000000" pitchFamily="50" charset="0"/>
                </a:rPr>
                <a:t>FUNCTIONAL</a:t>
              </a:r>
            </a:p>
          </p:txBody>
        </p:sp>
        <p:sp>
          <p:nvSpPr>
            <p:cNvPr id="17" name="TextBox 16">
              <a:extLst>
                <a:ext uri="{FF2B5EF4-FFF2-40B4-BE49-F238E27FC236}">
                  <a16:creationId xmlns:a16="http://schemas.microsoft.com/office/drawing/2014/main" id="{10A784C2-20C2-4318-A4BC-DA58A12C6A9B}"/>
                </a:ext>
              </a:extLst>
            </p:cNvPr>
            <p:cNvSpPr txBox="1"/>
            <p:nvPr/>
          </p:nvSpPr>
          <p:spPr>
            <a:xfrm rot="3486347" flipH="1">
              <a:off x="3774670" y="4488026"/>
              <a:ext cx="1717383" cy="353943"/>
            </a:xfrm>
            <a:prstGeom prst="rect">
              <a:avLst/>
            </a:prstGeom>
            <a:noFill/>
          </p:spPr>
          <p:txBody>
            <a:bodyPr wrap="square" rtlCol="0">
              <a:spAutoFit/>
            </a:bodyPr>
            <a:lstStyle/>
            <a:p>
              <a:pPr algn="ctr"/>
              <a:r>
                <a:rPr lang="en-US" sz="1700" b="1" dirty="0">
                  <a:solidFill>
                    <a:schemeClr val="bg1"/>
                  </a:solidFill>
                  <a:latin typeface="Montserrat" panose="00000500000000000000" pitchFamily="50" charset="0"/>
                </a:rPr>
                <a:t>TECHNICAL</a:t>
              </a:r>
            </a:p>
          </p:txBody>
        </p:sp>
        <p:grpSp>
          <p:nvGrpSpPr>
            <p:cNvPr id="30" name="Group 29">
              <a:extLst>
                <a:ext uri="{FF2B5EF4-FFF2-40B4-BE49-F238E27FC236}">
                  <a16:creationId xmlns:a16="http://schemas.microsoft.com/office/drawing/2014/main" id="{7E36F2D8-323E-4C82-AC3B-9E9311AE2B40}"/>
                </a:ext>
              </a:extLst>
            </p:cNvPr>
            <p:cNvGrpSpPr/>
            <p:nvPr/>
          </p:nvGrpSpPr>
          <p:grpSpPr>
            <a:xfrm>
              <a:off x="3890070" y="2297777"/>
              <a:ext cx="4411863" cy="4005830"/>
              <a:chOff x="3890070" y="2297777"/>
              <a:chExt cx="4411863" cy="4005830"/>
            </a:xfrm>
            <a:solidFill>
              <a:schemeClr val="bg1"/>
            </a:solidFill>
          </p:grpSpPr>
          <p:sp>
            <p:nvSpPr>
              <p:cNvPr id="28" name="Freeform: Shape 27">
                <a:extLst>
                  <a:ext uri="{FF2B5EF4-FFF2-40B4-BE49-F238E27FC236}">
                    <a16:creationId xmlns:a16="http://schemas.microsoft.com/office/drawing/2014/main" id="{29B96EAC-890A-4D94-9A92-178C39E16768}"/>
                  </a:ext>
                </a:extLst>
              </p:cNvPr>
              <p:cNvSpPr/>
              <p:nvPr/>
            </p:nvSpPr>
            <p:spPr>
              <a:xfrm>
                <a:off x="3890070" y="2297777"/>
                <a:ext cx="2205932" cy="2064765"/>
              </a:xfrm>
              <a:custGeom>
                <a:avLst/>
                <a:gdLst>
                  <a:gd name="connsiteX0" fmla="*/ 910842 w 2205932"/>
                  <a:gd name="connsiteY0" fmla="*/ 0 h 2064765"/>
                  <a:gd name="connsiteX1" fmla="*/ 2148399 w 2205932"/>
                  <a:gd name="connsiteY1" fmla="*/ 378021 h 2064765"/>
                  <a:gd name="connsiteX2" fmla="*/ 2205932 w 2205932"/>
                  <a:gd name="connsiteY2" fmla="*/ 421044 h 2064765"/>
                  <a:gd name="connsiteX3" fmla="*/ 2093067 w 2205932"/>
                  <a:gd name="connsiteY3" fmla="*/ 505443 h 2064765"/>
                  <a:gd name="connsiteX4" fmla="*/ 1299007 w 2205932"/>
                  <a:gd name="connsiteY4" fmla="*/ 1987130 h 2064765"/>
                  <a:gd name="connsiteX5" fmla="*/ 1295087 w 2205932"/>
                  <a:gd name="connsiteY5" fmla="*/ 2064765 h 2064765"/>
                  <a:gd name="connsiteX6" fmla="*/ 1150878 w 2205932"/>
                  <a:gd name="connsiteY6" fmla="*/ 1995296 h 2064765"/>
                  <a:gd name="connsiteX7" fmla="*/ 3921 w 2205932"/>
                  <a:gd name="connsiteY7" fmla="*/ 275324 h 2064765"/>
                  <a:gd name="connsiteX8" fmla="*/ 0 w 2205932"/>
                  <a:gd name="connsiteY8" fmla="*/ 197681 h 2064765"/>
                  <a:gd name="connsiteX9" fmla="*/ 49276 w 2205932"/>
                  <a:gd name="connsiteY9" fmla="*/ 173943 h 2064765"/>
                  <a:gd name="connsiteX10" fmla="*/ 910842 w 2205932"/>
                  <a:gd name="connsiteY10" fmla="*/ 0 h 206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05932" h="2064765">
                    <a:moveTo>
                      <a:pt x="910842" y="0"/>
                    </a:moveTo>
                    <a:cubicBezTo>
                      <a:pt x="1369261" y="0"/>
                      <a:pt x="1795131" y="139358"/>
                      <a:pt x="2148399" y="378021"/>
                    </a:cubicBezTo>
                    <a:lnTo>
                      <a:pt x="2205932" y="421044"/>
                    </a:lnTo>
                    <a:lnTo>
                      <a:pt x="2093067" y="505443"/>
                    </a:lnTo>
                    <a:cubicBezTo>
                      <a:pt x="1655794" y="866312"/>
                      <a:pt x="1359460" y="1391855"/>
                      <a:pt x="1299007" y="1987130"/>
                    </a:cubicBezTo>
                    <a:lnTo>
                      <a:pt x="1295087" y="2064765"/>
                    </a:lnTo>
                    <a:lnTo>
                      <a:pt x="1150878" y="1995296"/>
                    </a:lnTo>
                    <a:cubicBezTo>
                      <a:pt x="523618" y="1654549"/>
                      <a:pt x="79488" y="1019413"/>
                      <a:pt x="3921" y="275324"/>
                    </a:cubicBezTo>
                    <a:lnTo>
                      <a:pt x="0" y="197681"/>
                    </a:lnTo>
                    <a:lnTo>
                      <a:pt x="49276" y="173943"/>
                    </a:lnTo>
                    <a:cubicBezTo>
                      <a:pt x="314087" y="61937"/>
                      <a:pt x="605232" y="0"/>
                      <a:pt x="910842" y="0"/>
                    </a:cubicBezTo>
                    <a:close/>
                  </a:path>
                </a:pathLst>
              </a:custGeom>
              <a:grpFill/>
              <a:ln w="25400" cap="flat">
                <a:noFill/>
                <a:prstDash val="solid"/>
                <a:round/>
              </a:ln>
            </p:spPr>
            <p:txBody>
              <a:bodyPr wrap="square" rtlCol="0" anchor="ctr">
                <a:noAutofit/>
              </a:bodyPr>
              <a:lstStyle/>
              <a:p>
                <a:endParaRPr lang="en-US"/>
              </a:p>
            </p:txBody>
          </p:sp>
          <p:sp>
            <p:nvSpPr>
              <p:cNvPr id="27" name="Freeform: Shape 26">
                <a:extLst>
                  <a:ext uri="{FF2B5EF4-FFF2-40B4-BE49-F238E27FC236}">
                    <a16:creationId xmlns:a16="http://schemas.microsoft.com/office/drawing/2014/main" id="{FB61182A-CEC7-4A11-940A-A165FFD31B66}"/>
                  </a:ext>
                </a:extLst>
              </p:cNvPr>
              <p:cNvSpPr/>
              <p:nvPr/>
            </p:nvSpPr>
            <p:spPr>
              <a:xfrm>
                <a:off x="6096002" y="2297777"/>
                <a:ext cx="2205931" cy="2064766"/>
              </a:xfrm>
              <a:custGeom>
                <a:avLst/>
                <a:gdLst>
                  <a:gd name="connsiteX0" fmla="*/ 1295090 w 2205931"/>
                  <a:gd name="connsiteY0" fmla="*/ 0 h 2064766"/>
                  <a:gd name="connsiteX1" fmla="*/ 2156656 w 2205931"/>
                  <a:gd name="connsiteY1" fmla="*/ 173943 h 2064766"/>
                  <a:gd name="connsiteX2" fmla="*/ 2205931 w 2205931"/>
                  <a:gd name="connsiteY2" fmla="*/ 197680 h 2064766"/>
                  <a:gd name="connsiteX3" fmla="*/ 2202010 w 2205931"/>
                  <a:gd name="connsiteY3" fmla="*/ 275324 h 2064766"/>
                  <a:gd name="connsiteX4" fmla="*/ 1055056 w 2205931"/>
                  <a:gd name="connsiteY4" fmla="*/ 1995296 h 2064766"/>
                  <a:gd name="connsiteX5" fmla="*/ 910845 w 2205931"/>
                  <a:gd name="connsiteY5" fmla="*/ 2064766 h 2064766"/>
                  <a:gd name="connsiteX6" fmla="*/ 906925 w 2205931"/>
                  <a:gd name="connsiteY6" fmla="*/ 1987130 h 2064766"/>
                  <a:gd name="connsiteX7" fmla="*/ 112865 w 2205931"/>
                  <a:gd name="connsiteY7" fmla="*/ 505443 h 2064766"/>
                  <a:gd name="connsiteX8" fmla="*/ 0 w 2205931"/>
                  <a:gd name="connsiteY8" fmla="*/ 421044 h 2064766"/>
                  <a:gd name="connsiteX9" fmla="*/ 57533 w 2205931"/>
                  <a:gd name="connsiteY9" fmla="*/ 378021 h 2064766"/>
                  <a:gd name="connsiteX10" fmla="*/ 1295090 w 2205931"/>
                  <a:gd name="connsiteY10" fmla="*/ 0 h 206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05931" h="2064766">
                    <a:moveTo>
                      <a:pt x="1295090" y="0"/>
                    </a:moveTo>
                    <a:cubicBezTo>
                      <a:pt x="1600700" y="0"/>
                      <a:pt x="1891845" y="61937"/>
                      <a:pt x="2156656" y="173943"/>
                    </a:cubicBezTo>
                    <a:lnTo>
                      <a:pt x="2205931" y="197680"/>
                    </a:lnTo>
                    <a:lnTo>
                      <a:pt x="2202010" y="275324"/>
                    </a:lnTo>
                    <a:cubicBezTo>
                      <a:pt x="2126443" y="1019413"/>
                      <a:pt x="1682313" y="1654549"/>
                      <a:pt x="1055056" y="1995296"/>
                    </a:cubicBezTo>
                    <a:lnTo>
                      <a:pt x="910845" y="2064766"/>
                    </a:lnTo>
                    <a:lnTo>
                      <a:pt x="906925" y="1987130"/>
                    </a:lnTo>
                    <a:cubicBezTo>
                      <a:pt x="846472" y="1391855"/>
                      <a:pt x="550138" y="866312"/>
                      <a:pt x="112865" y="505443"/>
                    </a:cubicBezTo>
                    <a:lnTo>
                      <a:pt x="0" y="421044"/>
                    </a:lnTo>
                    <a:lnTo>
                      <a:pt x="57533" y="378021"/>
                    </a:lnTo>
                    <a:cubicBezTo>
                      <a:pt x="410801" y="139358"/>
                      <a:pt x="836671" y="0"/>
                      <a:pt x="1295090" y="0"/>
                    </a:cubicBezTo>
                    <a:close/>
                  </a:path>
                </a:pathLst>
              </a:custGeom>
              <a:grpFill/>
              <a:ln w="25400" cap="flat">
                <a:noFill/>
                <a:prstDash val="solid"/>
                <a:round/>
              </a:ln>
            </p:spPr>
            <p:txBody>
              <a:bodyPr wrap="square" rtlCol="0" anchor="ctr">
                <a:noAutofit/>
              </a:bodyPr>
              <a:lstStyle/>
              <a:p>
                <a:endParaRPr lang="en-US"/>
              </a:p>
            </p:txBody>
          </p:sp>
          <p:sp>
            <p:nvSpPr>
              <p:cNvPr id="26" name="Freeform: Shape 25">
                <a:extLst>
                  <a:ext uri="{FF2B5EF4-FFF2-40B4-BE49-F238E27FC236}">
                    <a16:creationId xmlns:a16="http://schemas.microsoft.com/office/drawing/2014/main" id="{1D4224A4-71E4-4272-9B4D-32C094C1E8E6}"/>
                  </a:ext>
                </a:extLst>
              </p:cNvPr>
              <p:cNvSpPr/>
              <p:nvPr/>
            </p:nvSpPr>
            <p:spPr>
              <a:xfrm>
                <a:off x="5177649" y="4362542"/>
                <a:ext cx="1836706" cy="1941065"/>
              </a:xfrm>
              <a:custGeom>
                <a:avLst/>
                <a:gdLst>
                  <a:gd name="connsiteX0" fmla="*/ 7508 w 1836706"/>
                  <a:gd name="connsiteY0" fmla="*/ 0 h 1941065"/>
                  <a:gd name="connsiteX1" fmla="*/ 56785 w 1836706"/>
                  <a:gd name="connsiteY1" fmla="*/ 23738 h 1941065"/>
                  <a:gd name="connsiteX2" fmla="*/ 918357 w 1836706"/>
                  <a:gd name="connsiteY2" fmla="*/ 197681 h 1941065"/>
                  <a:gd name="connsiteX3" fmla="*/ 1779923 w 1836706"/>
                  <a:gd name="connsiteY3" fmla="*/ 23738 h 1941065"/>
                  <a:gd name="connsiteX4" fmla="*/ 1829198 w 1836706"/>
                  <a:gd name="connsiteY4" fmla="*/ 1 h 1941065"/>
                  <a:gd name="connsiteX5" fmla="*/ 1836706 w 1836706"/>
                  <a:gd name="connsiteY5" fmla="*/ 148676 h 1941065"/>
                  <a:gd name="connsiteX6" fmla="*/ 1031218 w 1836706"/>
                  <a:gd name="connsiteY6" fmla="*/ 1856666 h 1941065"/>
                  <a:gd name="connsiteX7" fmla="*/ 918353 w 1836706"/>
                  <a:gd name="connsiteY7" fmla="*/ 1941065 h 1941065"/>
                  <a:gd name="connsiteX8" fmla="*/ 805488 w 1836706"/>
                  <a:gd name="connsiteY8" fmla="*/ 1856666 h 1941065"/>
                  <a:gd name="connsiteX9" fmla="*/ 0 w 1836706"/>
                  <a:gd name="connsiteY9" fmla="*/ 148676 h 1941065"/>
                  <a:gd name="connsiteX10" fmla="*/ 7508 w 1836706"/>
                  <a:gd name="connsiteY10" fmla="*/ 0 h 1941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36706" h="1941065">
                    <a:moveTo>
                      <a:pt x="7508" y="0"/>
                    </a:moveTo>
                    <a:lnTo>
                      <a:pt x="56785" y="23738"/>
                    </a:lnTo>
                    <a:cubicBezTo>
                      <a:pt x="321598" y="135744"/>
                      <a:pt x="612745" y="197681"/>
                      <a:pt x="918357" y="197681"/>
                    </a:cubicBezTo>
                    <a:cubicBezTo>
                      <a:pt x="1223967" y="197681"/>
                      <a:pt x="1515112" y="135744"/>
                      <a:pt x="1779923" y="23738"/>
                    </a:cubicBezTo>
                    <a:lnTo>
                      <a:pt x="1829198" y="1"/>
                    </a:lnTo>
                    <a:lnTo>
                      <a:pt x="1836706" y="148676"/>
                    </a:lnTo>
                    <a:cubicBezTo>
                      <a:pt x="1836706" y="836299"/>
                      <a:pt x="1523150" y="1450690"/>
                      <a:pt x="1031218" y="1856666"/>
                    </a:cubicBezTo>
                    <a:lnTo>
                      <a:pt x="918353" y="1941065"/>
                    </a:lnTo>
                    <a:lnTo>
                      <a:pt x="805488" y="1856666"/>
                    </a:lnTo>
                    <a:cubicBezTo>
                      <a:pt x="313556" y="1450690"/>
                      <a:pt x="0" y="836299"/>
                      <a:pt x="0" y="148676"/>
                    </a:cubicBezTo>
                    <a:lnTo>
                      <a:pt x="7508" y="0"/>
                    </a:lnTo>
                    <a:close/>
                  </a:path>
                </a:pathLst>
              </a:custGeom>
              <a:grpFill/>
              <a:ln w="25400" cap="flat">
                <a:noFill/>
                <a:prstDash val="solid"/>
                <a:round/>
              </a:ln>
            </p:spPr>
            <p:txBody>
              <a:bodyPr wrap="square" rtlCol="0" anchor="ctr">
                <a:noAutofit/>
              </a:bodyPr>
              <a:lstStyle/>
              <a:p>
                <a:endParaRPr lang="en-US"/>
              </a:p>
            </p:txBody>
          </p:sp>
        </p:grpSp>
        <p:sp>
          <p:nvSpPr>
            <p:cNvPr id="22" name="Freeform: Shape 21">
              <a:extLst>
                <a:ext uri="{FF2B5EF4-FFF2-40B4-BE49-F238E27FC236}">
                  <a16:creationId xmlns:a16="http://schemas.microsoft.com/office/drawing/2014/main" id="{BB6F3264-EDE2-46DD-8042-43C488614D74}"/>
                </a:ext>
              </a:extLst>
            </p:cNvPr>
            <p:cNvSpPr/>
            <p:nvPr/>
          </p:nvSpPr>
          <p:spPr>
            <a:xfrm>
              <a:off x="5185157" y="2718821"/>
              <a:ext cx="1821690" cy="1841402"/>
            </a:xfrm>
            <a:custGeom>
              <a:avLst/>
              <a:gdLst>
                <a:gd name="connsiteX0" fmla="*/ 910845 w 1821690"/>
                <a:gd name="connsiteY0" fmla="*/ 0 h 1841402"/>
                <a:gd name="connsiteX1" fmla="*/ 1023710 w 1821690"/>
                <a:gd name="connsiteY1" fmla="*/ 84399 h 1841402"/>
                <a:gd name="connsiteX2" fmla="*/ 1817770 w 1821690"/>
                <a:gd name="connsiteY2" fmla="*/ 1566086 h 1841402"/>
                <a:gd name="connsiteX3" fmla="*/ 1821690 w 1821690"/>
                <a:gd name="connsiteY3" fmla="*/ 1643722 h 1841402"/>
                <a:gd name="connsiteX4" fmla="*/ 1772415 w 1821690"/>
                <a:gd name="connsiteY4" fmla="*/ 1667459 h 1841402"/>
                <a:gd name="connsiteX5" fmla="*/ 910849 w 1821690"/>
                <a:gd name="connsiteY5" fmla="*/ 1841402 h 1841402"/>
                <a:gd name="connsiteX6" fmla="*/ 49277 w 1821690"/>
                <a:gd name="connsiteY6" fmla="*/ 1667459 h 1841402"/>
                <a:gd name="connsiteX7" fmla="*/ 0 w 1821690"/>
                <a:gd name="connsiteY7" fmla="*/ 1643721 h 1841402"/>
                <a:gd name="connsiteX8" fmla="*/ 3920 w 1821690"/>
                <a:gd name="connsiteY8" fmla="*/ 1566086 h 1841402"/>
                <a:gd name="connsiteX9" fmla="*/ 797980 w 1821690"/>
                <a:gd name="connsiteY9" fmla="*/ 84399 h 1841402"/>
                <a:gd name="connsiteX10" fmla="*/ 910845 w 1821690"/>
                <a:gd name="connsiteY10" fmla="*/ 0 h 184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21690" h="1841402">
                  <a:moveTo>
                    <a:pt x="910845" y="0"/>
                  </a:moveTo>
                  <a:lnTo>
                    <a:pt x="1023710" y="84399"/>
                  </a:lnTo>
                  <a:cubicBezTo>
                    <a:pt x="1460983" y="445268"/>
                    <a:pt x="1757317" y="970811"/>
                    <a:pt x="1817770" y="1566086"/>
                  </a:cubicBezTo>
                  <a:lnTo>
                    <a:pt x="1821690" y="1643722"/>
                  </a:lnTo>
                  <a:lnTo>
                    <a:pt x="1772415" y="1667459"/>
                  </a:lnTo>
                  <a:cubicBezTo>
                    <a:pt x="1507604" y="1779465"/>
                    <a:pt x="1216459" y="1841402"/>
                    <a:pt x="910849" y="1841402"/>
                  </a:cubicBezTo>
                  <a:cubicBezTo>
                    <a:pt x="605237" y="1841402"/>
                    <a:pt x="314090" y="1779465"/>
                    <a:pt x="49277" y="1667459"/>
                  </a:cubicBezTo>
                  <a:lnTo>
                    <a:pt x="0" y="1643721"/>
                  </a:lnTo>
                  <a:lnTo>
                    <a:pt x="3920" y="1566086"/>
                  </a:lnTo>
                  <a:cubicBezTo>
                    <a:pt x="64373" y="970811"/>
                    <a:pt x="360707" y="445268"/>
                    <a:pt x="797980" y="84399"/>
                  </a:cubicBezTo>
                  <a:lnTo>
                    <a:pt x="910845" y="0"/>
                  </a:lnTo>
                  <a:close/>
                </a:path>
              </a:pathLst>
            </a:custGeom>
            <a:gradFill flip="none" rotWithShape="1">
              <a:gsLst>
                <a:gs pos="55800">
                  <a:schemeClr val="accent3"/>
                </a:gs>
                <a:gs pos="100000">
                  <a:schemeClr val="accent4"/>
                </a:gs>
                <a:gs pos="0">
                  <a:schemeClr val="accent1"/>
                </a:gs>
              </a:gsLst>
              <a:path path="circle">
                <a:fillToRect r="100000" b="100000"/>
              </a:path>
              <a:tileRect l="-100000" t="-100000"/>
            </a:gradFill>
            <a:ln w="25400" cap="flat">
              <a:noFill/>
              <a:miter lim="400000"/>
            </a:ln>
            <a:effectLst>
              <a:outerShdw blurRad="393700" dist="38100" dir="2700000" algn="tl" rotWithShape="0">
                <a:schemeClr val="tx1">
                  <a:alpha val="25000"/>
                </a:schemeClr>
              </a:outerShdw>
            </a:effectLst>
          </p:spPr>
          <p:txBody>
            <a:bodyPr wrap="square" lIns="0" tIns="274320" rIns="0" bIns="0" numCol="1" anchor="ctr">
              <a:noAutofit/>
            </a:bodyPr>
            <a:lstStyle/>
            <a:p>
              <a:pPr algn="ctr" defTabSz="412750" hangingPunct="0"/>
              <a:endParaRPr lang="en-US" sz="1400" b="1" kern="0">
                <a:solidFill>
                  <a:srgbClr val="FFFFFF"/>
                </a:solidFill>
                <a:latin typeface="Montserrat" panose="00000500000000000000" pitchFamily="50" charset="0"/>
              </a:endParaRPr>
            </a:p>
          </p:txBody>
        </p:sp>
        <p:sp>
          <p:nvSpPr>
            <p:cNvPr id="34" name="TextBox 33">
              <a:extLst>
                <a:ext uri="{FF2B5EF4-FFF2-40B4-BE49-F238E27FC236}">
                  <a16:creationId xmlns:a16="http://schemas.microsoft.com/office/drawing/2014/main" id="{F9B73021-B3C1-4D9E-BBC9-4BF47E1B6254}"/>
                </a:ext>
              </a:extLst>
            </p:cNvPr>
            <p:cNvSpPr txBox="1"/>
            <p:nvPr/>
          </p:nvSpPr>
          <p:spPr>
            <a:xfrm>
              <a:off x="4501987" y="996154"/>
              <a:ext cx="1210588" cy="246221"/>
            </a:xfrm>
            <a:prstGeom prst="rect">
              <a:avLst/>
            </a:prstGeom>
            <a:noFill/>
          </p:spPr>
          <p:txBody>
            <a:bodyPr wrap="none" rtlCol="0">
              <a:spAutoFit/>
            </a:bodyPr>
            <a:lstStyle/>
            <a:p>
              <a:pPr algn="ctr"/>
              <a:r>
                <a:rPr lang="en-US" sz="1000" dirty="0">
                  <a:solidFill>
                    <a:schemeClr val="bg1"/>
                  </a:solidFill>
                  <a:latin typeface="Montserrat" panose="00000500000000000000" pitchFamily="50" charset="0"/>
                </a:rPr>
                <a:t>Potential Biases</a:t>
              </a:r>
            </a:p>
          </p:txBody>
        </p:sp>
        <p:sp>
          <p:nvSpPr>
            <p:cNvPr id="35" name="TextBox 34">
              <a:extLst>
                <a:ext uri="{FF2B5EF4-FFF2-40B4-BE49-F238E27FC236}">
                  <a16:creationId xmlns:a16="http://schemas.microsoft.com/office/drawing/2014/main" id="{B6412B87-1239-4AB2-B43E-7D793362AC38}"/>
                </a:ext>
              </a:extLst>
            </p:cNvPr>
            <p:cNvSpPr txBox="1"/>
            <p:nvPr/>
          </p:nvSpPr>
          <p:spPr>
            <a:xfrm>
              <a:off x="5778823" y="1145807"/>
              <a:ext cx="946093" cy="246221"/>
            </a:xfrm>
            <a:prstGeom prst="rect">
              <a:avLst/>
            </a:prstGeom>
            <a:noFill/>
          </p:spPr>
          <p:txBody>
            <a:bodyPr wrap="none" rtlCol="0">
              <a:spAutoFit/>
            </a:bodyPr>
            <a:lstStyle/>
            <a:p>
              <a:pPr algn="ctr"/>
              <a:r>
                <a:rPr lang="en-US" sz="1000" dirty="0">
                  <a:solidFill>
                    <a:schemeClr val="bg1"/>
                  </a:solidFill>
                  <a:latin typeface="Montserrat" panose="00000500000000000000" pitchFamily="50" charset="0"/>
                </a:rPr>
                <a:t>Uniqueness</a:t>
              </a:r>
            </a:p>
          </p:txBody>
        </p:sp>
        <p:sp>
          <p:nvSpPr>
            <p:cNvPr id="36" name="TextBox 35">
              <a:extLst>
                <a:ext uri="{FF2B5EF4-FFF2-40B4-BE49-F238E27FC236}">
                  <a16:creationId xmlns:a16="http://schemas.microsoft.com/office/drawing/2014/main" id="{AA7929E3-0672-455E-BB8F-88CE09E8DEE6}"/>
                </a:ext>
              </a:extLst>
            </p:cNvPr>
            <p:cNvSpPr txBox="1"/>
            <p:nvPr/>
          </p:nvSpPr>
          <p:spPr>
            <a:xfrm>
              <a:off x="7608329" y="1950454"/>
              <a:ext cx="579005" cy="246221"/>
            </a:xfrm>
            <a:prstGeom prst="rect">
              <a:avLst/>
            </a:prstGeom>
            <a:noFill/>
          </p:spPr>
          <p:txBody>
            <a:bodyPr wrap="none" rtlCol="0">
              <a:spAutoFit/>
            </a:bodyPr>
            <a:lstStyle/>
            <a:p>
              <a:pPr algn="ctr"/>
              <a:r>
                <a:rPr lang="en-US" sz="1000" dirty="0">
                  <a:solidFill>
                    <a:schemeClr val="bg1"/>
                  </a:solidFill>
                  <a:latin typeface="Montserrat" panose="00000500000000000000" pitchFamily="50" charset="0"/>
                </a:rPr>
                <a:t>Scope</a:t>
              </a:r>
            </a:p>
          </p:txBody>
        </p:sp>
        <p:sp>
          <p:nvSpPr>
            <p:cNvPr id="37" name="TextBox 36">
              <a:extLst>
                <a:ext uri="{FF2B5EF4-FFF2-40B4-BE49-F238E27FC236}">
                  <a16:creationId xmlns:a16="http://schemas.microsoft.com/office/drawing/2014/main" id="{05216F51-800A-4C3A-B9F6-2D6B3600E9A5}"/>
                </a:ext>
              </a:extLst>
            </p:cNvPr>
            <p:cNvSpPr txBox="1"/>
            <p:nvPr/>
          </p:nvSpPr>
          <p:spPr>
            <a:xfrm>
              <a:off x="6568025" y="1385787"/>
              <a:ext cx="1261884" cy="246221"/>
            </a:xfrm>
            <a:prstGeom prst="rect">
              <a:avLst/>
            </a:prstGeom>
            <a:noFill/>
          </p:spPr>
          <p:txBody>
            <a:bodyPr wrap="none" rtlCol="0">
              <a:spAutoFit/>
            </a:bodyPr>
            <a:lstStyle/>
            <a:p>
              <a:pPr algn="ctr"/>
              <a:r>
                <a:rPr lang="en-US" sz="1000" dirty="0">
                  <a:solidFill>
                    <a:schemeClr val="bg1"/>
                  </a:solidFill>
                  <a:latin typeface="Montserrat" panose="00000500000000000000" pitchFamily="50" charset="0"/>
                </a:rPr>
                <a:t>Potential Impact</a:t>
              </a:r>
            </a:p>
          </p:txBody>
        </p:sp>
        <p:sp>
          <p:nvSpPr>
            <p:cNvPr id="38" name="TextBox 37">
              <a:extLst>
                <a:ext uri="{FF2B5EF4-FFF2-40B4-BE49-F238E27FC236}">
                  <a16:creationId xmlns:a16="http://schemas.microsoft.com/office/drawing/2014/main" id="{C690E377-A3C2-48C6-B743-5D2A7B4F02ED}"/>
                </a:ext>
              </a:extLst>
            </p:cNvPr>
            <p:cNvSpPr txBox="1"/>
            <p:nvPr/>
          </p:nvSpPr>
          <p:spPr>
            <a:xfrm>
              <a:off x="3981481" y="1858511"/>
              <a:ext cx="1205779" cy="246221"/>
            </a:xfrm>
            <a:prstGeom prst="rect">
              <a:avLst/>
            </a:prstGeom>
            <a:noFill/>
          </p:spPr>
          <p:txBody>
            <a:bodyPr wrap="none" rtlCol="0">
              <a:spAutoFit/>
            </a:bodyPr>
            <a:lstStyle/>
            <a:p>
              <a:pPr algn="ctr"/>
              <a:r>
                <a:rPr lang="en-US" sz="1000" dirty="0">
                  <a:solidFill>
                    <a:schemeClr val="bg1"/>
                  </a:solidFill>
                  <a:latin typeface="Montserrat" panose="00000500000000000000" pitchFamily="50" charset="0"/>
                </a:rPr>
                <a:t>Potential Usage</a:t>
              </a:r>
            </a:p>
          </p:txBody>
        </p:sp>
        <p:sp>
          <p:nvSpPr>
            <p:cNvPr id="39" name="TextBox 38">
              <a:extLst>
                <a:ext uri="{FF2B5EF4-FFF2-40B4-BE49-F238E27FC236}">
                  <a16:creationId xmlns:a16="http://schemas.microsoft.com/office/drawing/2014/main" id="{D6AB9942-AED3-4C12-83A0-374FD51A97A6}"/>
                </a:ext>
              </a:extLst>
            </p:cNvPr>
            <p:cNvSpPr txBox="1"/>
            <p:nvPr/>
          </p:nvSpPr>
          <p:spPr>
            <a:xfrm>
              <a:off x="4143077" y="1314244"/>
              <a:ext cx="1626296" cy="400110"/>
            </a:xfrm>
            <a:prstGeom prst="rect">
              <a:avLst/>
            </a:prstGeom>
            <a:noFill/>
          </p:spPr>
          <p:txBody>
            <a:bodyPr wrap="square" rtlCol="0">
              <a:spAutoFit/>
            </a:bodyPr>
            <a:lstStyle/>
            <a:p>
              <a:pPr algn="ctr"/>
              <a:r>
                <a:rPr lang="en-US" sz="1000" dirty="0">
                  <a:solidFill>
                    <a:schemeClr val="bg1"/>
                  </a:solidFill>
                  <a:latin typeface="Montserrat" panose="00000500000000000000" pitchFamily="50" charset="0"/>
                </a:rPr>
                <a:t>Scientific quality of data &amp; Metadata</a:t>
              </a:r>
            </a:p>
          </p:txBody>
        </p:sp>
        <p:sp>
          <p:nvSpPr>
            <p:cNvPr id="40" name="TextBox 39">
              <a:extLst>
                <a:ext uri="{FF2B5EF4-FFF2-40B4-BE49-F238E27FC236}">
                  <a16:creationId xmlns:a16="http://schemas.microsoft.com/office/drawing/2014/main" id="{1CF44A48-DF14-44BB-A7F6-CF784DE9E8BD}"/>
                </a:ext>
              </a:extLst>
            </p:cNvPr>
            <p:cNvSpPr txBox="1"/>
            <p:nvPr/>
          </p:nvSpPr>
          <p:spPr>
            <a:xfrm>
              <a:off x="7808940" y="3562350"/>
              <a:ext cx="1717383" cy="246221"/>
            </a:xfrm>
            <a:prstGeom prst="rect">
              <a:avLst/>
            </a:prstGeom>
            <a:noFill/>
          </p:spPr>
          <p:txBody>
            <a:bodyPr wrap="square" rtlCol="0">
              <a:spAutoFit/>
            </a:bodyPr>
            <a:lstStyle/>
            <a:p>
              <a:pPr algn="ctr"/>
              <a:r>
                <a:rPr lang="en-US" sz="1000" dirty="0">
                  <a:solidFill>
                    <a:schemeClr val="bg1"/>
                  </a:solidFill>
                  <a:latin typeface="Montserrat" panose="00000500000000000000" pitchFamily="50" charset="0"/>
                </a:rPr>
                <a:t>Multiple data views</a:t>
              </a:r>
            </a:p>
          </p:txBody>
        </p:sp>
        <p:sp>
          <p:nvSpPr>
            <p:cNvPr id="41" name="TextBox 40">
              <a:extLst>
                <a:ext uri="{FF2B5EF4-FFF2-40B4-BE49-F238E27FC236}">
                  <a16:creationId xmlns:a16="http://schemas.microsoft.com/office/drawing/2014/main" id="{8F7FF8B9-4774-456F-B229-CFBEA1D0721D}"/>
                </a:ext>
              </a:extLst>
            </p:cNvPr>
            <p:cNvSpPr txBox="1"/>
            <p:nvPr/>
          </p:nvSpPr>
          <p:spPr>
            <a:xfrm>
              <a:off x="8294425" y="3972838"/>
              <a:ext cx="1038828" cy="400110"/>
            </a:xfrm>
            <a:prstGeom prst="rect">
              <a:avLst/>
            </a:prstGeom>
            <a:noFill/>
          </p:spPr>
          <p:txBody>
            <a:bodyPr wrap="square" rtlCol="0">
              <a:spAutoFit/>
            </a:bodyPr>
            <a:lstStyle/>
            <a:p>
              <a:pPr algn="ctr"/>
              <a:r>
                <a:rPr lang="en-US" sz="1000" dirty="0">
                  <a:solidFill>
                    <a:schemeClr val="bg1"/>
                  </a:solidFill>
                  <a:latin typeface="Montserrat" panose="00000500000000000000" pitchFamily="50" charset="0"/>
                </a:rPr>
                <a:t>No need for user support</a:t>
              </a:r>
            </a:p>
          </p:txBody>
        </p:sp>
        <p:sp>
          <p:nvSpPr>
            <p:cNvPr id="42" name="TextBox 41">
              <a:extLst>
                <a:ext uri="{FF2B5EF4-FFF2-40B4-BE49-F238E27FC236}">
                  <a16:creationId xmlns:a16="http://schemas.microsoft.com/office/drawing/2014/main" id="{4F75AA32-1660-4EC8-8F24-92D82D52889E}"/>
                </a:ext>
              </a:extLst>
            </p:cNvPr>
            <p:cNvSpPr txBox="1"/>
            <p:nvPr/>
          </p:nvSpPr>
          <p:spPr>
            <a:xfrm>
              <a:off x="8222448" y="4574164"/>
              <a:ext cx="1038828" cy="246221"/>
            </a:xfrm>
            <a:prstGeom prst="rect">
              <a:avLst/>
            </a:prstGeom>
            <a:noFill/>
          </p:spPr>
          <p:txBody>
            <a:bodyPr wrap="square" rtlCol="0">
              <a:spAutoFit/>
            </a:bodyPr>
            <a:lstStyle/>
            <a:p>
              <a:pPr algn="ctr"/>
              <a:r>
                <a:rPr lang="en-US" sz="1000" dirty="0">
                  <a:solidFill>
                    <a:schemeClr val="bg1"/>
                  </a:solidFill>
                  <a:latin typeface="Montserrat" panose="00000500000000000000" pitchFamily="50" charset="0"/>
                </a:rPr>
                <a:t>Simple GUI</a:t>
              </a:r>
            </a:p>
          </p:txBody>
        </p:sp>
        <p:sp>
          <p:nvSpPr>
            <p:cNvPr id="43" name="TextBox 42">
              <a:extLst>
                <a:ext uri="{FF2B5EF4-FFF2-40B4-BE49-F238E27FC236}">
                  <a16:creationId xmlns:a16="http://schemas.microsoft.com/office/drawing/2014/main" id="{6F4BF59F-1193-4C48-BC54-9AB534BB6612}"/>
                </a:ext>
              </a:extLst>
            </p:cNvPr>
            <p:cNvSpPr txBox="1"/>
            <p:nvPr/>
          </p:nvSpPr>
          <p:spPr>
            <a:xfrm>
              <a:off x="7608329" y="4900777"/>
              <a:ext cx="1795584" cy="246221"/>
            </a:xfrm>
            <a:prstGeom prst="rect">
              <a:avLst/>
            </a:prstGeom>
            <a:noFill/>
          </p:spPr>
          <p:txBody>
            <a:bodyPr wrap="square" rtlCol="0">
              <a:spAutoFit/>
            </a:bodyPr>
            <a:lstStyle/>
            <a:p>
              <a:pPr algn="ctr"/>
              <a:r>
                <a:rPr lang="en-US" sz="1000" dirty="0">
                  <a:solidFill>
                    <a:schemeClr val="bg1"/>
                  </a:solidFill>
                  <a:latin typeface="Montserrat" panose="00000500000000000000" pitchFamily="50" charset="0"/>
                </a:rPr>
                <a:t>Linking up-to-date data</a:t>
              </a:r>
            </a:p>
          </p:txBody>
        </p:sp>
        <p:sp>
          <p:nvSpPr>
            <p:cNvPr id="44" name="TextBox 43">
              <a:extLst>
                <a:ext uri="{FF2B5EF4-FFF2-40B4-BE49-F238E27FC236}">
                  <a16:creationId xmlns:a16="http://schemas.microsoft.com/office/drawing/2014/main" id="{B1EC8948-D04C-4FF7-817E-4F7E22ACC304}"/>
                </a:ext>
              </a:extLst>
            </p:cNvPr>
            <p:cNvSpPr txBox="1"/>
            <p:nvPr/>
          </p:nvSpPr>
          <p:spPr>
            <a:xfrm>
              <a:off x="7858780" y="5253095"/>
              <a:ext cx="1207778" cy="246221"/>
            </a:xfrm>
            <a:prstGeom prst="rect">
              <a:avLst/>
            </a:prstGeom>
            <a:noFill/>
          </p:spPr>
          <p:txBody>
            <a:bodyPr wrap="square" rtlCol="0">
              <a:spAutoFit/>
            </a:bodyPr>
            <a:lstStyle/>
            <a:p>
              <a:pPr algn="ctr"/>
              <a:r>
                <a:rPr lang="en-US" sz="1000" dirty="0">
                  <a:solidFill>
                    <a:schemeClr val="bg1"/>
                  </a:solidFill>
                  <a:latin typeface="Montserrat" panose="00000500000000000000" pitchFamily="50" charset="0"/>
                </a:rPr>
                <a:t>Sustainability</a:t>
              </a:r>
            </a:p>
          </p:txBody>
        </p:sp>
        <p:sp>
          <p:nvSpPr>
            <p:cNvPr id="45" name="TextBox 44">
              <a:extLst>
                <a:ext uri="{FF2B5EF4-FFF2-40B4-BE49-F238E27FC236}">
                  <a16:creationId xmlns:a16="http://schemas.microsoft.com/office/drawing/2014/main" id="{C1E9963F-C011-4DBA-BBA4-146D49974043}"/>
                </a:ext>
              </a:extLst>
            </p:cNvPr>
            <p:cNvSpPr txBox="1"/>
            <p:nvPr/>
          </p:nvSpPr>
          <p:spPr>
            <a:xfrm>
              <a:off x="6807758" y="5543323"/>
              <a:ext cx="1207778" cy="553998"/>
            </a:xfrm>
            <a:prstGeom prst="rect">
              <a:avLst/>
            </a:prstGeom>
            <a:noFill/>
          </p:spPr>
          <p:txBody>
            <a:bodyPr wrap="square" rtlCol="0">
              <a:spAutoFit/>
            </a:bodyPr>
            <a:lstStyle/>
            <a:p>
              <a:pPr algn="ctr"/>
              <a:r>
                <a:rPr lang="en-US" sz="1000" dirty="0">
                  <a:solidFill>
                    <a:schemeClr val="bg1"/>
                  </a:solidFill>
                  <a:latin typeface="Montserrat" panose="00000500000000000000" pitchFamily="50" charset="0"/>
                </a:rPr>
                <a:t>Data associated with their provenance</a:t>
              </a:r>
            </a:p>
          </p:txBody>
        </p:sp>
        <p:sp>
          <p:nvSpPr>
            <p:cNvPr id="46" name="TextBox 45">
              <a:extLst>
                <a:ext uri="{FF2B5EF4-FFF2-40B4-BE49-F238E27FC236}">
                  <a16:creationId xmlns:a16="http://schemas.microsoft.com/office/drawing/2014/main" id="{F24F062D-58E0-47C9-9139-C9A9F3E09533}"/>
                </a:ext>
              </a:extLst>
            </p:cNvPr>
            <p:cNvSpPr txBox="1"/>
            <p:nvPr/>
          </p:nvSpPr>
          <p:spPr>
            <a:xfrm>
              <a:off x="7906233" y="5603430"/>
              <a:ext cx="1207778" cy="400110"/>
            </a:xfrm>
            <a:prstGeom prst="rect">
              <a:avLst/>
            </a:prstGeom>
            <a:noFill/>
          </p:spPr>
          <p:txBody>
            <a:bodyPr wrap="square" rtlCol="0">
              <a:spAutoFit/>
            </a:bodyPr>
            <a:lstStyle/>
            <a:p>
              <a:pPr algn="ctr"/>
              <a:r>
                <a:rPr lang="en-US" sz="1000" dirty="0">
                  <a:solidFill>
                    <a:schemeClr val="bg1"/>
                  </a:solidFill>
                  <a:latin typeface="Montserrat" panose="00000500000000000000" pitchFamily="50" charset="0"/>
                </a:rPr>
                <a:t>Related Training</a:t>
              </a:r>
            </a:p>
          </p:txBody>
        </p:sp>
        <p:sp>
          <p:nvSpPr>
            <p:cNvPr id="47" name="TextBox 46">
              <a:extLst>
                <a:ext uri="{FF2B5EF4-FFF2-40B4-BE49-F238E27FC236}">
                  <a16:creationId xmlns:a16="http://schemas.microsoft.com/office/drawing/2014/main" id="{C6B10923-18A7-4A2B-9C45-3735CFF9F757}"/>
                </a:ext>
              </a:extLst>
            </p:cNvPr>
            <p:cNvSpPr txBox="1"/>
            <p:nvPr/>
          </p:nvSpPr>
          <p:spPr>
            <a:xfrm>
              <a:off x="6724916" y="6152371"/>
              <a:ext cx="1344778" cy="400110"/>
            </a:xfrm>
            <a:prstGeom prst="rect">
              <a:avLst/>
            </a:prstGeom>
            <a:noFill/>
          </p:spPr>
          <p:txBody>
            <a:bodyPr wrap="square" rtlCol="0">
              <a:spAutoFit/>
            </a:bodyPr>
            <a:lstStyle/>
            <a:p>
              <a:pPr algn="ctr"/>
              <a:r>
                <a:rPr lang="en-US" sz="1000" dirty="0">
                  <a:solidFill>
                    <a:schemeClr val="bg1"/>
                  </a:solidFill>
                  <a:latin typeface="Montserrat" panose="00000500000000000000" pitchFamily="50" charset="0"/>
                </a:rPr>
                <a:t>Dependency with other resources</a:t>
              </a:r>
            </a:p>
          </p:txBody>
        </p:sp>
        <p:sp>
          <p:nvSpPr>
            <p:cNvPr id="48" name="TextBox 47">
              <a:extLst>
                <a:ext uri="{FF2B5EF4-FFF2-40B4-BE49-F238E27FC236}">
                  <a16:creationId xmlns:a16="http://schemas.microsoft.com/office/drawing/2014/main" id="{F20DF227-638F-42FF-823F-397BCF9E9AA7}"/>
                </a:ext>
              </a:extLst>
            </p:cNvPr>
            <p:cNvSpPr txBox="1"/>
            <p:nvPr/>
          </p:nvSpPr>
          <p:spPr>
            <a:xfrm>
              <a:off x="4467109" y="6004599"/>
              <a:ext cx="1344778" cy="246221"/>
            </a:xfrm>
            <a:prstGeom prst="rect">
              <a:avLst/>
            </a:prstGeom>
            <a:noFill/>
          </p:spPr>
          <p:txBody>
            <a:bodyPr wrap="square" rtlCol="0">
              <a:spAutoFit/>
            </a:bodyPr>
            <a:lstStyle/>
            <a:p>
              <a:pPr algn="ctr"/>
              <a:r>
                <a:rPr lang="en-US" sz="1000" dirty="0">
                  <a:solidFill>
                    <a:schemeClr val="bg1"/>
                  </a:solidFill>
                  <a:latin typeface="Montserrat" panose="00000500000000000000" pitchFamily="50" charset="0"/>
                </a:rPr>
                <a:t>Response time</a:t>
              </a:r>
            </a:p>
          </p:txBody>
        </p:sp>
        <p:sp>
          <p:nvSpPr>
            <p:cNvPr id="49" name="TextBox 48">
              <a:extLst>
                <a:ext uri="{FF2B5EF4-FFF2-40B4-BE49-F238E27FC236}">
                  <a16:creationId xmlns:a16="http://schemas.microsoft.com/office/drawing/2014/main" id="{BE0D3753-DBF9-409F-9E28-850366DFB9E0}"/>
                </a:ext>
              </a:extLst>
            </p:cNvPr>
            <p:cNvSpPr txBox="1"/>
            <p:nvPr/>
          </p:nvSpPr>
          <p:spPr>
            <a:xfrm>
              <a:off x="3406784" y="5709175"/>
              <a:ext cx="1344778" cy="246221"/>
            </a:xfrm>
            <a:prstGeom prst="rect">
              <a:avLst/>
            </a:prstGeom>
            <a:noFill/>
          </p:spPr>
          <p:txBody>
            <a:bodyPr wrap="square" rtlCol="0">
              <a:spAutoFit/>
            </a:bodyPr>
            <a:lstStyle/>
            <a:p>
              <a:pPr algn="ctr"/>
              <a:r>
                <a:rPr lang="en-US" sz="1000" dirty="0">
                  <a:solidFill>
                    <a:schemeClr val="bg1"/>
                  </a:solidFill>
                  <a:latin typeface="Montserrat" panose="00000500000000000000" pitchFamily="50" charset="0"/>
                </a:rPr>
                <a:t>Processing Speed</a:t>
              </a:r>
            </a:p>
          </p:txBody>
        </p:sp>
        <p:sp>
          <p:nvSpPr>
            <p:cNvPr id="50" name="TextBox 49">
              <a:extLst>
                <a:ext uri="{FF2B5EF4-FFF2-40B4-BE49-F238E27FC236}">
                  <a16:creationId xmlns:a16="http://schemas.microsoft.com/office/drawing/2014/main" id="{D68D278E-837B-4E95-8F9D-CE68C2170B32}"/>
                </a:ext>
              </a:extLst>
            </p:cNvPr>
            <p:cNvSpPr txBox="1"/>
            <p:nvPr/>
          </p:nvSpPr>
          <p:spPr>
            <a:xfrm>
              <a:off x="3038284" y="5198254"/>
              <a:ext cx="1344778" cy="400110"/>
            </a:xfrm>
            <a:prstGeom prst="rect">
              <a:avLst/>
            </a:prstGeom>
            <a:noFill/>
          </p:spPr>
          <p:txBody>
            <a:bodyPr wrap="square" rtlCol="0">
              <a:spAutoFit/>
            </a:bodyPr>
            <a:lstStyle/>
            <a:p>
              <a:pPr algn="ctr"/>
              <a:r>
                <a:rPr lang="en-US" sz="1000" dirty="0">
                  <a:solidFill>
                    <a:schemeClr val="bg1"/>
                  </a:solidFill>
                  <a:latin typeface="Montserrat" panose="00000500000000000000" pitchFamily="50" charset="0"/>
                </a:rPr>
                <a:t>Communication Protocol</a:t>
              </a:r>
            </a:p>
          </p:txBody>
        </p:sp>
        <p:sp>
          <p:nvSpPr>
            <p:cNvPr id="51" name="TextBox 50">
              <a:extLst>
                <a:ext uri="{FF2B5EF4-FFF2-40B4-BE49-F238E27FC236}">
                  <a16:creationId xmlns:a16="http://schemas.microsoft.com/office/drawing/2014/main" id="{EDEA018E-B674-4428-B200-A7FD571449F1}"/>
                </a:ext>
              </a:extLst>
            </p:cNvPr>
            <p:cNvSpPr txBox="1"/>
            <p:nvPr/>
          </p:nvSpPr>
          <p:spPr>
            <a:xfrm>
              <a:off x="2777530" y="4577857"/>
              <a:ext cx="1344778" cy="400110"/>
            </a:xfrm>
            <a:prstGeom prst="rect">
              <a:avLst/>
            </a:prstGeom>
            <a:noFill/>
          </p:spPr>
          <p:txBody>
            <a:bodyPr wrap="square" rtlCol="0">
              <a:spAutoFit/>
            </a:bodyPr>
            <a:lstStyle/>
            <a:p>
              <a:pPr algn="ctr"/>
              <a:r>
                <a:rPr lang="en-US" sz="1000" dirty="0">
                  <a:solidFill>
                    <a:schemeClr val="bg1"/>
                  </a:solidFill>
                  <a:latin typeface="Montserrat" panose="00000500000000000000" pitchFamily="50" charset="0"/>
                </a:rPr>
                <a:t>Programmatic Interface (API)</a:t>
              </a:r>
            </a:p>
          </p:txBody>
        </p:sp>
        <p:sp>
          <p:nvSpPr>
            <p:cNvPr id="52" name="TextBox 51">
              <a:extLst>
                <a:ext uri="{FF2B5EF4-FFF2-40B4-BE49-F238E27FC236}">
                  <a16:creationId xmlns:a16="http://schemas.microsoft.com/office/drawing/2014/main" id="{D0C0CDC1-47F3-4840-B1A4-367EE4C95179}"/>
                </a:ext>
              </a:extLst>
            </p:cNvPr>
            <p:cNvSpPr txBox="1"/>
            <p:nvPr/>
          </p:nvSpPr>
          <p:spPr>
            <a:xfrm>
              <a:off x="2819261" y="3872949"/>
              <a:ext cx="1344778" cy="246221"/>
            </a:xfrm>
            <a:prstGeom prst="rect">
              <a:avLst/>
            </a:prstGeom>
            <a:noFill/>
          </p:spPr>
          <p:txBody>
            <a:bodyPr wrap="square" rtlCol="0">
              <a:spAutoFit/>
            </a:bodyPr>
            <a:lstStyle/>
            <a:p>
              <a:pPr algn="ctr"/>
              <a:r>
                <a:rPr lang="en-US" sz="1000" dirty="0">
                  <a:solidFill>
                    <a:schemeClr val="bg1"/>
                  </a:solidFill>
                  <a:latin typeface="Montserrat" panose="00000500000000000000" pitchFamily="50" charset="0"/>
                </a:rPr>
                <a:t>Up-time</a:t>
              </a:r>
            </a:p>
          </p:txBody>
        </p:sp>
        <p:sp>
          <p:nvSpPr>
            <p:cNvPr id="53" name="TextBox 52">
              <a:extLst>
                <a:ext uri="{FF2B5EF4-FFF2-40B4-BE49-F238E27FC236}">
                  <a16:creationId xmlns:a16="http://schemas.microsoft.com/office/drawing/2014/main" id="{8743A203-5413-4059-BA4E-80AC9D99DACC}"/>
                </a:ext>
              </a:extLst>
            </p:cNvPr>
            <p:cNvSpPr txBox="1"/>
            <p:nvPr/>
          </p:nvSpPr>
          <p:spPr>
            <a:xfrm>
              <a:off x="4132135" y="2853313"/>
              <a:ext cx="1344778" cy="246221"/>
            </a:xfrm>
            <a:prstGeom prst="rect">
              <a:avLst/>
            </a:prstGeom>
            <a:noFill/>
          </p:spPr>
          <p:txBody>
            <a:bodyPr wrap="square" rtlCol="0">
              <a:spAutoFit/>
            </a:bodyPr>
            <a:lstStyle/>
            <a:p>
              <a:pPr algn="ctr"/>
              <a:r>
                <a:rPr lang="en-US" sz="1000" dirty="0">
                  <a:latin typeface="Montserrat" panose="00000500000000000000" pitchFamily="50" charset="0"/>
                </a:rPr>
                <a:t>Performance</a:t>
              </a:r>
            </a:p>
          </p:txBody>
        </p:sp>
        <p:sp>
          <p:nvSpPr>
            <p:cNvPr id="54" name="TextBox 53">
              <a:extLst>
                <a:ext uri="{FF2B5EF4-FFF2-40B4-BE49-F238E27FC236}">
                  <a16:creationId xmlns:a16="http://schemas.microsoft.com/office/drawing/2014/main" id="{9EE3A70A-B4DD-4BF5-8044-AA3AE12C351F}"/>
                </a:ext>
              </a:extLst>
            </p:cNvPr>
            <p:cNvSpPr txBox="1"/>
            <p:nvPr/>
          </p:nvSpPr>
          <p:spPr>
            <a:xfrm>
              <a:off x="6670758" y="2587419"/>
              <a:ext cx="1344778" cy="400110"/>
            </a:xfrm>
            <a:prstGeom prst="rect">
              <a:avLst/>
            </a:prstGeom>
            <a:noFill/>
          </p:spPr>
          <p:txBody>
            <a:bodyPr wrap="square" rtlCol="0">
              <a:spAutoFit/>
            </a:bodyPr>
            <a:lstStyle/>
            <a:p>
              <a:pPr algn="ctr"/>
              <a:r>
                <a:rPr lang="en-US" sz="1000" dirty="0">
                  <a:latin typeface="Montserrat" panose="00000500000000000000" pitchFamily="50" charset="0"/>
                </a:rPr>
                <a:t>Community Acceptance</a:t>
              </a:r>
            </a:p>
          </p:txBody>
        </p:sp>
        <p:sp>
          <p:nvSpPr>
            <p:cNvPr id="55" name="TextBox 54">
              <a:extLst>
                <a:ext uri="{FF2B5EF4-FFF2-40B4-BE49-F238E27FC236}">
                  <a16:creationId xmlns:a16="http://schemas.microsoft.com/office/drawing/2014/main" id="{A2A9D7D9-73A7-48BA-8416-46A97CB59583}"/>
                </a:ext>
              </a:extLst>
            </p:cNvPr>
            <p:cNvSpPr txBox="1"/>
            <p:nvPr/>
          </p:nvSpPr>
          <p:spPr>
            <a:xfrm>
              <a:off x="6718697" y="3168252"/>
              <a:ext cx="1344778" cy="246221"/>
            </a:xfrm>
            <a:prstGeom prst="rect">
              <a:avLst/>
            </a:prstGeom>
            <a:noFill/>
          </p:spPr>
          <p:txBody>
            <a:bodyPr wrap="square" rtlCol="0">
              <a:spAutoFit/>
            </a:bodyPr>
            <a:lstStyle/>
            <a:p>
              <a:pPr algn="ctr"/>
              <a:r>
                <a:rPr lang="en-US" sz="1000" dirty="0">
                  <a:latin typeface="Montserrat" panose="00000500000000000000" pitchFamily="50" charset="0"/>
                </a:rPr>
                <a:t>Reusability</a:t>
              </a:r>
            </a:p>
          </p:txBody>
        </p:sp>
        <p:sp>
          <p:nvSpPr>
            <p:cNvPr id="56" name="TextBox 55">
              <a:extLst>
                <a:ext uri="{FF2B5EF4-FFF2-40B4-BE49-F238E27FC236}">
                  <a16:creationId xmlns:a16="http://schemas.microsoft.com/office/drawing/2014/main" id="{9C7FD870-2C3E-4649-882A-D56E3A656663}"/>
                </a:ext>
              </a:extLst>
            </p:cNvPr>
            <p:cNvSpPr txBox="1"/>
            <p:nvPr/>
          </p:nvSpPr>
          <p:spPr>
            <a:xfrm>
              <a:off x="5286383" y="3497769"/>
              <a:ext cx="1619238" cy="646331"/>
            </a:xfrm>
            <a:prstGeom prst="rect">
              <a:avLst/>
            </a:prstGeom>
            <a:noFill/>
          </p:spPr>
          <p:txBody>
            <a:bodyPr wrap="square" rtlCol="0">
              <a:spAutoFit/>
            </a:bodyPr>
            <a:lstStyle/>
            <a:p>
              <a:pPr algn="ctr"/>
              <a:r>
                <a:rPr lang="en-US" b="1" dirty="0">
                  <a:solidFill>
                    <a:schemeClr val="bg1"/>
                  </a:solidFill>
                  <a:latin typeface="Montserrat" panose="00000500000000000000" pitchFamily="50" charset="0"/>
                </a:rPr>
                <a:t>Fully-automated</a:t>
              </a:r>
            </a:p>
          </p:txBody>
        </p:sp>
        <p:sp>
          <p:nvSpPr>
            <p:cNvPr id="57" name="TextBox 56">
              <a:extLst>
                <a:ext uri="{FF2B5EF4-FFF2-40B4-BE49-F238E27FC236}">
                  <a16:creationId xmlns:a16="http://schemas.microsoft.com/office/drawing/2014/main" id="{D6DDBB34-A41D-4EAF-A2A1-C593A53BD112}"/>
                </a:ext>
              </a:extLst>
            </p:cNvPr>
            <p:cNvSpPr txBox="1"/>
            <p:nvPr/>
          </p:nvSpPr>
          <p:spPr>
            <a:xfrm>
              <a:off x="5429815" y="4618518"/>
              <a:ext cx="1344778" cy="246221"/>
            </a:xfrm>
            <a:prstGeom prst="rect">
              <a:avLst/>
            </a:prstGeom>
            <a:noFill/>
          </p:spPr>
          <p:txBody>
            <a:bodyPr wrap="square" rtlCol="0">
              <a:spAutoFit/>
            </a:bodyPr>
            <a:lstStyle/>
            <a:p>
              <a:pPr algn="ctr"/>
              <a:r>
                <a:rPr lang="en-US" sz="1000" dirty="0">
                  <a:latin typeface="Montserrat" panose="00000500000000000000" pitchFamily="50" charset="0"/>
                </a:rPr>
                <a:t>Interoperability</a:t>
              </a:r>
            </a:p>
          </p:txBody>
        </p:sp>
        <p:sp>
          <p:nvSpPr>
            <p:cNvPr id="58" name="TextBox 57">
              <a:extLst>
                <a:ext uri="{FF2B5EF4-FFF2-40B4-BE49-F238E27FC236}">
                  <a16:creationId xmlns:a16="http://schemas.microsoft.com/office/drawing/2014/main" id="{25044F09-2FE6-4236-B500-E229337343A6}"/>
                </a:ext>
              </a:extLst>
            </p:cNvPr>
            <p:cNvSpPr txBox="1"/>
            <p:nvPr/>
          </p:nvSpPr>
          <p:spPr>
            <a:xfrm>
              <a:off x="5429815" y="4854681"/>
              <a:ext cx="1344778" cy="246221"/>
            </a:xfrm>
            <a:prstGeom prst="rect">
              <a:avLst/>
            </a:prstGeom>
            <a:noFill/>
          </p:spPr>
          <p:txBody>
            <a:bodyPr wrap="square" rtlCol="0">
              <a:spAutoFit/>
            </a:bodyPr>
            <a:lstStyle/>
            <a:p>
              <a:pPr algn="ctr"/>
              <a:r>
                <a:rPr lang="en-US" sz="1000" dirty="0">
                  <a:latin typeface="Montserrat" panose="00000500000000000000" pitchFamily="50" charset="0"/>
                </a:rPr>
                <a:t>Open source</a:t>
              </a:r>
            </a:p>
          </p:txBody>
        </p:sp>
        <p:sp>
          <p:nvSpPr>
            <p:cNvPr id="59" name="TextBox 58">
              <a:extLst>
                <a:ext uri="{FF2B5EF4-FFF2-40B4-BE49-F238E27FC236}">
                  <a16:creationId xmlns:a16="http://schemas.microsoft.com/office/drawing/2014/main" id="{B48E35DB-10E2-4E33-83B1-4A5A6F8C30C1}"/>
                </a:ext>
              </a:extLst>
            </p:cNvPr>
            <p:cNvSpPr txBox="1"/>
            <p:nvPr/>
          </p:nvSpPr>
          <p:spPr>
            <a:xfrm>
              <a:off x="5429815" y="5090844"/>
              <a:ext cx="1344778" cy="246221"/>
            </a:xfrm>
            <a:prstGeom prst="rect">
              <a:avLst/>
            </a:prstGeom>
            <a:noFill/>
          </p:spPr>
          <p:txBody>
            <a:bodyPr wrap="square" rtlCol="0">
              <a:spAutoFit/>
            </a:bodyPr>
            <a:lstStyle/>
            <a:p>
              <a:pPr algn="ctr"/>
              <a:r>
                <a:rPr lang="en-US" sz="1000" dirty="0">
                  <a:latin typeface="Montserrat" panose="00000500000000000000" pitchFamily="50" charset="0"/>
                </a:rPr>
                <a:t>Use of Standards</a:t>
              </a:r>
            </a:p>
          </p:txBody>
        </p:sp>
        <p:sp>
          <p:nvSpPr>
            <p:cNvPr id="60" name="TextBox 59">
              <a:extLst>
                <a:ext uri="{FF2B5EF4-FFF2-40B4-BE49-F238E27FC236}">
                  <a16:creationId xmlns:a16="http://schemas.microsoft.com/office/drawing/2014/main" id="{4363CA0C-EA3D-49DF-A73E-C8ECDF4E45FD}"/>
                </a:ext>
              </a:extLst>
            </p:cNvPr>
            <p:cNvSpPr txBox="1"/>
            <p:nvPr/>
          </p:nvSpPr>
          <p:spPr>
            <a:xfrm>
              <a:off x="5429815" y="5327007"/>
              <a:ext cx="1344778" cy="246221"/>
            </a:xfrm>
            <a:prstGeom prst="rect">
              <a:avLst/>
            </a:prstGeom>
            <a:noFill/>
          </p:spPr>
          <p:txBody>
            <a:bodyPr wrap="square" rtlCol="0">
              <a:spAutoFit/>
            </a:bodyPr>
            <a:lstStyle/>
            <a:p>
              <a:pPr algn="ctr"/>
              <a:r>
                <a:rPr lang="en-US" sz="1000" dirty="0">
                  <a:latin typeface="Montserrat" panose="00000500000000000000" pitchFamily="50" charset="0"/>
                </a:rPr>
                <a:t>Accessibility</a:t>
              </a:r>
            </a:p>
          </p:txBody>
        </p:sp>
        <p:sp>
          <p:nvSpPr>
            <p:cNvPr id="61" name="TextBox 60">
              <a:extLst>
                <a:ext uri="{FF2B5EF4-FFF2-40B4-BE49-F238E27FC236}">
                  <a16:creationId xmlns:a16="http://schemas.microsoft.com/office/drawing/2014/main" id="{33C4CC3C-658B-4083-8CF6-1779A0E147E0}"/>
                </a:ext>
              </a:extLst>
            </p:cNvPr>
            <p:cNvSpPr txBox="1"/>
            <p:nvPr/>
          </p:nvSpPr>
          <p:spPr>
            <a:xfrm>
              <a:off x="5429815" y="5563170"/>
              <a:ext cx="1344778" cy="246221"/>
            </a:xfrm>
            <a:prstGeom prst="rect">
              <a:avLst/>
            </a:prstGeom>
            <a:noFill/>
          </p:spPr>
          <p:txBody>
            <a:bodyPr wrap="square" rtlCol="0">
              <a:spAutoFit/>
            </a:bodyPr>
            <a:lstStyle/>
            <a:p>
              <a:pPr algn="ctr"/>
              <a:r>
                <a:rPr lang="en-US" sz="1000" dirty="0">
                  <a:latin typeface="Montserrat" panose="00000500000000000000" pitchFamily="50" charset="0"/>
                </a:rPr>
                <a:t>Portability</a:t>
              </a:r>
            </a:p>
          </p:txBody>
        </p:sp>
        <p:sp>
          <p:nvSpPr>
            <p:cNvPr id="62" name="TextBox 61">
              <a:extLst>
                <a:ext uri="{FF2B5EF4-FFF2-40B4-BE49-F238E27FC236}">
                  <a16:creationId xmlns:a16="http://schemas.microsoft.com/office/drawing/2014/main" id="{F4988338-E126-4AEA-B2E2-14D1D5B778DA}"/>
                </a:ext>
              </a:extLst>
            </p:cNvPr>
            <p:cNvSpPr txBox="1"/>
            <p:nvPr/>
          </p:nvSpPr>
          <p:spPr>
            <a:xfrm>
              <a:off x="5429815" y="5799335"/>
              <a:ext cx="1344778" cy="246221"/>
            </a:xfrm>
            <a:prstGeom prst="rect">
              <a:avLst/>
            </a:prstGeom>
            <a:noFill/>
          </p:spPr>
          <p:txBody>
            <a:bodyPr wrap="square" rtlCol="0">
              <a:spAutoFit/>
            </a:bodyPr>
            <a:lstStyle/>
            <a:p>
              <a:pPr algn="ctr"/>
              <a:r>
                <a:rPr lang="en-US" sz="1000" dirty="0">
                  <a:latin typeface="Montserrat" panose="00000500000000000000" pitchFamily="50" charset="0"/>
                </a:rPr>
                <a:t>Availability</a:t>
              </a:r>
            </a:p>
          </p:txBody>
        </p:sp>
      </p:grpSp>
    </p:spTree>
    <p:extLst>
      <p:ext uri="{BB962C8B-B14F-4D97-AF65-F5344CB8AC3E}">
        <p14:creationId xmlns:p14="http://schemas.microsoft.com/office/powerpoint/2010/main" val="7404268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EEDE58C9-3074-4652-AAA8-3EAB3DF7BECB}"/>
              </a:ext>
            </a:extLst>
          </p:cNvPr>
          <p:cNvGrpSpPr/>
          <p:nvPr/>
        </p:nvGrpSpPr>
        <p:grpSpPr>
          <a:xfrm>
            <a:off x="771559" y="797457"/>
            <a:ext cx="10648882" cy="5263087"/>
            <a:chOff x="872059" y="921677"/>
            <a:chExt cx="10648882" cy="5263087"/>
          </a:xfrm>
        </p:grpSpPr>
        <p:grpSp>
          <p:nvGrpSpPr>
            <p:cNvPr id="13" name="Group 12">
              <a:extLst>
                <a:ext uri="{FF2B5EF4-FFF2-40B4-BE49-F238E27FC236}">
                  <a16:creationId xmlns:a16="http://schemas.microsoft.com/office/drawing/2014/main" id="{4354CF1E-28B3-497A-8BD0-26DD41B3BC8B}"/>
                </a:ext>
              </a:extLst>
            </p:cNvPr>
            <p:cNvGrpSpPr/>
            <p:nvPr/>
          </p:nvGrpSpPr>
          <p:grpSpPr>
            <a:xfrm>
              <a:off x="872059" y="921677"/>
              <a:ext cx="5568070" cy="5263087"/>
              <a:chOff x="872059" y="921677"/>
              <a:chExt cx="5568070" cy="5263087"/>
            </a:xfrm>
          </p:grpSpPr>
          <p:sp>
            <p:nvSpPr>
              <p:cNvPr id="19" name="Freeform: Shape 18">
                <a:extLst>
                  <a:ext uri="{FF2B5EF4-FFF2-40B4-BE49-F238E27FC236}">
                    <a16:creationId xmlns:a16="http://schemas.microsoft.com/office/drawing/2014/main" id="{19169387-C9A8-40DE-A062-B9E6D5318521}"/>
                  </a:ext>
                </a:extLst>
              </p:cNvPr>
              <p:cNvSpPr/>
              <p:nvPr/>
            </p:nvSpPr>
            <p:spPr>
              <a:xfrm>
                <a:off x="2009651" y="921677"/>
                <a:ext cx="3292940" cy="3292940"/>
              </a:xfrm>
              <a:custGeom>
                <a:avLst/>
                <a:gdLst>
                  <a:gd name="connsiteX0" fmla="*/ 990589 w 1981182"/>
                  <a:gd name="connsiteY0" fmla="*/ 0 h 1981182"/>
                  <a:gd name="connsiteX1" fmla="*/ 1981182 w 1981182"/>
                  <a:gd name="connsiteY1" fmla="*/ 990589 h 1981182"/>
                  <a:gd name="connsiteX2" fmla="*/ 990589 w 1981182"/>
                  <a:gd name="connsiteY2" fmla="*/ 1981182 h 1981182"/>
                  <a:gd name="connsiteX3" fmla="*/ 0 w 1981182"/>
                  <a:gd name="connsiteY3" fmla="*/ 990589 h 1981182"/>
                  <a:gd name="connsiteX4" fmla="*/ 990589 w 1981182"/>
                  <a:gd name="connsiteY4" fmla="*/ 0 h 1981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1182" h="1981182">
                    <a:moveTo>
                      <a:pt x="990589" y="0"/>
                    </a:moveTo>
                    <a:cubicBezTo>
                      <a:pt x="1537679" y="0"/>
                      <a:pt x="1981182" y="443503"/>
                      <a:pt x="1981182" y="990589"/>
                    </a:cubicBezTo>
                    <a:cubicBezTo>
                      <a:pt x="1981182" y="1537679"/>
                      <a:pt x="1537679" y="1981182"/>
                      <a:pt x="990589" y="1981182"/>
                    </a:cubicBezTo>
                    <a:cubicBezTo>
                      <a:pt x="443503" y="1981182"/>
                      <a:pt x="0" y="1537679"/>
                      <a:pt x="0" y="990589"/>
                    </a:cubicBezTo>
                    <a:cubicBezTo>
                      <a:pt x="0" y="443503"/>
                      <a:pt x="443503" y="0"/>
                      <a:pt x="990589" y="0"/>
                    </a:cubicBezTo>
                    <a:close/>
                  </a:path>
                </a:pathLst>
              </a:custGeom>
              <a:noFill/>
              <a:ln w="38100" cap="flat">
                <a:gradFill flip="none" rotWithShape="1">
                  <a:gsLst>
                    <a:gs pos="0">
                      <a:schemeClr val="accent1"/>
                    </a:gs>
                    <a:gs pos="100000">
                      <a:schemeClr val="accent3"/>
                    </a:gs>
                  </a:gsLst>
                  <a:lin ang="0" scaled="0"/>
                  <a:tileRect/>
                </a:gradFill>
                <a:prstDash val="solid"/>
                <a:round/>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23232"/>
                  </a:solidFill>
                  <a:effectLst/>
                  <a:uLnTx/>
                  <a:uFillTx/>
                  <a:latin typeface="Montserrat" panose="00000500000000000000" pitchFamily="50" charset="0"/>
                </a:endParaRPr>
              </a:p>
            </p:txBody>
          </p:sp>
          <p:sp>
            <p:nvSpPr>
              <p:cNvPr id="20" name="Freeform: Shape 19">
                <a:extLst>
                  <a:ext uri="{FF2B5EF4-FFF2-40B4-BE49-F238E27FC236}">
                    <a16:creationId xmlns:a16="http://schemas.microsoft.com/office/drawing/2014/main" id="{7AF591BA-58EB-4F43-9091-471F21B97CEA}"/>
                  </a:ext>
                </a:extLst>
              </p:cNvPr>
              <p:cNvSpPr/>
              <p:nvPr/>
            </p:nvSpPr>
            <p:spPr>
              <a:xfrm>
                <a:off x="872059" y="2891266"/>
                <a:ext cx="3293490" cy="3293490"/>
              </a:xfrm>
              <a:custGeom>
                <a:avLst/>
                <a:gdLst>
                  <a:gd name="connsiteX0" fmla="*/ 964156 w 1981513"/>
                  <a:gd name="connsiteY0" fmla="*/ 334 h 1981513"/>
                  <a:gd name="connsiteX1" fmla="*/ 1848635 w 1981513"/>
                  <a:gd name="connsiteY1" fmla="*/ 495463 h 1981513"/>
                  <a:gd name="connsiteX2" fmla="*/ 1486053 w 1981513"/>
                  <a:gd name="connsiteY2" fmla="*/ 1848635 h 1981513"/>
                  <a:gd name="connsiteX3" fmla="*/ 132880 w 1981513"/>
                  <a:gd name="connsiteY3" fmla="*/ 1486053 h 1981513"/>
                  <a:gd name="connsiteX4" fmla="*/ 495463 w 1981513"/>
                  <a:gd name="connsiteY4" fmla="*/ 132880 h 1981513"/>
                  <a:gd name="connsiteX5" fmla="*/ 964156 w 1981513"/>
                  <a:gd name="connsiteY5" fmla="*/ 334 h 198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1513" h="1981513">
                    <a:moveTo>
                      <a:pt x="964156" y="334"/>
                    </a:moveTo>
                    <a:cubicBezTo>
                      <a:pt x="1315451" y="-8790"/>
                      <a:pt x="1660573" y="169730"/>
                      <a:pt x="1848635" y="495463"/>
                    </a:cubicBezTo>
                    <a:cubicBezTo>
                      <a:pt x="2122177" y="969253"/>
                      <a:pt x="1959846" y="1575090"/>
                      <a:pt x="1486053" y="1848635"/>
                    </a:cubicBezTo>
                    <a:cubicBezTo>
                      <a:pt x="1012262" y="2122177"/>
                      <a:pt x="406425" y="1959846"/>
                      <a:pt x="132880" y="1486053"/>
                    </a:cubicBezTo>
                    <a:cubicBezTo>
                      <a:pt x="-140665" y="1012259"/>
                      <a:pt x="21669" y="406425"/>
                      <a:pt x="495463" y="132880"/>
                    </a:cubicBezTo>
                    <a:cubicBezTo>
                      <a:pt x="643522" y="47397"/>
                      <a:pt x="804477" y="4481"/>
                      <a:pt x="964156" y="334"/>
                    </a:cubicBezTo>
                    <a:close/>
                  </a:path>
                </a:pathLst>
              </a:custGeom>
              <a:noFill/>
              <a:ln w="38100" cap="flat">
                <a:gradFill flip="none" rotWithShape="1">
                  <a:gsLst>
                    <a:gs pos="0">
                      <a:schemeClr val="accent1"/>
                    </a:gs>
                    <a:gs pos="100000">
                      <a:schemeClr val="accent4"/>
                    </a:gs>
                  </a:gsLst>
                  <a:lin ang="2700000" scaled="0"/>
                  <a:tileRect/>
                </a:gradFill>
                <a:prstDash val="solid"/>
                <a:round/>
              </a:ln>
            </p:spPr>
            <p:txBody>
              <a:bodyPr wrap="square" rtlCol="0" anchor="ctr">
                <a:noAutofit/>
              </a:bodyPr>
              <a:lstStyle/>
              <a:p>
                <a:endParaRPr lang="en-US" sz="1000" dirty="0">
                  <a:solidFill>
                    <a:srgbClr val="323232"/>
                  </a:solidFill>
                  <a:latin typeface="Montserrat" panose="00000500000000000000" pitchFamily="50" charset="0"/>
                </a:endParaRPr>
              </a:p>
            </p:txBody>
          </p:sp>
          <p:sp>
            <p:nvSpPr>
              <p:cNvPr id="18" name="Freeform: Shape 17">
                <a:extLst>
                  <a:ext uri="{FF2B5EF4-FFF2-40B4-BE49-F238E27FC236}">
                    <a16:creationId xmlns:a16="http://schemas.microsoft.com/office/drawing/2014/main" id="{BAA14724-96F6-4F07-A151-B1A8188F2799}"/>
                  </a:ext>
                </a:extLst>
              </p:cNvPr>
              <p:cNvSpPr/>
              <p:nvPr/>
            </p:nvSpPr>
            <p:spPr>
              <a:xfrm>
                <a:off x="3146639" y="2891274"/>
                <a:ext cx="3293490" cy="3293490"/>
              </a:xfrm>
              <a:custGeom>
                <a:avLst/>
                <a:gdLst>
                  <a:gd name="connsiteX0" fmla="*/ 1017359 w 1981513"/>
                  <a:gd name="connsiteY0" fmla="*/ 334 h 1981513"/>
                  <a:gd name="connsiteX1" fmla="*/ 1486052 w 1981513"/>
                  <a:gd name="connsiteY1" fmla="*/ 132880 h 1981513"/>
                  <a:gd name="connsiteX2" fmla="*/ 1848635 w 1981513"/>
                  <a:gd name="connsiteY2" fmla="*/ 1486053 h 1981513"/>
                  <a:gd name="connsiteX3" fmla="*/ 495463 w 1981513"/>
                  <a:gd name="connsiteY3" fmla="*/ 1848635 h 1981513"/>
                  <a:gd name="connsiteX4" fmla="*/ 132880 w 1981513"/>
                  <a:gd name="connsiteY4" fmla="*/ 495463 h 1981513"/>
                  <a:gd name="connsiteX5" fmla="*/ 1017359 w 1981513"/>
                  <a:gd name="connsiteY5" fmla="*/ 334 h 198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1513" h="1981513">
                    <a:moveTo>
                      <a:pt x="1017359" y="334"/>
                    </a:moveTo>
                    <a:cubicBezTo>
                      <a:pt x="1177038" y="4481"/>
                      <a:pt x="1337993" y="47397"/>
                      <a:pt x="1486052" y="132880"/>
                    </a:cubicBezTo>
                    <a:cubicBezTo>
                      <a:pt x="1959846" y="406425"/>
                      <a:pt x="2122177" y="1012259"/>
                      <a:pt x="1848635" y="1486053"/>
                    </a:cubicBezTo>
                    <a:cubicBezTo>
                      <a:pt x="1575090" y="1959846"/>
                      <a:pt x="969253" y="2122177"/>
                      <a:pt x="495463" y="1848635"/>
                    </a:cubicBezTo>
                    <a:cubicBezTo>
                      <a:pt x="21669" y="1575090"/>
                      <a:pt x="-140665" y="969253"/>
                      <a:pt x="132880" y="495463"/>
                    </a:cubicBezTo>
                    <a:cubicBezTo>
                      <a:pt x="320942" y="169730"/>
                      <a:pt x="666064" y="-8790"/>
                      <a:pt x="1017359" y="334"/>
                    </a:cubicBezTo>
                    <a:close/>
                  </a:path>
                </a:pathLst>
              </a:custGeom>
              <a:noFill/>
              <a:ln w="38100" cap="flat">
                <a:gradFill flip="none" rotWithShape="1">
                  <a:gsLst>
                    <a:gs pos="0">
                      <a:schemeClr val="accent3"/>
                    </a:gs>
                    <a:gs pos="100000">
                      <a:schemeClr val="accent4"/>
                    </a:gs>
                  </a:gsLst>
                  <a:lin ang="7800000" scaled="0"/>
                  <a:tileRect/>
                </a:gradFill>
                <a:prstDash val="solid"/>
                <a:round/>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323232"/>
                  </a:solidFill>
                  <a:effectLst/>
                  <a:uLnTx/>
                  <a:uFillTx/>
                  <a:latin typeface="Montserrat" panose="00000500000000000000" pitchFamily="50" charset="0"/>
                </a:endParaRPr>
              </a:p>
            </p:txBody>
          </p:sp>
          <p:sp>
            <p:nvSpPr>
              <p:cNvPr id="22" name="Freeform: Shape 21">
                <a:extLst>
                  <a:ext uri="{FF2B5EF4-FFF2-40B4-BE49-F238E27FC236}">
                    <a16:creationId xmlns:a16="http://schemas.microsoft.com/office/drawing/2014/main" id="{8AA5D043-5468-4C29-B18D-AEBBC37DB2F2}"/>
                  </a:ext>
                </a:extLst>
              </p:cNvPr>
              <p:cNvSpPr/>
              <p:nvPr/>
            </p:nvSpPr>
            <p:spPr>
              <a:xfrm>
                <a:off x="3197053" y="3346230"/>
                <a:ext cx="922548" cy="865874"/>
              </a:xfrm>
              <a:custGeom>
                <a:avLst/>
                <a:gdLst>
                  <a:gd name="connsiteX0" fmla="*/ 89239 w 178456"/>
                  <a:gd name="connsiteY0" fmla="*/ 0 h 167493"/>
                  <a:gd name="connsiteX1" fmla="*/ 145049 w 178456"/>
                  <a:gd name="connsiteY1" fmla="*/ 70812 h 167493"/>
                  <a:gd name="connsiteX2" fmla="*/ 178456 w 178456"/>
                  <a:gd name="connsiteY2" fmla="*/ 154549 h 167493"/>
                  <a:gd name="connsiteX3" fmla="*/ 89230 w 178456"/>
                  <a:gd name="connsiteY3" fmla="*/ 167493 h 167493"/>
                  <a:gd name="connsiteX4" fmla="*/ 0 w 178456"/>
                  <a:gd name="connsiteY4" fmla="*/ 154565 h 167493"/>
                  <a:gd name="connsiteX5" fmla="*/ 72 w 178456"/>
                  <a:gd name="connsiteY5" fmla="*/ 154242 h 167493"/>
                  <a:gd name="connsiteX6" fmla="*/ 4612 w 178456"/>
                  <a:gd name="connsiteY6" fmla="*/ 137765 h 167493"/>
                  <a:gd name="connsiteX7" fmla="*/ 7801 w 178456"/>
                  <a:gd name="connsiteY7" fmla="*/ 127756 h 167493"/>
                  <a:gd name="connsiteX8" fmla="*/ 11894 w 178456"/>
                  <a:gd name="connsiteY8" fmla="*/ 116267 h 167493"/>
                  <a:gd name="connsiteX9" fmla="*/ 17960 w 178456"/>
                  <a:gd name="connsiteY9" fmla="*/ 101694 h 167493"/>
                  <a:gd name="connsiteX10" fmla="*/ 21563 w 178456"/>
                  <a:gd name="connsiteY10" fmla="*/ 93520 h 167493"/>
                  <a:gd name="connsiteX11" fmla="*/ 33402 w 178456"/>
                  <a:gd name="connsiteY11" fmla="*/ 70810 h 167493"/>
                  <a:gd name="connsiteX12" fmla="*/ 47154 w 178456"/>
                  <a:gd name="connsiteY12" fmla="*/ 49197 h 167493"/>
                  <a:gd name="connsiteX13" fmla="*/ 52431 w 178456"/>
                  <a:gd name="connsiteY13" fmla="*/ 41990 h 167493"/>
                  <a:gd name="connsiteX14" fmla="*/ 62018 w 178456"/>
                  <a:gd name="connsiteY14" fmla="*/ 29450 h 167493"/>
                  <a:gd name="connsiteX15" fmla="*/ 69925 w 178456"/>
                  <a:gd name="connsiteY15" fmla="*/ 20154 h 167493"/>
                  <a:gd name="connsiteX16" fmla="*/ 76995 w 178456"/>
                  <a:gd name="connsiteY16" fmla="*/ 12394 h 167493"/>
                  <a:gd name="connsiteX17" fmla="*/ 88995 w 178456"/>
                  <a:gd name="connsiteY17" fmla="*/ 224 h 16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8456" h="167493">
                    <a:moveTo>
                      <a:pt x="89239" y="0"/>
                    </a:moveTo>
                    <a:cubicBezTo>
                      <a:pt x="110941" y="20501"/>
                      <a:pt x="129640" y="44120"/>
                      <a:pt x="145049" y="70812"/>
                    </a:cubicBezTo>
                    <a:cubicBezTo>
                      <a:pt x="160498" y="97570"/>
                      <a:pt x="171620" y="125651"/>
                      <a:pt x="178456" y="154549"/>
                    </a:cubicBezTo>
                    <a:cubicBezTo>
                      <a:pt x="150361" y="163030"/>
                      <a:pt x="120314" y="167492"/>
                      <a:pt x="89230" y="167493"/>
                    </a:cubicBezTo>
                    <a:cubicBezTo>
                      <a:pt x="58405" y="167491"/>
                      <a:pt x="28600" y="163107"/>
                      <a:pt x="0" y="154565"/>
                    </a:cubicBezTo>
                    <a:lnTo>
                      <a:pt x="72" y="154242"/>
                    </a:lnTo>
                    <a:lnTo>
                      <a:pt x="4612" y="137765"/>
                    </a:lnTo>
                    <a:lnTo>
                      <a:pt x="7801" y="127756"/>
                    </a:lnTo>
                    <a:lnTo>
                      <a:pt x="11894" y="116267"/>
                    </a:lnTo>
                    <a:lnTo>
                      <a:pt x="17960" y="101694"/>
                    </a:lnTo>
                    <a:lnTo>
                      <a:pt x="21563" y="93520"/>
                    </a:lnTo>
                    <a:lnTo>
                      <a:pt x="33402" y="70810"/>
                    </a:lnTo>
                    <a:cubicBezTo>
                      <a:pt x="33402" y="70810"/>
                      <a:pt x="47154" y="49197"/>
                      <a:pt x="47154" y="49197"/>
                    </a:cubicBezTo>
                    <a:lnTo>
                      <a:pt x="52431" y="41990"/>
                    </a:lnTo>
                    <a:lnTo>
                      <a:pt x="62018" y="29450"/>
                    </a:lnTo>
                    <a:lnTo>
                      <a:pt x="69925" y="20154"/>
                    </a:lnTo>
                    <a:lnTo>
                      <a:pt x="76995" y="12394"/>
                    </a:lnTo>
                    <a:lnTo>
                      <a:pt x="88995" y="224"/>
                    </a:lnTo>
                    <a:close/>
                  </a:path>
                </a:pathLst>
              </a:custGeom>
              <a:gradFill flip="none" rotWithShape="1">
                <a:gsLst>
                  <a:gs pos="55800">
                    <a:schemeClr val="accent3"/>
                  </a:gs>
                  <a:gs pos="100000">
                    <a:schemeClr val="accent4"/>
                  </a:gs>
                  <a:gs pos="0">
                    <a:schemeClr val="accent1"/>
                  </a:gs>
                </a:gsLst>
                <a:path path="circle">
                  <a:fillToRect r="100000" b="100000"/>
                </a:path>
                <a:tileRect l="-100000" t="-100000"/>
              </a:gradFill>
              <a:ln w="63500" cap="flat">
                <a:solidFill>
                  <a:schemeClr val="bg1"/>
                </a:solidFill>
                <a:miter lim="400000"/>
              </a:ln>
              <a:effectLst/>
            </p:spPr>
            <p:txBody>
              <a:bodyPr rot="0" spcFirstLastPara="0" vertOverflow="overflow" horzOverflow="overflow" vert="horz" wrap="square" lIns="0" tIns="274320" rIns="0" bIns="0" numCol="1" spcCol="0" rtlCol="0" fromWordArt="0" anchor="ctr" anchorCtr="0" forceAA="0" compatLnSpc="1">
                <a:prstTxWarp prst="textNoShape">
                  <a:avLst/>
                </a:prstTxWarp>
                <a:noAutofit/>
              </a:bodyPr>
              <a:lstStyle/>
              <a:p>
                <a:pPr algn="ctr" defTabSz="412750" hangingPunct="0"/>
                <a:endParaRPr lang="en-US" sz="1400" b="1" kern="0">
                  <a:solidFill>
                    <a:srgbClr val="FFFFFF"/>
                  </a:solidFill>
                  <a:latin typeface="Montserrat" panose="00000500000000000000" pitchFamily="50" charset="0"/>
                </a:endParaRPr>
              </a:p>
            </p:txBody>
          </p:sp>
          <p:sp>
            <p:nvSpPr>
              <p:cNvPr id="27" name="Freeform: Shape 26">
                <a:extLst>
                  <a:ext uri="{FF2B5EF4-FFF2-40B4-BE49-F238E27FC236}">
                    <a16:creationId xmlns:a16="http://schemas.microsoft.com/office/drawing/2014/main" id="{40B30C6C-DF62-4063-8544-D861AAFD4BF9}"/>
                  </a:ext>
                </a:extLst>
              </p:cNvPr>
              <p:cNvSpPr/>
              <p:nvPr/>
            </p:nvSpPr>
            <p:spPr>
              <a:xfrm>
                <a:off x="3657710" y="2889942"/>
                <a:ext cx="1597699" cy="1255241"/>
              </a:xfrm>
              <a:custGeom>
                <a:avLst/>
                <a:gdLst>
                  <a:gd name="connsiteX0" fmla="*/ 226284 w 309056"/>
                  <a:gd name="connsiteY0" fmla="*/ 64 h 242812"/>
                  <a:gd name="connsiteX1" fmla="*/ 309056 w 309056"/>
                  <a:gd name="connsiteY1" fmla="*/ 12859 h 242812"/>
                  <a:gd name="connsiteX2" fmla="*/ 89216 w 309056"/>
                  <a:gd name="connsiteY2" fmla="*/ 242812 h 242812"/>
                  <a:gd name="connsiteX3" fmla="*/ 55810 w 309056"/>
                  <a:gd name="connsiteY3" fmla="*/ 159075 h 242812"/>
                  <a:gd name="connsiteX4" fmla="*/ 0 w 309056"/>
                  <a:gd name="connsiteY4" fmla="*/ 88263 h 242812"/>
                  <a:gd name="connsiteX5" fmla="*/ 226284 w 309056"/>
                  <a:gd name="connsiteY5" fmla="*/ 64 h 242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056" h="242812">
                    <a:moveTo>
                      <a:pt x="226284" y="64"/>
                    </a:moveTo>
                    <a:cubicBezTo>
                      <a:pt x="253982" y="623"/>
                      <a:pt x="281813" y="4824"/>
                      <a:pt x="309056" y="12859"/>
                    </a:cubicBezTo>
                    <a:cubicBezTo>
                      <a:pt x="282404" y="123296"/>
                      <a:pt x="197937" y="211222"/>
                      <a:pt x="89216" y="242812"/>
                    </a:cubicBezTo>
                    <a:cubicBezTo>
                      <a:pt x="82380" y="213914"/>
                      <a:pt x="71259" y="185833"/>
                      <a:pt x="55810" y="159075"/>
                    </a:cubicBezTo>
                    <a:cubicBezTo>
                      <a:pt x="40401" y="132383"/>
                      <a:pt x="21702" y="108764"/>
                      <a:pt x="0" y="88263"/>
                    </a:cubicBezTo>
                    <a:cubicBezTo>
                      <a:pt x="61282" y="29497"/>
                      <a:pt x="143189" y="-1613"/>
                      <a:pt x="226284" y="64"/>
                    </a:cubicBezTo>
                    <a:close/>
                  </a:path>
                </a:pathLst>
              </a:custGeom>
              <a:solidFill>
                <a:schemeClr val="accent3"/>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ndParaRPr>
              </a:p>
            </p:txBody>
          </p:sp>
          <p:sp>
            <p:nvSpPr>
              <p:cNvPr id="28" name="Freeform: Shape 27">
                <a:extLst>
                  <a:ext uri="{FF2B5EF4-FFF2-40B4-BE49-F238E27FC236}">
                    <a16:creationId xmlns:a16="http://schemas.microsoft.com/office/drawing/2014/main" id="{031599CC-6E76-4A1B-A475-82F66D5778A2}"/>
                  </a:ext>
                </a:extLst>
              </p:cNvPr>
              <p:cNvSpPr/>
              <p:nvPr/>
            </p:nvSpPr>
            <p:spPr>
              <a:xfrm>
                <a:off x="3149772" y="4145183"/>
                <a:ext cx="1017111" cy="1578664"/>
              </a:xfrm>
              <a:custGeom>
                <a:avLst/>
                <a:gdLst>
                  <a:gd name="connsiteX0" fmla="*/ 187573 w 196748"/>
                  <a:gd name="connsiteY0" fmla="*/ 0 h 305374"/>
                  <a:gd name="connsiteX1" fmla="*/ 98342 w 196748"/>
                  <a:gd name="connsiteY1" fmla="*/ 305374 h 305374"/>
                  <a:gd name="connsiteX2" fmla="*/ 9118 w 196748"/>
                  <a:gd name="connsiteY2" fmla="*/ 17 h 305374"/>
                  <a:gd name="connsiteX3" fmla="*/ 98348 w 196748"/>
                  <a:gd name="connsiteY3" fmla="*/ 12944 h 305374"/>
                  <a:gd name="connsiteX4" fmla="*/ 187573 w 196748"/>
                  <a:gd name="connsiteY4" fmla="*/ 0 h 305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748" h="305374">
                    <a:moveTo>
                      <a:pt x="187573" y="0"/>
                    </a:moveTo>
                    <a:cubicBezTo>
                      <a:pt x="214678" y="109588"/>
                      <a:pt x="180789" y="226944"/>
                      <a:pt x="98342" y="305374"/>
                    </a:cubicBezTo>
                    <a:cubicBezTo>
                      <a:pt x="16026" y="227066"/>
                      <a:pt x="-17884" y="109957"/>
                      <a:pt x="9118" y="17"/>
                    </a:cubicBezTo>
                    <a:cubicBezTo>
                      <a:pt x="37718" y="8558"/>
                      <a:pt x="67522" y="12943"/>
                      <a:pt x="98348" y="12944"/>
                    </a:cubicBezTo>
                    <a:cubicBezTo>
                      <a:pt x="129432" y="12944"/>
                      <a:pt x="159478" y="8481"/>
                      <a:pt x="187573" y="0"/>
                    </a:cubicBezTo>
                    <a:close/>
                  </a:path>
                </a:pathLst>
              </a:custGeom>
              <a:solidFill>
                <a:schemeClr val="accent4"/>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ndParaRPr>
              </a:p>
            </p:txBody>
          </p:sp>
          <p:sp>
            <p:nvSpPr>
              <p:cNvPr id="29" name="Freeform: Shape 28">
                <a:extLst>
                  <a:ext uri="{FF2B5EF4-FFF2-40B4-BE49-F238E27FC236}">
                    <a16:creationId xmlns:a16="http://schemas.microsoft.com/office/drawing/2014/main" id="{E59DF8EB-C03A-4DB4-9DBA-8A4ED4E060AB}"/>
                  </a:ext>
                </a:extLst>
              </p:cNvPr>
              <p:cNvSpPr/>
              <p:nvPr/>
            </p:nvSpPr>
            <p:spPr>
              <a:xfrm>
                <a:off x="2062095" y="2889306"/>
                <a:ext cx="1598101" cy="1255931"/>
              </a:xfrm>
              <a:custGeom>
                <a:avLst/>
                <a:gdLst>
                  <a:gd name="connsiteX0" fmla="*/ 82869 w 309134"/>
                  <a:gd name="connsiteY0" fmla="*/ 56 h 242945"/>
                  <a:gd name="connsiteX1" fmla="*/ 309134 w 309134"/>
                  <a:gd name="connsiteY1" fmla="*/ 88367 h 242945"/>
                  <a:gd name="connsiteX2" fmla="*/ 253308 w 309134"/>
                  <a:gd name="connsiteY2" fmla="*/ 159188 h 242945"/>
                  <a:gd name="connsiteX3" fmla="*/ 219905 w 309134"/>
                  <a:gd name="connsiteY3" fmla="*/ 242945 h 242945"/>
                  <a:gd name="connsiteX4" fmla="*/ 0 w 309134"/>
                  <a:gd name="connsiteY4" fmla="*/ 12730 h 242945"/>
                  <a:gd name="connsiteX5" fmla="*/ 82869 w 309134"/>
                  <a:gd name="connsiteY5" fmla="*/ 56 h 242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134" h="242945">
                    <a:moveTo>
                      <a:pt x="82869" y="56"/>
                    </a:moveTo>
                    <a:cubicBezTo>
                      <a:pt x="166041" y="-1510"/>
                      <a:pt x="247953" y="29665"/>
                      <a:pt x="309134" y="88367"/>
                    </a:cubicBezTo>
                    <a:cubicBezTo>
                      <a:pt x="287644" y="108603"/>
                      <a:pt x="268813" y="132341"/>
                      <a:pt x="253308" y="159188"/>
                    </a:cubicBezTo>
                    <a:cubicBezTo>
                      <a:pt x="237766" y="186108"/>
                      <a:pt x="226605" y="214369"/>
                      <a:pt x="219905" y="242945"/>
                    </a:cubicBezTo>
                    <a:cubicBezTo>
                      <a:pt x="111243" y="211407"/>
                      <a:pt x="26566" y="123402"/>
                      <a:pt x="0" y="12730"/>
                    </a:cubicBezTo>
                    <a:cubicBezTo>
                      <a:pt x="27282" y="4739"/>
                      <a:pt x="55146" y="578"/>
                      <a:pt x="82869" y="56"/>
                    </a:cubicBezTo>
                    <a:close/>
                  </a:path>
                </a:pathLst>
              </a:custGeom>
              <a:solidFill>
                <a:schemeClr val="accent1"/>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ndParaRPr>
              </a:p>
            </p:txBody>
          </p:sp>
          <p:grpSp>
            <p:nvGrpSpPr>
              <p:cNvPr id="8" name="Group 7">
                <a:extLst>
                  <a:ext uri="{FF2B5EF4-FFF2-40B4-BE49-F238E27FC236}">
                    <a16:creationId xmlns:a16="http://schemas.microsoft.com/office/drawing/2014/main" id="{1ECDB20A-2EF6-45D9-A61C-E3BB5E12B1A4}"/>
                  </a:ext>
                </a:extLst>
              </p:cNvPr>
              <p:cNvGrpSpPr/>
              <p:nvPr/>
            </p:nvGrpSpPr>
            <p:grpSpPr>
              <a:xfrm>
                <a:off x="1400328" y="1837000"/>
                <a:ext cx="4630016" cy="3167981"/>
                <a:chOff x="1400328" y="1837000"/>
                <a:chExt cx="4630016" cy="3167981"/>
              </a:xfrm>
            </p:grpSpPr>
            <p:grpSp>
              <p:nvGrpSpPr>
                <p:cNvPr id="6" name="Group 5">
                  <a:extLst>
                    <a:ext uri="{FF2B5EF4-FFF2-40B4-BE49-F238E27FC236}">
                      <a16:creationId xmlns:a16="http://schemas.microsoft.com/office/drawing/2014/main" id="{C610CDF0-15CC-4EF9-93E1-D739634D69C4}"/>
                    </a:ext>
                  </a:extLst>
                </p:cNvPr>
                <p:cNvGrpSpPr/>
                <p:nvPr/>
              </p:nvGrpSpPr>
              <p:grpSpPr>
                <a:xfrm>
                  <a:off x="1400328" y="4478770"/>
                  <a:ext cx="1415488" cy="526211"/>
                  <a:chOff x="1091822" y="4606951"/>
                  <a:chExt cx="1415488" cy="526211"/>
                </a:xfrm>
              </p:grpSpPr>
              <p:sp>
                <p:nvSpPr>
                  <p:cNvPr id="21" name="Rectangle 20">
                    <a:extLst>
                      <a:ext uri="{FF2B5EF4-FFF2-40B4-BE49-F238E27FC236}">
                        <a16:creationId xmlns:a16="http://schemas.microsoft.com/office/drawing/2014/main" id="{1A58A13E-8813-42C9-9ED3-6C10A8AD010C}"/>
                      </a:ext>
                    </a:extLst>
                  </p:cNvPr>
                  <p:cNvSpPr/>
                  <p:nvPr/>
                </p:nvSpPr>
                <p:spPr>
                  <a:xfrm>
                    <a:off x="1091822" y="4981454"/>
                    <a:ext cx="1415488" cy="151708"/>
                  </a:xfrm>
                  <a:prstGeom prst="rect">
                    <a:avLst/>
                  </a:prstGeom>
                </p:spPr>
                <p:txBody>
                  <a:bodyPr wrap="square" lIns="0" tIns="0" rIns="0" bIns="0">
                    <a:spAutoFit/>
                  </a:bodyPr>
                  <a:lstStyle/>
                  <a:p>
                    <a:pPr marL="0" marR="0" lvl="0" indent="0" algn="ctr" defTabSz="914400" rtl="0" eaLnBrk="1" fontAlgn="auto" latinLnBrk="0" hangingPunct="1">
                      <a:lnSpc>
                        <a:spcPct val="75000"/>
                      </a:lnSpc>
                      <a:spcBef>
                        <a:spcPts val="0"/>
                      </a:spcBef>
                      <a:spcAft>
                        <a:spcPts val="0"/>
                      </a:spcAft>
                      <a:buClrTx/>
                      <a:buSzTx/>
                      <a:buFontTx/>
                      <a:buNone/>
                      <a:tabLst/>
                      <a:defRPr/>
                    </a:pPr>
                    <a:r>
                      <a:rPr kumimoji="0" lang="en-US" sz="1300" b="0" i="0" u="none" strike="noStrike" kern="1200" cap="none" spc="0" normalizeH="0" baseline="0" noProof="0" dirty="0">
                        <a:ln>
                          <a:noFill/>
                        </a:ln>
                        <a:solidFill>
                          <a:schemeClr val="accent1"/>
                        </a:solidFill>
                        <a:effectLst/>
                        <a:uLnTx/>
                        <a:uFillTx/>
                        <a:latin typeface="Montserrat" panose="00000500000000000000" pitchFamily="50" charset="0"/>
                      </a:rPr>
                      <a:t>Savvy. Genius.</a:t>
                    </a:r>
                  </a:p>
                </p:txBody>
              </p:sp>
              <p:sp>
                <p:nvSpPr>
                  <p:cNvPr id="30" name="Rectangle 32">
                    <a:extLst>
                      <a:ext uri="{FF2B5EF4-FFF2-40B4-BE49-F238E27FC236}">
                        <a16:creationId xmlns:a16="http://schemas.microsoft.com/office/drawing/2014/main" id="{97DE091D-A851-466E-88F2-6A6C9C56BD3D}"/>
                      </a:ext>
                    </a:extLst>
                  </p:cNvPr>
                  <p:cNvSpPr>
                    <a:spLocks noChangeArrowheads="1"/>
                  </p:cNvSpPr>
                  <p:nvPr/>
                </p:nvSpPr>
                <p:spPr bwMode="auto">
                  <a:xfrm>
                    <a:off x="1362748" y="4606951"/>
                    <a:ext cx="873637" cy="2567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172" rtl="0" eaLnBrk="0" fontAlgn="base" latinLnBrk="0" hangingPunct="0">
                      <a:lnSpc>
                        <a:spcPct val="75000"/>
                      </a:lnSpc>
                      <a:spcBef>
                        <a:spcPct val="0"/>
                      </a:spcBef>
                      <a:spcAft>
                        <a:spcPct val="0"/>
                      </a:spcAft>
                      <a:buClrTx/>
                      <a:buSzTx/>
                      <a:buFontTx/>
                      <a:buNone/>
                      <a:tabLst/>
                      <a:defRPr/>
                    </a:pPr>
                    <a:r>
                      <a:rPr kumimoji="0" lang="en-US" altLang="en-US" sz="2200" b="1" i="0" u="none" strike="noStrike" kern="1200" cap="none" spc="-75" normalizeH="0" baseline="0" noProof="0" dirty="0">
                        <a:ln>
                          <a:noFill/>
                        </a:ln>
                        <a:solidFill>
                          <a:schemeClr val="tx2">
                            <a:lumMod val="40000"/>
                            <a:lumOff val="60000"/>
                          </a:schemeClr>
                        </a:solidFill>
                        <a:effectLst/>
                        <a:uLnTx/>
                        <a:uFillTx/>
                        <a:latin typeface="Montserrat" panose="00000500000000000000" pitchFamily="50" charset="0"/>
                      </a:rPr>
                      <a:t>Talent</a:t>
                    </a:r>
                  </a:p>
                </p:txBody>
              </p:sp>
            </p:grpSp>
            <p:grpSp>
              <p:nvGrpSpPr>
                <p:cNvPr id="5" name="Group 4">
                  <a:extLst>
                    <a:ext uri="{FF2B5EF4-FFF2-40B4-BE49-F238E27FC236}">
                      <a16:creationId xmlns:a16="http://schemas.microsoft.com/office/drawing/2014/main" id="{BB863D43-4FA2-4DAF-8C73-79390E0FF7DB}"/>
                    </a:ext>
                  </a:extLst>
                </p:cNvPr>
                <p:cNvGrpSpPr/>
                <p:nvPr/>
              </p:nvGrpSpPr>
              <p:grpSpPr>
                <a:xfrm>
                  <a:off x="4614856" y="4478770"/>
                  <a:ext cx="1415488" cy="526211"/>
                  <a:chOff x="4814085" y="4606951"/>
                  <a:chExt cx="1415488" cy="526211"/>
                </a:xfrm>
              </p:grpSpPr>
              <p:sp>
                <p:nvSpPr>
                  <p:cNvPr id="31" name="Rectangle 30">
                    <a:extLst>
                      <a:ext uri="{FF2B5EF4-FFF2-40B4-BE49-F238E27FC236}">
                        <a16:creationId xmlns:a16="http://schemas.microsoft.com/office/drawing/2014/main" id="{5E8F5795-3ADD-451E-8526-8C430686D280}"/>
                      </a:ext>
                    </a:extLst>
                  </p:cNvPr>
                  <p:cNvSpPr/>
                  <p:nvPr/>
                </p:nvSpPr>
                <p:spPr>
                  <a:xfrm>
                    <a:off x="4814085" y="4981454"/>
                    <a:ext cx="1415488" cy="151708"/>
                  </a:xfrm>
                  <a:prstGeom prst="rect">
                    <a:avLst/>
                  </a:prstGeom>
                </p:spPr>
                <p:txBody>
                  <a:bodyPr wrap="square" lIns="0" tIns="0" rIns="0" bIns="0">
                    <a:spAutoFit/>
                  </a:bodyPr>
                  <a:lstStyle/>
                  <a:p>
                    <a:pPr marL="0" marR="0" lvl="0" indent="0" algn="ctr" defTabSz="914400" rtl="0" eaLnBrk="1" fontAlgn="auto" latinLnBrk="0" hangingPunct="1">
                      <a:lnSpc>
                        <a:spcPct val="75000"/>
                      </a:lnSpc>
                      <a:spcBef>
                        <a:spcPts val="0"/>
                      </a:spcBef>
                      <a:spcAft>
                        <a:spcPts val="0"/>
                      </a:spcAft>
                      <a:buClrTx/>
                      <a:buSzTx/>
                      <a:buFontTx/>
                      <a:buNone/>
                      <a:tabLst/>
                      <a:defRPr/>
                    </a:pPr>
                    <a:r>
                      <a:rPr kumimoji="0" lang="en-US" sz="1300" b="0" i="0" u="none" strike="noStrike" kern="1200" cap="none" spc="0" normalizeH="0" baseline="0" noProof="0" dirty="0">
                        <a:ln>
                          <a:noFill/>
                        </a:ln>
                        <a:solidFill>
                          <a:schemeClr val="accent4"/>
                        </a:solidFill>
                        <a:effectLst/>
                        <a:uLnTx/>
                        <a:uFillTx/>
                        <a:latin typeface="Montserrat" panose="00000500000000000000" pitchFamily="50" charset="0"/>
                      </a:rPr>
                      <a:t>Strong. Brave.</a:t>
                    </a:r>
                  </a:p>
                </p:txBody>
              </p:sp>
              <p:sp>
                <p:nvSpPr>
                  <p:cNvPr id="32" name="Rectangle 32">
                    <a:extLst>
                      <a:ext uri="{FF2B5EF4-FFF2-40B4-BE49-F238E27FC236}">
                        <a16:creationId xmlns:a16="http://schemas.microsoft.com/office/drawing/2014/main" id="{AC600F95-1047-4AC1-8D96-9A92BBCEB03B}"/>
                      </a:ext>
                    </a:extLst>
                  </p:cNvPr>
                  <p:cNvSpPr>
                    <a:spLocks noChangeArrowheads="1"/>
                  </p:cNvSpPr>
                  <p:nvPr/>
                </p:nvSpPr>
                <p:spPr bwMode="auto">
                  <a:xfrm>
                    <a:off x="4828530" y="4606951"/>
                    <a:ext cx="1386598" cy="2567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172" rtl="0" eaLnBrk="0" fontAlgn="base" latinLnBrk="0" hangingPunct="0">
                      <a:lnSpc>
                        <a:spcPct val="75000"/>
                      </a:lnSpc>
                      <a:spcBef>
                        <a:spcPct val="0"/>
                      </a:spcBef>
                      <a:spcAft>
                        <a:spcPct val="0"/>
                      </a:spcAft>
                      <a:buClrTx/>
                      <a:buSzTx/>
                      <a:buFontTx/>
                      <a:buNone/>
                      <a:tabLst/>
                      <a:defRPr/>
                    </a:pPr>
                    <a:r>
                      <a:rPr kumimoji="0" lang="en-US" altLang="en-US" sz="2200" b="1" i="0" u="none" strike="noStrike" kern="1200" cap="none" spc="-75" normalizeH="0" baseline="0" noProof="0" dirty="0">
                        <a:ln>
                          <a:noFill/>
                        </a:ln>
                        <a:solidFill>
                          <a:schemeClr val="tx2">
                            <a:lumMod val="40000"/>
                            <a:lumOff val="60000"/>
                          </a:schemeClr>
                        </a:solidFill>
                        <a:effectLst/>
                        <a:uLnTx/>
                        <a:uFillTx/>
                        <a:latin typeface="Montserrat" panose="00000500000000000000" pitchFamily="50" charset="0"/>
                      </a:rPr>
                      <a:t>Confident</a:t>
                    </a:r>
                  </a:p>
                </p:txBody>
              </p:sp>
            </p:grpSp>
            <p:grpSp>
              <p:nvGrpSpPr>
                <p:cNvPr id="7" name="Group 6">
                  <a:extLst>
                    <a:ext uri="{FF2B5EF4-FFF2-40B4-BE49-F238E27FC236}">
                      <a16:creationId xmlns:a16="http://schemas.microsoft.com/office/drawing/2014/main" id="{E647E292-2390-4710-A317-25C27381A885}"/>
                    </a:ext>
                  </a:extLst>
                </p:cNvPr>
                <p:cNvGrpSpPr/>
                <p:nvPr/>
              </p:nvGrpSpPr>
              <p:grpSpPr>
                <a:xfrm>
                  <a:off x="2748662" y="1837000"/>
                  <a:ext cx="1814920" cy="526210"/>
                  <a:chOff x="2748662" y="1927229"/>
                  <a:chExt cx="1814920" cy="526210"/>
                </a:xfrm>
              </p:grpSpPr>
              <p:sp>
                <p:nvSpPr>
                  <p:cNvPr id="33" name="Rectangle 32">
                    <a:extLst>
                      <a:ext uri="{FF2B5EF4-FFF2-40B4-BE49-F238E27FC236}">
                        <a16:creationId xmlns:a16="http://schemas.microsoft.com/office/drawing/2014/main" id="{E4A84FAE-78B0-45F0-9E23-9E7FC39108D8}"/>
                      </a:ext>
                    </a:extLst>
                  </p:cNvPr>
                  <p:cNvSpPr/>
                  <p:nvPr/>
                </p:nvSpPr>
                <p:spPr>
                  <a:xfrm>
                    <a:off x="2748662" y="2301731"/>
                    <a:ext cx="1814920" cy="151708"/>
                  </a:xfrm>
                  <a:prstGeom prst="rect">
                    <a:avLst/>
                  </a:prstGeom>
                </p:spPr>
                <p:txBody>
                  <a:bodyPr wrap="square" lIns="0" tIns="0" rIns="0" bIns="0">
                    <a:spAutoFit/>
                  </a:bodyPr>
                  <a:lstStyle/>
                  <a:p>
                    <a:pPr marL="0" marR="0" lvl="0" indent="0" algn="ctr" defTabSz="914400" rtl="0" eaLnBrk="1" fontAlgn="auto" latinLnBrk="0" hangingPunct="1">
                      <a:lnSpc>
                        <a:spcPct val="75000"/>
                      </a:lnSpc>
                      <a:spcBef>
                        <a:spcPts val="0"/>
                      </a:spcBef>
                      <a:spcAft>
                        <a:spcPts val="0"/>
                      </a:spcAft>
                      <a:buClrTx/>
                      <a:buSzTx/>
                      <a:buFontTx/>
                      <a:buNone/>
                      <a:tabLst/>
                      <a:defRPr/>
                    </a:pPr>
                    <a:r>
                      <a:rPr kumimoji="0" lang="en-US" sz="1300" b="0" i="0" u="none" strike="noStrike" kern="1200" cap="none" spc="0" normalizeH="0" baseline="0" noProof="0" dirty="0">
                        <a:ln>
                          <a:noFill/>
                        </a:ln>
                        <a:solidFill>
                          <a:schemeClr val="accent1"/>
                        </a:solidFill>
                        <a:effectLst/>
                        <a:uLnTx/>
                        <a:uFillTx/>
                        <a:latin typeface="Montserrat" panose="00000500000000000000" pitchFamily="50" charset="0"/>
                      </a:rPr>
                      <a:t>Ability. Power.</a:t>
                    </a:r>
                  </a:p>
                </p:txBody>
              </p:sp>
              <p:sp>
                <p:nvSpPr>
                  <p:cNvPr id="34" name="Rectangle 33">
                    <a:extLst>
                      <a:ext uri="{FF2B5EF4-FFF2-40B4-BE49-F238E27FC236}">
                        <a16:creationId xmlns:a16="http://schemas.microsoft.com/office/drawing/2014/main" id="{2951FBCA-6292-493A-A5A3-4561A1EFB656}"/>
                      </a:ext>
                    </a:extLst>
                  </p:cNvPr>
                  <p:cNvSpPr>
                    <a:spLocks noChangeArrowheads="1"/>
                  </p:cNvSpPr>
                  <p:nvPr/>
                </p:nvSpPr>
                <p:spPr bwMode="auto">
                  <a:xfrm>
                    <a:off x="3021333" y="1927229"/>
                    <a:ext cx="1269579" cy="2567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172" rtl="0" eaLnBrk="0" fontAlgn="base" latinLnBrk="0" hangingPunct="0">
                      <a:lnSpc>
                        <a:spcPct val="75000"/>
                      </a:lnSpc>
                      <a:spcBef>
                        <a:spcPct val="0"/>
                      </a:spcBef>
                      <a:spcAft>
                        <a:spcPct val="0"/>
                      </a:spcAft>
                      <a:buClrTx/>
                      <a:buSzTx/>
                      <a:buFontTx/>
                      <a:buNone/>
                      <a:tabLst/>
                      <a:defRPr/>
                    </a:pPr>
                    <a:r>
                      <a:rPr kumimoji="0" lang="en-US" altLang="en-US" sz="2200" b="1" i="0" u="none" strike="noStrike" kern="1200" cap="none" spc="-75" normalizeH="0" baseline="0" noProof="0" dirty="0">
                        <a:ln>
                          <a:noFill/>
                        </a:ln>
                        <a:solidFill>
                          <a:schemeClr val="tx2">
                            <a:lumMod val="40000"/>
                            <a:lumOff val="60000"/>
                          </a:schemeClr>
                        </a:solidFill>
                        <a:effectLst/>
                        <a:uLnTx/>
                        <a:uFillTx/>
                        <a:latin typeface="Montserrat" panose="00000500000000000000" pitchFamily="50" charset="0"/>
                      </a:rPr>
                      <a:t>Potential</a:t>
                    </a:r>
                  </a:p>
                </p:txBody>
              </p:sp>
            </p:grpSp>
          </p:grpSp>
        </p:grpSp>
        <p:grpSp>
          <p:nvGrpSpPr>
            <p:cNvPr id="12" name="Group 11">
              <a:extLst>
                <a:ext uri="{FF2B5EF4-FFF2-40B4-BE49-F238E27FC236}">
                  <a16:creationId xmlns:a16="http://schemas.microsoft.com/office/drawing/2014/main" id="{04EB8CB3-F377-482D-AD97-4062AE4D2589}"/>
                </a:ext>
              </a:extLst>
            </p:cNvPr>
            <p:cNvGrpSpPr/>
            <p:nvPr/>
          </p:nvGrpSpPr>
          <p:grpSpPr>
            <a:xfrm>
              <a:off x="7148294" y="1367979"/>
              <a:ext cx="4372647" cy="4370483"/>
              <a:chOff x="7148294" y="1324380"/>
              <a:chExt cx="4372647" cy="4370483"/>
            </a:xfrm>
          </p:grpSpPr>
          <p:grpSp>
            <p:nvGrpSpPr>
              <p:cNvPr id="11" name="Group 10">
                <a:extLst>
                  <a:ext uri="{FF2B5EF4-FFF2-40B4-BE49-F238E27FC236}">
                    <a16:creationId xmlns:a16="http://schemas.microsoft.com/office/drawing/2014/main" id="{534CE3A8-9513-4DEE-9839-0071E04381C2}"/>
                  </a:ext>
                </a:extLst>
              </p:cNvPr>
              <p:cNvGrpSpPr/>
              <p:nvPr/>
            </p:nvGrpSpPr>
            <p:grpSpPr>
              <a:xfrm>
                <a:off x="7148294" y="1324380"/>
                <a:ext cx="4372647" cy="1217640"/>
                <a:chOff x="6857009" y="1275519"/>
                <a:chExt cx="4372647" cy="1085953"/>
              </a:xfrm>
            </p:grpSpPr>
            <p:sp>
              <p:nvSpPr>
                <p:cNvPr id="9" name="Rectangle: Rounded Corners 8">
                  <a:extLst>
                    <a:ext uri="{FF2B5EF4-FFF2-40B4-BE49-F238E27FC236}">
                      <a16:creationId xmlns:a16="http://schemas.microsoft.com/office/drawing/2014/main" id="{AF25D4B2-682D-4D94-BB03-FAEADF1254B7}"/>
                    </a:ext>
                  </a:extLst>
                </p:cNvPr>
                <p:cNvSpPr/>
                <p:nvPr/>
              </p:nvSpPr>
              <p:spPr>
                <a:xfrm>
                  <a:off x="7470737" y="1275519"/>
                  <a:ext cx="3758919" cy="1085953"/>
                </a:xfrm>
                <a:prstGeom prst="roundRect">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nchorCtr="0"/>
                <a:lstStyle/>
                <a:p>
                  <a:pPr>
                    <a:lnSpc>
                      <a:spcPts val="1700"/>
                    </a:lnSpc>
                    <a:spcAft>
                      <a:spcPts val="400"/>
                    </a:spcAft>
                  </a:pPr>
                  <a:r>
                    <a:rPr lang="en-US" sz="1300" b="1" dirty="0">
                      <a:solidFill>
                        <a:schemeClr val="tx1"/>
                      </a:solidFill>
                      <a:latin typeface="Montserrat" panose="00000500000000000000" pitchFamily="50" charset="0"/>
                    </a:rPr>
                    <a:t>ELEMENT ONE</a:t>
                  </a:r>
                </a:p>
                <a:p>
                  <a:pPr>
                    <a:lnSpc>
                      <a:spcPts val="1700"/>
                    </a:lnSpc>
                    <a:spcAft>
                      <a:spcPts val="400"/>
                    </a:spcAft>
                  </a:pPr>
                  <a:r>
                    <a:rPr lang="en-US" sz="1100" dirty="0">
                      <a:solidFill>
                        <a:schemeClr val="tx1"/>
                      </a:solidFill>
                      <a:latin typeface="Montserrat" panose="00000500000000000000" pitchFamily="50" charset="0"/>
                    </a:rPr>
                    <a:t>Modern and stylish mobile responsive, all our web development solutions</a:t>
                  </a:r>
                </a:p>
              </p:txBody>
            </p:sp>
            <p:sp>
              <p:nvSpPr>
                <p:cNvPr id="50" name="Rectangle: Rounded Corners 49">
                  <a:extLst>
                    <a:ext uri="{FF2B5EF4-FFF2-40B4-BE49-F238E27FC236}">
                      <a16:creationId xmlns:a16="http://schemas.microsoft.com/office/drawing/2014/main" id="{D40CEED0-05EC-4E62-BE89-FDDE990ED7D2}"/>
                    </a:ext>
                  </a:extLst>
                </p:cNvPr>
                <p:cNvSpPr/>
                <p:nvPr/>
              </p:nvSpPr>
              <p:spPr>
                <a:xfrm>
                  <a:off x="6857009" y="1275519"/>
                  <a:ext cx="4372647" cy="1085953"/>
                </a:xfrm>
                <a:prstGeom prst="round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a:p>
              </p:txBody>
            </p:sp>
            <p:sp>
              <p:nvSpPr>
                <p:cNvPr id="10" name="TextBox 9">
                  <a:extLst>
                    <a:ext uri="{FF2B5EF4-FFF2-40B4-BE49-F238E27FC236}">
                      <a16:creationId xmlns:a16="http://schemas.microsoft.com/office/drawing/2014/main" id="{E9A03360-6EB8-43A0-B733-7E500A8FC144}"/>
                    </a:ext>
                  </a:extLst>
                </p:cNvPr>
                <p:cNvSpPr txBox="1"/>
                <p:nvPr/>
              </p:nvSpPr>
              <p:spPr>
                <a:xfrm>
                  <a:off x="7038481" y="1618440"/>
                  <a:ext cx="285656" cy="400110"/>
                </a:xfrm>
                <a:prstGeom prst="rect">
                  <a:avLst/>
                </a:prstGeom>
                <a:noFill/>
              </p:spPr>
              <p:txBody>
                <a:bodyPr wrap="none" rtlCol="0" anchor="ctr" anchorCtr="0">
                  <a:spAutoFit/>
                </a:bodyPr>
                <a:lstStyle/>
                <a:p>
                  <a:r>
                    <a:rPr lang="en-US" sz="2000" b="1" dirty="0">
                      <a:solidFill>
                        <a:schemeClr val="accent1"/>
                      </a:solidFill>
                      <a:latin typeface="Montserrat" panose="00000500000000000000" pitchFamily="50" charset="0"/>
                    </a:rPr>
                    <a:t>1</a:t>
                  </a:r>
                </a:p>
              </p:txBody>
            </p:sp>
          </p:grpSp>
          <p:grpSp>
            <p:nvGrpSpPr>
              <p:cNvPr id="51" name="Group 50">
                <a:extLst>
                  <a:ext uri="{FF2B5EF4-FFF2-40B4-BE49-F238E27FC236}">
                    <a16:creationId xmlns:a16="http://schemas.microsoft.com/office/drawing/2014/main" id="{CB9AD7F3-31DA-40D2-A36F-CBAF9F26E061}"/>
                  </a:ext>
                </a:extLst>
              </p:cNvPr>
              <p:cNvGrpSpPr/>
              <p:nvPr/>
            </p:nvGrpSpPr>
            <p:grpSpPr>
              <a:xfrm>
                <a:off x="7148294" y="2900802"/>
                <a:ext cx="4372647" cy="1217640"/>
                <a:chOff x="6857009" y="1275519"/>
                <a:chExt cx="4372647" cy="1085953"/>
              </a:xfrm>
            </p:grpSpPr>
            <p:sp>
              <p:nvSpPr>
                <p:cNvPr id="52" name="Rectangle: Rounded Corners 51">
                  <a:extLst>
                    <a:ext uri="{FF2B5EF4-FFF2-40B4-BE49-F238E27FC236}">
                      <a16:creationId xmlns:a16="http://schemas.microsoft.com/office/drawing/2014/main" id="{B82E553E-C34D-4331-9089-55E3EFAD5BD3}"/>
                    </a:ext>
                  </a:extLst>
                </p:cNvPr>
                <p:cNvSpPr/>
                <p:nvPr/>
              </p:nvSpPr>
              <p:spPr>
                <a:xfrm>
                  <a:off x="7470737" y="1275519"/>
                  <a:ext cx="3758919" cy="1085953"/>
                </a:xfrm>
                <a:prstGeom prst="roundRect">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nchorCtr="0"/>
                <a:lstStyle/>
                <a:p>
                  <a:pPr>
                    <a:lnSpc>
                      <a:spcPts val="1700"/>
                    </a:lnSpc>
                    <a:spcAft>
                      <a:spcPts val="400"/>
                    </a:spcAft>
                  </a:pPr>
                  <a:r>
                    <a:rPr lang="en-US" sz="1300" b="1" dirty="0">
                      <a:solidFill>
                        <a:schemeClr val="tx1"/>
                      </a:solidFill>
                      <a:latin typeface="Montserrat" panose="00000500000000000000" pitchFamily="50" charset="0"/>
                    </a:rPr>
                    <a:t>ELEMENT TWO</a:t>
                  </a:r>
                </a:p>
                <a:p>
                  <a:pPr>
                    <a:lnSpc>
                      <a:spcPts val="1700"/>
                    </a:lnSpc>
                    <a:spcAft>
                      <a:spcPts val="400"/>
                    </a:spcAft>
                  </a:pPr>
                  <a:r>
                    <a:rPr lang="en-US" sz="1100" dirty="0">
                      <a:solidFill>
                        <a:schemeClr val="tx1"/>
                      </a:solidFill>
                      <a:latin typeface="Montserrat" panose="00000500000000000000" pitchFamily="50" charset="0"/>
                    </a:rPr>
                    <a:t>Modern and stylish mobile responsive, all our web development solutions</a:t>
                  </a:r>
                </a:p>
              </p:txBody>
            </p:sp>
            <p:sp>
              <p:nvSpPr>
                <p:cNvPr id="53" name="Rectangle: Rounded Corners 52">
                  <a:extLst>
                    <a:ext uri="{FF2B5EF4-FFF2-40B4-BE49-F238E27FC236}">
                      <a16:creationId xmlns:a16="http://schemas.microsoft.com/office/drawing/2014/main" id="{9EDE0DA3-4661-4E83-A19D-3FBD820ED39F}"/>
                    </a:ext>
                  </a:extLst>
                </p:cNvPr>
                <p:cNvSpPr/>
                <p:nvPr/>
              </p:nvSpPr>
              <p:spPr>
                <a:xfrm>
                  <a:off x="6857009" y="1275519"/>
                  <a:ext cx="4372647" cy="1085953"/>
                </a:xfrm>
                <a:prstGeom prst="round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a:p>
              </p:txBody>
            </p:sp>
            <p:sp>
              <p:nvSpPr>
                <p:cNvPr id="54" name="TextBox 53">
                  <a:extLst>
                    <a:ext uri="{FF2B5EF4-FFF2-40B4-BE49-F238E27FC236}">
                      <a16:creationId xmlns:a16="http://schemas.microsoft.com/office/drawing/2014/main" id="{0D82A980-785B-4F30-8554-683C201C06D1}"/>
                    </a:ext>
                  </a:extLst>
                </p:cNvPr>
                <p:cNvSpPr txBox="1"/>
                <p:nvPr/>
              </p:nvSpPr>
              <p:spPr>
                <a:xfrm>
                  <a:off x="7038481" y="1640075"/>
                  <a:ext cx="335348" cy="356838"/>
                </a:xfrm>
                <a:prstGeom prst="rect">
                  <a:avLst/>
                </a:prstGeom>
                <a:noFill/>
              </p:spPr>
              <p:txBody>
                <a:bodyPr wrap="none" rtlCol="0" anchor="ctr" anchorCtr="0">
                  <a:spAutoFit/>
                </a:bodyPr>
                <a:lstStyle/>
                <a:p>
                  <a:r>
                    <a:rPr lang="en-US" sz="2000" b="1" dirty="0">
                      <a:solidFill>
                        <a:schemeClr val="accent3"/>
                      </a:solidFill>
                      <a:latin typeface="Montserrat" panose="00000500000000000000" pitchFamily="50" charset="0"/>
                    </a:rPr>
                    <a:t>2</a:t>
                  </a:r>
                </a:p>
              </p:txBody>
            </p:sp>
          </p:grpSp>
          <p:grpSp>
            <p:nvGrpSpPr>
              <p:cNvPr id="55" name="Group 54">
                <a:extLst>
                  <a:ext uri="{FF2B5EF4-FFF2-40B4-BE49-F238E27FC236}">
                    <a16:creationId xmlns:a16="http://schemas.microsoft.com/office/drawing/2014/main" id="{82928FEA-BBD8-4E84-880A-1D50CC8DC55B}"/>
                  </a:ext>
                </a:extLst>
              </p:cNvPr>
              <p:cNvGrpSpPr/>
              <p:nvPr/>
            </p:nvGrpSpPr>
            <p:grpSpPr>
              <a:xfrm>
                <a:off x="7148294" y="4477223"/>
                <a:ext cx="4372647" cy="1217640"/>
                <a:chOff x="6857009" y="1275519"/>
                <a:chExt cx="4372647" cy="1085953"/>
              </a:xfrm>
            </p:grpSpPr>
            <p:sp>
              <p:nvSpPr>
                <p:cNvPr id="56" name="Rectangle: Rounded Corners 55">
                  <a:extLst>
                    <a:ext uri="{FF2B5EF4-FFF2-40B4-BE49-F238E27FC236}">
                      <a16:creationId xmlns:a16="http://schemas.microsoft.com/office/drawing/2014/main" id="{FF7B2EE5-561B-45DD-A316-7CB609FEE177}"/>
                    </a:ext>
                  </a:extLst>
                </p:cNvPr>
                <p:cNvSpPr/>
                <p:nvPr/>
              </p:nvSpPr>
              <p:spPr>
                <a:xfrm>
                  <a:off x="7470737" y="1275519"/>
                  <a:ext cx="3758919" cy="1085953"/>
                </a:xfrm>
                <a:prstGeom prst="roundRect">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nchorCtr="0"/>
                <a:lstStyle/>
                <a:p>
                  <a:pPr>
                    <a:lnSpc>
                      <a:spcPts val="1700"/>
                    </a:lnSpc>
                    <a:spcAft>
                      <a:spcPts val="400"/>
                    </a:spcAft>
                  </a:pPr>
                  <a:r>
                    <a:rPr lang="en-US" sz="1300" b="1" dirty="0">
                      <a:solidFill>
                        <a:schemeClr val="tx1"/>
                      </a:solidFill>
                      <a:latin typeface="Montserrat" panose="00000500000000000000" pitchFamily="50" charset="0"/>
                    </a:rPr>
                    <a:t>ELEMENT THREE</a:t>
                  </a:r>
                </a:p>
                <a:p>
                  <a:pPr>
                    <a:lnSpc>
                      <a:spcPts val="1700"/>
                    </a:lnSpc>
                    <a:spcAft>
                      <a:spcPts val="400"/>
                    </a:spcAft>
                  </a:pPr>
                  <a:r>
                    <a:rPr lang="en-US" sz="1100" dirty="0">
                      <a:solidFill>
                        <a:schemeClr val="tx1"/>
                      </a:solidFill>
                      <a:latin typeface="Montserrat" panose="00000500000000000000" pitchFamily="50" charset="0"/>
                    </a:rPr>
                    <a:t>Modern and stylish mobile responsive, all our web development solutions</a:t>
                  </a:r>
                </a:p>
              </p:txBody>
            </p:sp>
            <p:sp>
              <p:nvSpPr>
                <p:cNvPr id="57" name="Rectangle: Rounded Corners 56">
                  <a:extLst>
                    <a:ext uri="{FF2B5EF4-FFF2-40B4-BE49-F238E27FC236}">
                      <a16:creationId xmlns:a16="http://schemas.microsoft.com/office/drawing/2014/main" id="{490FAB65-B707-4AC6-856E-D105239B81CE}"/>
                    </a:ext>
                  </a:extLst>
                </p:cNvPr>
                <p:cNvSpPr/>
                <p:nvPr/>
              </p:nvSpPr>
              <p:spPr>
                <a:xfrm>
                  <a:off x="6857009" y="1275519"/>
                  <a:ext cx="4372647" cy="1085953"/>
                </a:xfrm>
                <a:prstGeom prst="round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a:p>
              </p:txBody>
            </p:sp>
            <p:sp>
              <p:nvSpPr>
                <p:cNvPr id="58" name="TextBox 57">
                  <a:extLst>
                    <a:ext uri="{FF2B5EF4-FFF2-40B4-BE49-F238E27FC236}">
                      <a16:creationId xmlns:a16="http://schemas.microsoft.com/office/drawing/2014/main" id="{3DC55BD0-2FD6-4E64-9986-1B0D0CB24766}"/>
                    </a:ext>
                  </a:extLst>
                </p:cNvPr>
                <p:cNvSpPr txBox="1"/>
                <p:nvPr/>
              </p:nvSpPr>
              <p:spPr>
                <a:xfrm>
                  <a:off x="7038481" y="1640075"/>
                  <a:ext cx="336952" cy="356838"/>
                </a:xfrm>
                <a:prstGeom prst="rect">
                  <a:avLst/>
                </a:prstGeom>
                <a:noFill/>
              </p:spPr>
              <p:txBody>
                <a:bodyPr wrap="none" rtlCol="0" anchor="ctr" anchorCtr="0">
                  <a:spAutoFit/>
                </a:bodyPr>
                <a:lstStyle/>
                <a:p>
                  <a:r>
                    <a:rPr lang="en-US" sz="2000" b="1" dirty="0">
                      <a:solidFill>
                        <a:schemeClr val="accent4"/>
                      </a:solidFill>
                      <a:latin typeface="Montserrat" panose="00000500000000000000" pitchFamily="50" charset="0"/>
                    </a:rPr>
                    <a:t>3</a:t>
                  </a:r>
                </a:p>
              </p:txBody>
            </p:sp>
          </p:grpSp>
        </p:grpSp>
      </p:grpSp>
    </p:spTree>
    <p:extLst>
      <p:ext uri="{BB962C8B-B14F-4D97-AF65-F5344CB8AC3E}">
        <p14:creationId xmlns:p14="http://schemas.microsoft.com/office/powerpoint/2010/main" val="22111798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DADA1F93-191B-4F89-A061-DA9596FEB968}"/>
              </a:ext>
            </a:extLst>
          </p:cNvPr>
          <p:cNvGrpSpPr/>
          <p:nvPr/>
        </p:nvGrpSpPr>
        <p:grpSpPr>
          <a:xfrm flipH="1">
            <a:off x="1032693" y="1830142"/>
            <a:ext cx="2578592" cy="1025461"/>
            <a:chOff x="6498403" y="8514149"/>
            <a:chExt cx="2578592" cy="1025461"/>
          </a:xfrm>
        </p:grpSpPr>
        <p:sp>
          <p:nvSpPr>
            <p:cNvPr id="68" name="Rectangle 67">
              <a:extLst>
                <a:ext uri="{FF2B5EF4-FFF2-40B4-BE49-F238E27FC236}">
                  <a16:creationId xmlns:a16="http://schemas.microsoft.com/office/drawing/2014/main" id="{AD5AF95B-AF28-44A3-BD5E-EDE0FC332644}"/>
                </a:ext>
              </a:extLst>
            </p:cNvPr>
            <p:cNvSpPr/>
            <p:nvPr/>
          </p:nvSpPr>
          <p:spPr>
            <a:xfrm>
              <a:off x="6498404" y="8868657"/>
              <a:ext cx="2578591" cy="670953"/>
            </a:xfrm>
            <a:prstGeom prst="rect">
              <a:avLst/>
            </a:prstGeom>
          </p:spPr>
          <p:txBody>
            <a:bodyPr wrap="square" lIns="0" tIns="0" rIns="0" bIns="0">
              <a:spAutoFit/>
            </a:bodyPr>
            <a:lstStyle/>
            <a:p>
              <a:pPr algn="r">
                <a:lnSpc>
                  <a:spcPts val="1800"/>
                </a:lnSpc>
              </a:pPr>
              <a:r>
                <a:rPr lang="en-US" sz="1200" dirty="0">
                  <a:latin typeface="Montserrat" panose="00000500000000000000" pitchFamily="50" charset="0"/>
                </a:rPr>
                <a:t>It is one way to display an algorithm that only contains conditional control statements.</a:t>
              </a:r>
            </a:p>
          </p:txBody>
        </p:sp>
        <p:sp>
          <p:nvSpPr>
            <p:cNvPr id="69" name="Rectangle 68">
              <a:extLst>
                <a:ext uri="{FF2B5EF4-FFF2-40B4-BE49-F238E27FC236}">
                  <a16:creationId xmlns:a16="http://schemas.microsoft.com/office/drawing/2014/main" id="{F83E2976-8D7F-41B2-BFB7-A2D441C874F0}"/>
                </a:ext>
              </a:extLst>
            </p:cNvPr>
            <p:cNvSpPr/>
            <p:nvPr/>
          </p:nvSpPr>
          <p:spPr>
            <a:xfrm>
              <a:off x="6498403" y="8514149"/>
              <a:ext cx="1435922" cy="246221"/>
            </a:xfrm>
            <a:prstGeom prst="rect">
              <a:avLst/>
            </a:prstGeom>
          </p:spPr>
          <p:txBody>
            <a:bodyPr wrap="square" lIns="0" tIns="0" rIns="0" bIns="0" anchor="t">
              <a:spAutoFit/>
            </a:bodyPr>
            <a:lstStyle/>
            <a:p>
              <a:pPr algn="r"/>
              <a:r>
                <a:rPr lang="en-GB" sz="1600" b="1" dirty="0">
                  <a:solidFill>
                    <a:srgbClr val="7B84CF"/>
                  </a:solidFill>
                  <a:latin typeface="Montserrat" panose="00000500000000000000" pitchFamily="50" charset="0"/>
                </a:rPr>
                <a:t>Element One</a:t>
              </a:r>
            </a:p>
          </p:txBody>
        </p:sp>
      </p:grpSp>
      <p:sp>
        <p:nvSpPr>
          <p:cNvPr id="43" name="Freeform: Shape 42">
            <a:extLst>
              <a:ext uri="{FF2B5EF4-FFF2-40B4-BE49-F238E27FC236}">
                <a16:creationId xmlns:a16="http://schemas.microsoft.com/office/drawing/2014/main" id="{EFD47D9F-4537-45A8-9377-716307AD49C2}"/>
              </a:ext>
            </a:extLst>
          </p:cNvPr>
          <p:cNvSpPr/>
          <p:nvPr/>
        </p:nvSpPr>
        <p:spPr>
          <a:xfrm>
            <a:off x="5493515" y="2217009"/>
            <a:ext cx="3224125" cy="2934323"/>
          </a:xfrm>
          <a:custGeom>
            <a:avLst/>
            <a:gdLst>
              <a:gd name="connsiteX0" fmla="*/ 1181449 w 2362861"/>
              <a:gd name="connsiteY0" fmla="*/ 0 h 2150476"/>
              <a:gd name="connsiteX1" fmla="*/ 1518083 w 2362861"/>
              <a:gd name="connsiteY1" fmla="*/ 194359 h 2150476"/>
              <a:gd name="connsiteX2" fmla="*/ 2310781 w 2362861"/>
              <a:gd name="connsiteY2" fmla="*/ 1567367 h 2150476"/>
              <a:gd name="connsiteX3" fmla="*/ 2310781 w 2362861"/>
              <a:gd name="connsiteY3" fmla="*/ 1956121 h 2150476"/>
              <a:gd name="connsiteX4" fmla="*/ 1974151 w 2362861"/>
              <a:gd name="connsiteY4" fmla="*/ 2150476 h 2150476"/>
              <a:gd name="connsiteX5" fmla="*/ 388714 w 2362861"/>
              <a:gd name="connsiteY5" fmla="*/ 2150476 h 2150476"/>
              <a:gd name="connsiteX6" fmla="*/ 52083 w 2362861"/>
              <a:gd name="connsiteY6" fmla="*/ 1956121 h 2150476"/>
              <a:gd name="connsiteX7" fmla="*/ 52083 w 2362861"/>
              <a:gd name="connsiteY7" fmla="*/ 1567367 h 2150476"/>
              <a:gd name="connsiteX8" fmla="*/ 844782 w 2362861"/>
              <a:gd name="connsiteY8" fmla="*/ 194359 h 2150476"/>
              <a:gd name="connsiteX9" fmla="*/ 1181449 w 2362861"/>
              <a:gd name="connsiteY9" fmla="*/ 0 h 2150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2861" h="2150476">
                <a:moveTo>
                  <a:pt x="1181449" y="0"/>
                </a:moveTo>
                <a:cubicBezTo>
                  <a:pt x="1320296" y="0"/>
                  <a:pt x="1448635" y="74089"/>
                  <a:pt x="1518083" y="194359"/>
                </a:cubicBezTo>
                <a:cubicBezTo>
                  <a:pt x="1755820" y="606098"/>
                  <a:pt x="2073081" y="1155628"/>
                  <a:pt x="2310781" y="1567367"/>
                </a:cubicBezTo>
                <a:cubicBezTo>
                  <a:pt x="2380221" y="1687633"/>
                  <a:pt x="2380221" y="1835814"/>
                  <a:pt x="2310781" y="1956121"/>
                </a:cubicBezTo>
                <a:cubicBezTo>
                  <a:pt x="2241337" y="2076387"/>
                  <a:pt x="2113039" y="2150476"/>
                  <a:pt x="1974151" y="2150476"/>
                </a:cubicBezTo>
                <a:lnTo>
                  <a:pt x="388714" y="2150476"/>
                </a:lnTo>
                <a:cubicBezTo>
                  <a:pt x="249862" y="2150476"/>
                  <a:pt x="121523" y="2076387"/>
                  <a:pt x="52083" y="1956121"/>
                </a:cubicBezTo>
                <a:cubicBezTo>
                  <a:pt x="-17361" y="1835814"/>
                  <a:pt x="-17361" y="1687633"/>
                  <a:pt x="52083" y="1567367"/>
                </a:cubicBezTo>
                <a:cubicBezTo>
                  <a:pt x="289820" y="1155628"/>
                  <a:pt x="607081" y="606098"/>
                  <a:pt x="844782" y="194359"/>
                </a:cubicBezTo>
                <a:cubicBezTo>
                  <a:pt x="914226" y="74089"/>
                  <a:pt x="1042560" y="0"/>
                  <a:pt x="1181449" y="0"/>
                </a:cubicBezTo>
                <a:close/>
              </a:path>
            </a:pathLst>
          </a:custGeom>
          <a:gradFill>
            <a:gsLst>
              <a:gs pos="100000">
                <a:schemeClr val="accent4">
                  <a:alpha val="75000"/>
                </a:schemeClr>
              </a:gs>
              <a:gs pos="0">
                <a:schemeClr val="accent4">
                  <a:alpha val="25000"/>
                </a:schemeClr>
              </a:gs>
            </a:gsLst>
            <a:lin ang="2700000" scaled="0"/>
          </a:gradFill>
          <a:ln w="25400" cap="flat">
            <a:noFill/>
            <a:prstDash val="solid"/>
            <a:round/>
          </a:ln>
        </p:spPr>
        <p:txBody>
          <a:bodyPr wrap="square" rtlCol="0" anchor="ctr">
            <a:noAutofit/>
          </a:bodyPr>
          <a:lstStyle/>
          <a:p>
            <a:endParaRPr lang="en-US">
              <a:latin typeface="Montserrat" panose="00000500000000000000" pitchFamily="50" charset="0"/>
            </a:endParaRPr>
          </a:p>
        </p:txBody>
      </p:sp>
      <p:sp>
        <p:nvSpPr>
          <p:cNvPr id="42" name="Freeform: Shape 41">
            <a:extLst>
              <a:ext uri="{FF2B5EF4-FFF2-40B4-BE49-F238E27FC236}">
                <a16:creationId xmlns:a16="http://schemas.microsoft.com/office/drawing/2014/main" id="{D0FE1C09-6FC8-4FA6-8586-6FC8C70C15B5}"/>
              </a:ext>
            </a:extLst>
          </p:cNvPr>
          <p:cNvSpPr/>
          <p:nvPr/>
        </p:nvSpPr>
        <p:spPr>
          <a:xfrm>
            <a:off x="4483955" y="480894"/>
            <a:ext cx="3224125" cy="2934323"/>
          </a:xfrm>
          <a:custGeom>
            <a:avLst/>
            <a:gdLst>
              <a:gd name="connsiteX0" fmla="*/ 1181449 w 2362861"/>
              <a:gd name="connsiteY0" fmla="*/ 0 h 2150476"/>
              <a:gd name="connsiteX1" fmla="*/ 1518083 w 2362861"/>
              <a:gd name="connsiteY1" fmla="*/ 194359 h 2150476"/>
              <a:gd name="connsiteX2" fmla="*/ 2310781 w 2362861"/>
              <a:gd name="connsiteY2" fmla="*/ 1567367 h 2150476"/>
              <a:gd name="connsiteX3" fmla="*/ 2310781 w 2362861"/>
              <a:gd name="connsiteY3" fmla="*/ 1956121 h 2150476"/>
              <a:gd name="connsiteX4" fmla="*/ 1974151 w 2362861"/>
              <a:gd name="connsiteY4" fmla="*/ 2150476 h 2150476"/>
              <a:gd name="connsiteX5" fmla="*/ 388714 w 2362861"/>
              <a:gd name="connsiteY5" fmla="*/ 2150476 h 2150476"/>
              <a:gd name="connsiteX6" fmla="*/ 52083 w 2362861"/>
              <a:gd name="connsiteY6" fmla="*/ 1956121 h 2150476"/>
              <a:gd name="connsiteX7" fmla="*/ 52083 w 2362861"/>
              <a:gd name="connsiteY7" fmla="*/ 1567367 h 2150476"/>
              <a:gd name="connsiteX8" fmla="*/ 844782 w 2362861"/>
              <a:gd name="connsiteY8" fmla="*/ 194359 h 2150476"/>
              <a:gd name="connsiteX9" fmla="*/ 1181449 w 2362861"/>
              <a:gd name="connsiteY9" fmla="*/ 0 h 2150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2861" h="2150476">
                <a:moveTo>
                  <a:pt x="1181449" y="0"/>
                </a:moveTo>
                <a:cubicBezTo>
                  <a:pt x="1320296" y="0"/>
                  <a:pt x="1448635" y="74089"/>
                  <a:pt x="1518083" y="194359"/>
                </a:cubicBezTo>
                <a:cubicBezTo>
                  <a:pt x="1755820" y="606098"/>
                  <a:pt x="2073081" y="1155628"/>
                  <a:pt x="2310781" y="1567367"/>
                </a:cubicBezTo>
                <a:cubicBezTo>
                  <a:pt x="2380221" y="1687633"/>
                  <a:pt x="2380221" y="1835814"/>
                  <a:pt x="2310781" y="1956121"/>
                </a:cubicBezTo>
                <a:cubicBezTo>
                  <a:pt x="2241337" y="2076387"/>
                  <a:pt x="2113039" y="2150476"/>
                  <a:pt x="1974151" y="2150476"/>
                </a:cubicBezTo>
                <a:lnTo>
                  <a:pt x="388714" y="2150476"/>
                </a:lnTo>
                <a:cubicBezTo>
                  <a:pt x="249862" y="2150476"/>
                  <a:pt x="121523" y="2076387"/>
                  <a:pt x="52083" y="1956121"/>
                </a:cubicBezTo>
                <a:cubicBezTo>
                  <a:pt x="-17361" y="1835814"/>
                  <a:pt x="-17361" y="1687633"/>
                  <a:pt x="52083" y="1567367"/>
                </a:cubicBezTo>
                <a:cubicBezTo>
                  <a:pt x="289820" y="1155628"/>
                  <a:pt x="607081" y="606098"/>
                  <a:pt x="844782" y="194359"/>
                </a:cubicBezTo>
                <a:cubicBezTo>
                  <a:pt x="914226" y="74089"/>
                  <a:pt x="1042560" y="0"/>
                  <a:pt x="1181449" y="0"/>
                </a:cubicBezTo>
                <a:close/>
              </a:path>
            </a:pathLst>
          </a:custGeom>
          <a:gradFill>
            <a:gsLst>
              <a:gs pos="100000">
                <a:schemeClr val="accent1">
                  <a:alpha val="65000"/>
                </a:schemeClr>
              </a:gs>
              <a:gs pos="0">
                <a:schemeClr val="accent1">
                  <a:alpha val="25000"/>
                </a:schemeClr>
              </a:gs>
            </a:gsLst>
            <a:lin ang="16200000" scaled="0"/>
          </a:gradFill>
          <a:ln w="25400" cap="flat">
            <a:noFill/>
            <a:prstDash val="solid"/>
            <a:round/>
          </a:ln>
        </p:spPr>
        <p:txBody>
          <a:bodyPr wrap="square" rtlCol="0" anchor="ctr">
            <a:noAutofit/>
          </a:bodyPr>
          <a:lstStyle/>
          <a:p>
            <a:endParaRPr lang="en-US">
              <a:latin typeface="Montserrat" panose="00000500000000000000" pitchFamily="50" charset="0"/>
            </a:endParaRPr>
          </a:p>
        </p:txBody>
      </p:sp>
      <p:sp>
        <p:nvSpPr>
          <p:cNvPr id="44" name="Freeform: Shape 43">
            <a:extLst>
              <a:ext uri="{FF2B5EF4-FFF2-40B4-BE49-F238E27FC236}">
                <a16:creationId xmlns:a16="http://schemas.microsoft.com/office/drawing/2014/main" id="{5B3734FA-1D7D-423F-8DDD-ADEA16DEC3AB}"/>
              </a:ext>
            </a:extLst>
          </p:cNvPr>
          <p:cNvSpPr/>
          <p:nvPr/>
        </p:nvSpPr>
        <p:spPr>
          <a:xfrm>
            <a:off x="3474360" y="2217009"/>
            <a:ext cx="3224125" cy="2934323"/>
          </a:xfrm>
          <a:custGeom>
            <a:avLst/>
            <a:gdLst>
              <a:gd name="connsiteX0" fmla="*/ 1181449 w 2362861"/>
              <a:gd name="connsiteY0" fmla="*/ 0 h 2150476"/>
              <a:gd name="connsiteX1" fmla="*/ 1518083 w 2362861"/>
              <a:gd name="connsiteY1" fmla="*/ 194359 h 2150476"/>
              <a:gd name="connsiteX2" fmla="*/ 2310781 w 2362861"/>
              <a:gd name="connsiteY2" fmla="*/ 1567367 h 2150476"/>
              <a:gd name="connsiteX3" fmla="*/ 2310781 w 2362861"/>
              <a:gd name="connsiteY3" fmla="*/ 1956121 h 2150476"/>
              <a:gd name="connsiteX4" fmla="*/ 1974151 w 2362861"/>
              <a:gd name="connsiteY4" fmla="*/ 2150476 h 2150476"/>
              <a:gd name="connsiteX5" fmla="*/ 388713 w 2362861"/>
              <a:gd name="connsiteY5" fmla="*/ 2150476 h 2150476"/>
              <a:gd name="connsiteX6" fmla="*/ 52083 w 2362861"/>
              <a:gd name="connsiteY6" fmla="*/ 1956121 h 2150476"/>
              <a:gd name="connsiteX7" fmla="*/ 52083 w 2362861"/>
              <a:gd name="connsiteY7" fmla="*/ 1567367 h 2150476"/>
              <a:gd name="connsiteX8" fmla="*/ 844782 w 2362861"/>
              <a:gd name="connsiteY8" fmla="*/ 194359 h 2150476"/>
              <a:gd name="connsiteX9" fmla="*/ 1181449 w 2362861"/>
              <a:gd name="connsiteY9" fmla="*/ 0 h 2150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2861" h="2150476">
                <a:moveTo>
                  <a:pt x="1181449" y="0"/>
                </a:moveTo>
                <a:cubicBezTo>
                  <a:pt x="1320296" y="0"/>
                  <a:pt x="1448635" y="74089"/>
                  <a:pt x="1518083" y="194359"/>
                </a:cubicBezTo>
                <a:cubicBezTo>
                  <a:pt x="1755820" y="606098"/>
                  <a:pt x="2073081" y="1155628"/>
                  <a:pt x="2310781" y="1567367"/>
                </a:cubicBezTo>
                <a:cubicBezTo>
                  <a:pt x="2380221" y="1687633"/>
                  <a:pt x="2380221" y="1835814"/>
                  <a:pt x="2310781" y="1956121"/>
                </a:cubicBezTo>
                <a:cubicBezTo>
                  <a:pt x="2241337" y="2076387"/>
                  <a:pt x="2113039" y="2150476"/>
                  <a:pt x="1974151" y="2150476"/>
                </a:cubicBezTo>
                <a:lnTo>
                  <a:pt x="388713" y="2150476"/>
                </a:lnTo>
                <a:cubicBezTo>
                  <a:pt x="249862" y="2150476"/>
                  <a:pt x="121523" y="2076387"/>
                  <a:pt x="52083" y="1956121"/>
                </a:cubicBezTo>
                <a:cubicBezTo>
                  <a:pt x="-17361" y="1835814"/>
                  <a:pt x="-17361" y="1687633"/>
                  <a:pt x="52083" y="1567367"/>
                </a:cubicBezTo>
                <a:cubicBezTo>
                  <a:pt x="289820" y="1155628"/>
                  <a:pt x="607081" y="606098"/>
                  <a:pt x="844782" y="194359"/>
                </a:cubicBezTo>
                <a:cubicBezTo>
                  <a:pt x="914226" y="74089"/>
                  <a:pt x="1042560" y="0"/>
                  <a:pt x="1181449" y="0"/>
                </a:cubicBezTo>
                <a:close/>
              </a:path>
            </a:pathLst>
          </a:custGeom>
          <a:gradFill>
            <a:gsLst>
              <a:gs pos="100000">
                <a:schemeClr val="accent3">
                  <a:alpha val="75000"/>
                </a:schemeClr>
              </a:gs>
              <a:gs pos="0">
                <a:schemeClr val="accent3">
                  <a:alpha val="25000"/>
                </a:schemeClr>
              </a:gs>
            </a:gsLst>
            <a:lin ang="8100000" scaled="0"/>
          </a:gradFill>
          <a:ln w="25400" cap="flat">
            <a:noFill/>
            <a:prstDash val="solid"/>
            <a:round/>
          </a:ln>
        </p:spPr>
        <p:txBody>
          <a:bodyPr wrap="square" rtlCol="0" anchor="ctr">
            <a:noAutofit/>
          </a:bodyPr>
          <a:lstStyle/>
          <a:p>
            <a:endParaRPr lang="en-US">
              <a:latin typeface="Montserrat" panose="00000500000000000000" pitchFamily="50" charset="0"/>
            </a:endParaRPr>
          </a:p>
        </p:txBody>
      </p:sp>
      <p:grpSp>
        <p:nvGrpSpPr>
          <p:cNvPr id="2" name="Group 1">
            <a:extLst>
              <a:ext uri="{FF2B5EF4-FFF2-40B4-BE49-F238E27FC236}">
                <a16:creationId xmlns:a16="http://schemas.microsoft.com/office/drawing/2014/main" id="{45579A0F-1CF3-4E67-AEF5-A203F6B23F6C}"/>
              </a:ext>
            </a:extLst>
          </p:cNvPr>
          <p:cNvGrpSpPr/>
          <p:nvPr/>
        </p:nvGrpSpPr>
        <p:grpSpPr>
          <a:xfrm>
            <a:off x="4463058" y="2197876"/>
            <a:ext cx="3265573" cy="2972436"/>
            <a:chOff x="4463058" y="2197876"/>
            <a:chExt cx="3265573" cy="2972436"/>
          </a:xfrm>
        </p:grpSpPr>
        <p:sp>
          <p:nvSpPr>
            <p:cNvPr id="45" name="Freeform: Shape 44">
              <a:extLst>
                <a:ext uri="{FF2B5EF4-FFF2-40B4-BE49-F238E27FC236}">
                  <a16:creationId xmlns:a16="http://schemas.microsoft.com/office/drawing/2014/main" id="{F08742B2-4936-496F-B91C-B86EF5ED6CB6}"/>
                </a:ext>
              </a:extLst>
            </p:cNvPr>
            <p:cNvSpPr/>
            <p:nvPr/>
          </p:nvSpPr>
          <p:spPr>
            <a:xfrm>
              <a:off x="6095872" y="2197876"/>
              <a:ext cx="1632759" cy="1223771"/>
            </a:xfrm>
            <a:custGeom>
              <a:avLst/>
              <a:gdLst>
                <a:gd name="connsiteX0" fmla="*/ 178966 w 289446"/>
                <a:gd name="connsiteY0" fmla="*/ 0 h 216943"/>
                <a:gd name="connsiteX1" fmla="*/ 261461 w 289446"/>
                <a:gd name="connsiteY1" fmla="*/ 47624 h 216943"/>
                <a:gd name="connsiteX2" fmla="*/ 276721 w 289446"/>
                <a:gd name="connsiteY2" fmla="*/ 74063 h 216943"/>
                <a:gd name="connsiteX3" fmla="*/ 286252 w 289446"/>
                <a:gd name="connsiteY3" fmla="*/ 146256 h 216943"/>
                <a:gd name="connsiteX4" fmla="*/ 285065 w 289446"/>
                <a:gd name="connsiteY4" fmla="*/ 149806 h 216943"/>
                <a:gd name="connsiteX5" fmla="*/ 282287 w 289446"/>
                <a:gd name="connsiteY5" fmla="*/ 158005 h 216943"/>
                <a:gd name="connsiteX6" fmla="*/ 276721 w 289446"/>
                <a:gd name="connsiteY6" fmla="*/ 169320 h 216943"/>
                <a:gd name="connsiteX7" fmla="*/ 194236 w 289446"/>
                <a:gd name="connsiteY7" fmla="*/ 216943 h 216943"/>
                <a:gd name="connsiteX8" fmla="*/ 1263 w 289446"/>
                <a:gd name="connsiteY8" fmla="*/ 216943 h 216943"/>
                <a:gd name="connsiteX9" fmla="*/ 781 w 289446"/>
                <a:gd name="connsiteY9" fmla="*/ 216104 h 216943"/>
                <a:gd name="connsiteX10" fmla="*/ 0 w 289446"/>
                <a:gd name="connsiteY10" fmla="*/ 214744 h 216943"/>
                <a:gd name="connsiteX11" fmla="*/ 96482 w 289446"/>
                <a:gd name="connsiteY11" fmla="*/ 47624 h 216943"/>
                <a:gd name="connsiteX12" fmla="*/ 178966 w 289446"/>
                <a:gd name="connsiteY12" fmla="*/ 0 h 21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9446" h="216943">
                  <a:moveTo>
                    <a:pt x="178966" y="0"/>
                  </a:moveTo>
                  <a:cubicBezTo>
                    <a:pt x="212998" y="0"/>
                    <a:pt x="244445" y="18154"/>
                    <a:pt x="261461" y="47624"/>
                  </a:cubicBezTo>
                  <a:lnTo>
                    <a:pt x="276721" y="74063"/>
                  </a:lnTo>
                  <a:cubicBezTo>
                    <a:pt x="289483" y="96491"/>
                    <a:pt x="292618" y="122382"/>
                    <a:pt x="286252" y="146256"/>
                  </a:cubicBezTo>
                  <a:lnTo>
                    <a:pt x="285065" y="149806"/>
                  </a:lnTo>
                  <a:lnTo>
                    <a:pt x="282287" y="158005"/>
                  </a:lnTo>
                  <a:lnTo>
                    <a:pt x="276721" y="169320"/>
                  </a:lnTo>
                  <a:cubicBezTo>
                    <a:pt x="259706" y="198789"/>
                    <a:pt x="228268" y="216943"/>
                    <a:pt x="194236" y="216943"/>
                  </a:cubicBezTo>
                  <a:lnTo>
                    <a:pt x="1263" y="216943"/>
                  </a:lnTo>
                  <a:lnTo>
                    <a:pt x="781" y="216104"/>
                  </a:lnTo>
                  <a:lnTo>
                    <a:pt x="0" y="214744"/>
                  </a:lnTo>
                  <a:lnTo>
                    <a:pt x="96482" y="47624"/>
                  </a:lnTo>
                  <a:cubicBezTo>
                    <a:pt x="113497" y="18154"/>
                    <a:pt x="144944" y="0"/>
                    <a:pt x="178966" y="0"/>
                  </a:cubicBezTo>
                  <a:close/>
                </a:path>
              </a:pathLst>
            </a:custGeom>
            <a:solidFill>
              <a:schemeClr val="tx1">
                <a:alpha val="15000"/>
              </a:schemeClr>
            </a:solidFill>
            <a:ln w="25400" cap="flat">
              <a:solidFill>
                <a:schemeClr val="bg1"/>
              </a:solidFill>
              <a:prstDash val="solid"/>
              <a:round/>
            </a:ln>
          </p:spPr>
          <p:txBody>
            <a:bodyPr wrap="square" rtlCol="0" anchor="ctr">
              <a:noAutofit/>
            </a:bodyPr>
            <a:lstStyle/>
            <a:p>
              <a:endParaRPr lang="en-US" sz="800">
                <a:latin typeface="Montserrat" panose="00000500000000000000" pitchFamily="50" charset="0"/>
              </a:endParaRPr>
            </a:p>
          </p:txBody>
        </p:sp>
        <p:sp>
          <p:nvSpPr>
            <p:cNvPr id="46" name="Freeform: Shape 45">
              <a:extLst>
                <a:ext uri="{FF2B5EF4-FFF2-40B4-BE49-F238E27FC236}">
                  <a16:creationId xmlns:a16="http://schemas.microsoft.com/office/drawing/2014/main" id="{1581E913-BC9A-4F84-BBAC-F9C70C38FE91}"/>
                </a:ext>
              </a:extLst>
            </p:cNvPr>
            <p:cNvSpPr/>
            <p:nvPr/>
          </p:nvSpPr>
          <p:spPr>
            <a:xfrm>
              <a:off x="5472443" y="3421661"/>
              <a:ext cx="1246802" cy="1748651"/>
            </a:xfrm>
            <a:custGeom>
              <a:avLst/>
              <a:gdLst>
                <a:gd name="connsiteX0" fmla="*/ 109246 w 221026"/>
                <a:gd name="connsiteY0" fmla="*/ 0 h 309991"/>
                <a:gd name="connsiteX1" fmla="*/ 111783 w 221026"/>
                <a:gd name="connsiteY1" fmla="*/ 0 h 309991"/>
                <a:gd name="connsiteX2" fmla="*/ 208264 w 221026"/>
                <a:gd name="connsiteY2" fmla="*/ 167111 h 309991"/>
                <a:gd name="connsiteX3" fmla="*/ 208264 w 221026"/>
                <a:gd name="connsiteY3" fmla="*/ 262367 h 309991"/>
                <a:gd name="connsiteX4" fmla="*/ 201261 w 221026"/>
                <a:gd name="connsiteY4" fmla="*/ 272834 h 309991"/>
                <a:gd name="connsiteX5" fmla="*/ 195541 w 221026"/>
                <a:gd name="connsiteY5" fmla="*/ 279335 h 309991"/>
                <a:gd name="connsiteX6" fmla="*/ 193071 w 221026"/>
                <a:gd name="connsiteY6" fmla="*/ 282143 h 309991"/>
                <a:gd name="connsiteX7" fmla="*/ 125779 w 221026"/>
                <a:gd name="connsiteY7" fmla="*/ 309991 h 309991"/>
                <a:gd name="connsiteX8" fmla="*/ 95249 w 221026"/>
                <a:gd name="connsiteY8" fmla="*/ 309991 h 309991"/>
                <a:gd name="connsiteX9" fmla="*/ 12755 w 221026"/>
                <a:gd name="connsiteY9" fmla="*/ 262367 h 309991"/>
                <a:gd name="connsiteX10" fmla="*/ 12755 w 221026"/>
                <a:gd name="connsiteY10" fmla="*/ 167111 h 30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1026" h="309991">
                  <a:moveTo>
                    <a:pt x="109246" y="0"/>
                  </a:moveTo>
                  <a:lnTo>
                    <a:pt x="111783" y="0"/>
                  </a:lnTo>
                  <a:lnTo>
                    <a:pt x="208264" y="167111"/>
                  </a:lnTo>
                  <a:cubicBezTo>
                    <a:pt x="225280" y="196580"/>
                    <a:pt x="225280" y="232889"/>
                    <a:pt x="208264" y="262367"/>
                  </a:cubicBezTo>
                  <a:lnTo>
                    <a:pt x="201261" y="272834"/>
                  </a:lnTo>
                  <a:lnTo>
                    <a:pt x="195541" y="279335"/>
                  </a:lnTo>
                  <a:lnTo>
                    <a:pt x="193071" y="282143"/>
                  </a:lnTo>
                  <a:cubicBezTo>
                    <a:pt x="175708" y="299457"/>
                    <a:pt x="151960" y="309663"/>
                    <a:pt x="125779" y="309991"/>
                  </a:cubicBezTo>
                  <a:lnTo>
                    <a:pt x="95249" y="309991"/>
                  </a:lnTo>
                  <a:cubicBezTo>
                    <a:pt x="60841" y="309769"/>
                    <a:pt x="29674" y="291653"/>
                    <a:pt x="12755" y="262367"/>
                  </a:cubicBezTo>
                  <a:cubicBezTo>
                    <a:pt x="-4252" y="232889"/>
                    <a:pt x="-4252" y="196580"/>
                    <a:pt x="12755" y="167111"/>
                  </a:cubicBezTo>
                  <a:close/>
                </a:path>
              </a:pathLst>
            </a:custGeom>
            <a:solidFill>
              <a:schemeClr val="tx1">
                <a:alpha val="15000"/>
              </a:schemeClr>
            </a:solidFill>
            <a:ln w="25400" cap="flat">
              <a:solidFill>
                <a:schemeClr val="bg1"/>
              </a:solidFill>
              <a:prstDash val="solid"/>
              <a:round/>
            </a:ln>
          </p:spPr>
          <p:txBody>
            <a:bodyPr wrap="square" rtlCol="0" anchor="ctr">
              <a:noAutofit/>
            </a:bodyPr>
            <a:lstStyle/>
            <a:p>
              <a:endParaRPr lang="en-US" sz="800">
                <a:latin typeface="Montserrat" panose="00000500000000000000" pitchFamily="50" charset="0"/>
              </a:endParaRPr>
            </a:p>
          </p:txBody>
        </p:sp>
        <p:sp>
          <p:nvSpPr>
            <p:cNvPr id="47" name="Freeform: Shape 46">
              <a:extLst>
                <a:ext uri="{FF2B5EF4-FFF2-40B4-BE49-F238E27FC236}">
                  <a16:creationId xmlns:a16="http://schemas.microsoft.com/office/drawing/2014/main" id="{9D0CE16D-AC21-4307-B275-AEC0709CA7B2}"/>
                </a:ext>
              </a:extLst>
            </p:cNvPr>
            <p:cNvSpPr/>
            <p:nvPr/>
          </p:nvSpPr>
          <p:spPr>
            <a:xfrm>
              <a:off x="4463058" y="2197876"/>
              <a:ext cx="1639946" cy="1223771"/>
            </a:xfrm>
            <a:custGeom>
              <a:avLst/>
              <a:gdLst>
                <a:gd name="connsiteX0" fmla="*/ 110481 w 290720"/>
                <a:gd name="connsiteY0" fmla="*/ 0 h 216943"/>
                <a:gd name="connsiteX1" fmla="*/ 192966 w 290720"/>
                <a:gd name="connsiteY1" fmla="*/ 47624 h 216943"/>
                <a:gd name="connsiteX2" fmla="*/ 290720 w 290720"/>
                <a:gd name="connsiteY2" fmla="*/ 216943 h 216943"/>
                <a:gd name="connsiteX3" fmla="*/ 95211 w 290720"/>
                <a:gd name="connsiteY3" fmla="*/ 216943 h 216943"/>
                <a:gd name="connsiteX4" fmla="*/ 12726 w 290720"/>
                <a:gd name="connsiteY4" fmla="*/ 169320 h 216943"/>
                <a:gd name="connsiteX5" fmla="*/ 12726 w 290720"/>
                <a:gd name="connsiteY5" fmla="*/ 74063 h 216943"/>
                <a:gd name="connsiteX6" fmla="*/ 27986 w 290720"/>
                <a:gd name="connsiteY6" fmla="*/ 47624 h 216943"/>
                <a:gd name="connsiteX7" fmla="*/ 35134 w 290720"/>
                <a:gd name="connsiteY7" fmla="*/ 37051 h 216943"/>
                <a:gd name="connsiteX8" fmla="*/ 110481 w 290720"/>
                <a:gd name="connsiteY8" fmla="*/ 0 h 21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0720" h="216943">
                  <a:moveTo>
                    <a:pt x="110481" y="0"/>
                  </a:moveTo>
                  <a:cubicBezTo>
                    <a:pt x="144503" y="0"/>
                    <a:pt x="175949" y="18154"/>
                    <a:pt x="192966" y="47624"/>
                  </a:cubicBezTo>
                  <a:lnTo>
                    <a:pt x="290720" y="216943"/>
                  </a:lnTo>
                  <a:lnTo>
                    <a:pt x="95211" y="216943"/>
                  </a:lnTo>
                  <a:cubicBezTo>
                    <a:pt x="61179" y="216943"/>
                    <a:pt x="29742" y="198789"/>
                    <a:pt x="12726" y="169320"/>
                  </a:cubicBezTo>
                  <a:cubicBezTo>
                    <a:pt x="-4194" y="140024"/>
                    <a:pt x="-4290" y="103967"/>
                    <a:pt x="12726" y="74063"/>
                  </a:cubicBezTo>
                  <a:lnTo>
                    <a:pt x="27986" y="47624"/>
                  </a:lnTo>
                  <a:lnTo>
                    <a:pt x="35134" y="37051"/>
                  </a:lnTo>
                  <a:cubicBezTo>
                    <a:pt x="53259" y="13717"/>
                    <a:pt x="80895" y="0"/>
                    <a:pt x="110481" y="0"/>
                  </a:cubicBezTo>
                  <a:close/>
                </a:path>
              </a:pathLst>
            </a:custGeom>
            <a:solidFill>
              <a:schemeClr val="tx1">
                <a:alpha val="15000"/>
              </a:schemeClr>
            </a:solidFill>
            <a:ln w="25400" cap="flat">
              <a:solidFill>
                <a:schemeClr val="bg1"/>
              </a:solidFill>
              <a:prstDash val="solid"/>
              <a:round/>
            </a:ln>
          </p:spPr>
          <p:txBody>
            <a:bodyPr wrap="square" rtlCol="0" anchor="ctr">
              <a:noAutofit/>
            </a:bodyPr>
            <a:lstStyle/>
            <a:p>
              <a:endParaRPr lang="en-US" sz="800">
                <a:latin typeface="Montserrat" panose="00000500000000000000" pitchFamily="50" charset="0"/>
              </a:endParaRPr>
            </a:p>
          </p:txBody>
        </p:sp>
      </p:grpSp>
      <p:sp>
        <p:nvSpPr>
          <p:cNvPr id="54" name="Rectangle 32">
            <a:extLst>
              <a:ext uri="{FF2B5EF4-FFF2-40B4-BE49-F238E27FC236}">
                <a16:creationId xmlns:a16="http://schemas.microsoft.com/office/drawing/2014/main" id="{0E6F1F30-5329-4852-8110-1FC3B22D2AD8}"/>
              </a:ext>
            </a:extLst>
          </p:cNvPr>
          <p:cNvSpPr>
            <a:spLocks noChangeArrowheads="1"/>
          </p:cNvSpPr>
          <p:nvPr/>
        </p:nvSpPr>
        <p:spPr bwMode="auto">
          <a:xfrm rot="1800000">
            <a:off x="4759622" y="2689679"/>
            <a:ext cx="875609" cy="40745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algn="ctr" defTabSz="914172" eaLnBrk="0" fontAlgn="base" hangingPunct="0">
              <a:lnSpc>
                <a:spcPct val="85000"/>
              </a:lnSpc>
              <a:spcBef>
                <a:spcPct val="0"/>
              </a:spcBef>
              <a:spcAft>
                <a:spcPct val="0"/>
              </a:spcAft>
            </a:pPr>
            <a:r>
              <a:rPr lang="en-US" altLang="en-US" sz="1400" b="1" dirty="0">
                <a:solidFill>
                  <a:schemeClr val="bg1"/>
                </a:solidFill>
                <a:latin typeface="Montserrat" panose="00000500000000000000" pitchFamily="50" charset="0"/>
              </a:rPr>
              <a:t>Creative</a:t>
            </a:r>
          </a:p>
          <a:p>
            <a:pPr algn="ctr" defTabSz="914172" eaLnBrk="0" fontAlgn="base" hangingPunct="0">
              <a:lnSpc>
                <a:spcPct val="85000"/>
              </a:lnSpc>
              <a:spcBef>
                <a:spcPct val="0"/>
              </a:spcBef>
              <a:spcAft>
                <a:spcPct val="0"/>
              </a:spcAft>
            </a:pPr>
            <a:r>
              <a:rPr lang="en-US" altLang="en-US" sz="1400" b="1" dirty="0">
                <a:solidFill>
                  <a:schemeClr val="bg1"/>
                </a:solidFill>
                <a:latin typeface="Montserrat" panose="00000500000000000000" pitchFamily="50" charset="0"/>
              </a:rPr>
              <a:t>Genius</a:t>
            </a:r>
          </a:p>
        </p:txBody>
      </p:sp>
      <p:sp>
        <p:nvSpPr>
          <p:cNvPr id="55" name="Rectangle 32">
            <a:extLst>
              <a:ext uri="{FF2B5EF4-FFF2-40B4-BE49-F238E27FC236}">
                <a16:creationId xmlns:a16="http://schemas.microsoft.com/office/drawing/2014/main" id="{1D584421-500D-466E-AB43-307A22E7251E}"/>
              </a:ext>
            </a:extLst>
          </p:cNvPr>
          <p:cNvSpPr>
            <a:spLocks noChangeArrowheads="1"/>
          </p:cNvSpPr>
          <p:nvPr/>
        </p:nvSpPr>
        <p:spPr bwMode="auto">
          <a:xfrm rot="19800000">
            <a:off x="6536667" y="2689679"/>
            <a:ext cx="1093174" cy="40745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algn="ctr" defTabSz="914172" eaLnBrk="0" fontAlgn="base" hangingPunct="0">
              <a:lnSpc>
                <a:spcPct val="85000"/>
              </a:lnSpc>
              <a:spcBef>
                <a:spcPct val="0"/>
              </a:spcBef>
              <a:spcAft>
                <a:spcPct val="0"/>
              </a:spcAft>
            </a:pPr>
            <a:r>
              <a:rPr lang="en-US" altLang="en-US" sz="1400" b="1" dirty="0">
                <a:solidFill>
                  <a:schemeClr val="bg1"/>
                </a:solidFill>
                <a:latin typeface="Montserrat" panose="00000500000000000000" pitchFamily="50" charset="0"/>
              </a:rPr>
              <a:t>High Rank</a:t>
            </a:r>
          </a:p>
          <a:p>
            <a:pPr algn="ctr" defTabSz="914172" eaLnBrk="0" fontAlgn="base" hangingPunct="0">
              <a:lnSpc>
                <a:spcPct val="85000"/>
              </a:lnSpc>
              <a:spcBef>
                <a:spcPct val="0"/>
              </a:spcBef>
              <a:spcAft>
                <a:spcPct val="0"/>
              </a:spcAft>
            </a:pPr>
            <a:r>
              <a:rPr lang="en-US" altLang="en-US" sz="1400" b="1" dirty="0">
                <a:solidFill>
                  <a:schemeClr val="bg1"/>
                </a:solidFill>
                <a:latin typeface="Montserrat" panose="00000500000000000000" pitchFamily="50" charset="0"/>
              </a:rPr>
              <a:t>Officer</a:t>
            </a:r>
          </a:p>
        </p:txBody>
      </p:sp>
      <p:sp>
        <p:nvSpPr>
          <p:cNvPr id="56" name="Rectangle 32">
            <a:extLst>
              <a:ext uri="{FF2B5EF4-FFF2-40B4-BE49-F238E27FC236}">
                <a16:creationId xmlns:a16="http://schemas.microsoft.com/office/drawing/2014/main" id="{18D477C5-7739-4F40-80A5-7B446B76A165}"/>
              </a:ext>
            </a:extLst>
          </p:cNvPr>
          <p:cNvSpPr>
            <a:spLocks noChangeArrowheads="1"/>
          </p:cNvSpPr>
          <p:nvPr/>
        </p:nvSpPr>
        <p:spPr bwMode="auto">
          <a:xfrm>
            <a:off x="5734721" y="4269717"/>
            <a:ext cx="722244" cy="40745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algn="ctr" defTabSz="914172" eaLnBrk="0" fontAlgn="base" hangingPunct="0">
              <a:lnSpc>
                <a:spcPct val="85000"/>
              </a:lnSpc>
              <a:spcBef>
                <a:spcPct val="0"/>
              </a:spcBef>
              <a:spcAft>
                <a:spcPct val="0"/>
              </a:spcAft>
            </a:pPr>
            <a:r>
              <a:rPr lang="en-US" altLang="en-US" sz="1400" b="1" dirty="0">
                <a:solidFill>
                  <a:schemeClr val="bg1"/>
                </a:solidFill>
                <a:latin typeface="Montserrat" panose="00000500000000000000" pitchFamily="50" charset="0"/>
              </a:rPr>
              <a:t>Great</a:t>
            </a:r>
          </a:p>
          <a:p>
            <a:pPr algn="ctr" defTabSz="914172" eaLnBrk="0" fontAlgn="base" hangingPunct="0">
              <a:lnSpc>
                <a:spcPct val="85000"/>
              </a:lnSpc>
              <a:spcBef>
                <a:spcPct val="0"/>
              </a:spcBef>
              <a:spcAft>
                <a:spcPct val="0"/>
              </a:spcAft>
            </a:pPr>
            <a:r>
              <a:rPr lang="en-US" altLang="en-US" sz="1400" b="1" dirty="0">
                <a:solidFill>
                  <a:schemeClr val="bg1"/>
                </a:solidFill>
                <a:latin typeface="Montserrat" panose="00000500000000000000" pitchFamily="50" charset="0"/>
              </a:rPr>
              <a:t>Leader</a:t>
            </a:r>
          </a:p>
        </p:txBody>
      </p:sp>
      <p:sp>
        <p:nvSpPr>
          <p:cNvPr id="58" name="TextBox 57">
            <a:extLst>
              <a:ext uri="{FF2B5EF4-FFF2-40B4-BE49-F238E27FC236}">
                <a16:creationId xmlns:a16="http://schemas.microsoft.com/office/drawing/2014/main" id="{BF155FC9-2EA6-4631-867E-FFE1BFBC1647}"/>
              </a:ext>
            </a:extLst>
          </p:cNvPr>
          <p:cNvSpPr txBox="1">
            <a:spLocks noChangeAspect="1"/>
          </p:cNvSpPr>
          <p:nvPr/>
        </p:nvSpPr>
        <p:spPr>
          <a:xfrm>
            <a:off x="5845106" y="5296074"/>
            <a:ext cx="501789" cy="501784"/>
          </a:xfrm>
          <a:prstGeom prst="ellipse">
            <a:avLst/>
          </a:prstGeom>
          <a:solidFill>
            <a:schemeClr val="tx2">
              <a:lumMod val="20000"/>
              <a:lumOff val="80000"/>
            </a:schemeClr>
          </a:solidFill>
          <a:ln w="9525">
            <a:noFill/>
            <a:prstDash val="dash"/>
          </a:ln>
          <a:effectLst/>
        </p:spPr>
        <p:txBody>
          <a:bodyPr wrap="none" lIns="0" tIns="0" rIns="0" bIns="0" rtlCol="0" anchor="ctr" anchorCtr="1">
            <a:noAutofit/>
          </a:bodyPr>
          <a:lstStyle>
            <a:defPPr>
              <a:defRPr lang="en-US"/>
            </a:defPPr>
            <a:lvl1pPr algn="ctr">
              <a:lnSpc>
                <a:spcPct val="110000"/>
              </a:lnSpc>
              <a:defRPr sz="1400">
                <a:solidFill>
                  <a:schemeClr val="tx1">
                    <a:lumMod val="10000"/>
                    <a:lumOff val="90000"/>
                  </a:schemeClr>
                </a:solidFill>
                <a:effectLst>
                  <a:outerShdw blurRad="38100" dist="38100" dir="2700000" algn="tl">
                    <a:srgbClr val="000000">
                      <a:alpha val="43137"/>
                    </a:srgbClr>
                  </a:outerShdw>
                </a:effectLst>
                <a:latin typeface="Montserrat" panose="00000500000000000000" pitchFamily="50" charset="0"/>
              </a:defRPr>
            </a:lvl1pPr>
          </a:lstStyle>
          <a:p>
            <a:r>
              <a:rPr lang="en-US" sz="1300" b="1" dirty="0">
                <a:solidFill>
                  <a:schemeClr val="tx2"/>
                </a:solidFill>
                <a:effectLst/>
              </a:rPr>
              <a:t>03</a:t>
            </a:r>
            <a:endParaRPr lang="ru-RU" sz="1300" b="1" dirty="0">
              <a:solidFill>
                <a:schemeClr val="tx2"/>
              </a:solidFill>
              <a:effectLst/>
            </a:endParaRPr>
          </a:p>
        </p:txBody>
      </p:sp>
      <p:sp>
        <p:nvSpPr>
          <p:cNvPr id="57" name="TextBox 56">
            <a:extLst>
              <a:ext uri="{FF2B5EF4-FFF2-40B4-BE49-F238E27FC236}">
                <a16:creationId xmlns:a16="http://schemas.microsoft.com/office/drawing/2014/main" id="{5D5549C9-3B22-4084-8605-6AD753040195}"/>
              </a:ext>
            </a:extLst>
          </p:cNvPr>
          <p:cNvSpPr txBox="1">
            <a:spLocks noChangeAspect="1"/>
          </p:cNvSpPr>
          <p:nvPr/>
        </p:nvSpPr>
        <p:spPr>
          <a:xfrm>
            <a:off x="7699231" y="2091981"/>
            <a:ext cx="501789" cy="501784"/>
          </a:xfrm>
          <a:prstGeom prst="ellipse">
            <a:avLst/>
          </a:prstGeom>
          <a:solidFill>
            <a:schemeClr val="tx2">
              <a:lumMod val="20000"/>
              <a:lumOff val="80000"/>
            </a:schemeClr>
          </a:solidFill>
          <a:ln w="9525">
            <a:noFill/>
            <a:prstDash val="dash"/>
          </a:ln>
          <a:effectLst/>
        </p:spPr>
        <p:txBody>
          <a:bodyPr wrap="none" lIns="0" tIns="0" rIns="0" bIns="0" rtlCol="0" anchor="ctr" anchorCtr="1">
            <a:noAutofit/>
          </a:bodyPr>
          <a:lstStyle/>
          <a:p>
            <a:pPr algn="ctr">
              <a:lnSpc>
                <a:spcPct val="110000"/>
              </a:lnSpc>
            </a:pPr>
            <a:r>
              <a:rPr lang="en-US" sz="1300" b="1" dirty="0">
                <a:solidFill>
                  <a:schemeClr val="tx2"/>
                </a:solidFill>
                <a:latin typeface="Montserrat" panose="00000500000000000000" pitchFamily="50" charset="0"/>
              </a:rPr>
              <a:t>02</a:t>
            </a:r>
            <a:endParaRPr lang="ru-RU" sz="1300" b="1" dirty="0">
              <a:solidFill>
                <a:schemeClr val="tx2"/>
              </a:solidFill>
              <a:latin typeface="Montserrat" panose="00000500000000000000" pitchFamily="50" charset="0"/>
            </a:endParaRPr>
          </a:p>
        </p:txBody>
      </p:sp>
      <p:sp>
        <p:nvSpPr>
          <p:cNvPr id="61" name="TextBox 60">
            <a:extLst>
              <a:ext uri="{FF2B5EF4-FFF2-40B4-BE49-F238E27FC236}">
                <a16:creationId xmlns:a16="http://schemas.microsoft.com/office/drawing/2014/main" id="{4FD6FBDA-7AA0-4DEB-B88F-21B3A0EA1C46}"/>
              </a:ext>
            </a:extLst>
          </p:cNvPr>
          <p:cNvSpPr txBox="1">
            <a:spLocks noChangeAspect="1"/>
          </p:cNvSpPr>
          <p:nvPr/>
        </p:nvSpPr>
        <p:spPr>
          <a:xfrm>
            <a:off x="3990981" y="2091981"/>
            <a:ext cx="501789" cy="501784"/>
          </a:xfrm>
          <a:prstGeom prst="ellipse">
            <a:avLst/>
          </a:prstGeom>
          <a:solidFill>
            <a:schemeClr val="tx2">
              <a:lumMod val="20000"/>
              <a:lumOff val="80000"/>
            </a:schemeClr>
          </a:solidFill>
          <a:ln w="9525">
            <a:noFill/>
            <a:prstDash val="dash"/>
          </a:ln>
          <a:effectLst/>
        </p:spPr>
        <p:txBody>
          <a:bodyPr wrap="none" lIns="0" tIns="0" rIns="0" bIns="0" rtlCol="0" anchor="ctr" anchorCtr="1">
            <a:noAutofit/>
          </a:bodyPr>
          <a:lstStyle/>
          <a:p>
            <a:pPr algn="ctr">
              <a:lnSpc>
                <a:spcPct val="110000"/>
              </a:lnSpc>
            </a:pPr>
            <a:r>
              <a:rPr lang="en-US" sz="1300" b="1" dirty="0">
                <a:solidFill>
                  <a:schemeClr val="tx2"/>
                </a:solidFill>
                <a:latin typeface="Montserrat" panose="00000500000000000000" pitchFamily="50" charset="0"/>
              </a:rPr>
              <a:t>01</a:t>
            </a:r>
            <a:endParaRPr lang="ru-RU" sz="1300" b="1" dirty="0">
              <a:solidFill>
                <a:schemeClr val="tx2"/>
              </a:solidFill>
              <a:latin typeface="Montserrat" panose="00000500000000000000" pitchFamily="50" charset="0"/>
            </a:endParaRPr>
          </a:p>
        </p:txBody>
      </p:sp>
      <p:grpSp>
        <p:nvGrpSpPr>
          <p:cNvPr id="5" name="Group 4">
            <a:extLst>
              <a:ext uri="{FF2B5EF4-FFF2-40B4-BE49-F238E27FC236}">
                <a16:creationId xmlns:a16="http://schemas.microsoft.com/office/drawing/2014/main" id="{FD2FB0B9-21C5-45B7-81CE-2FE0CA14F26A}"/>
              </a:ext>
            </a:extLst>
          </p:cNvPr>
          <p:cNvGrpSpPr/>
          <p:nvPr/>
        </p:nvGrpSpPr>
        <p:grpSpPr>
          <a:xfrm>
            <a:off x="3990980" y="4068409"/>
            <a:ext cx="1117710" cy="772507"/>
            <a:chOff x="1718926" y="4501067"/>
            <a:chExt cx="1004696" cy="694398"/>
          </a:xfrm>
        </p:grpSpPr>
        <p:sp>
          <p:nvSpPr>
            <p:cNvPr id="48" name="Rectangle 47">
              <a:extLst>
                <a:ext uri="{FF2B5EF4-FFF2-40B4-BE49-F238E27FC236}">
                  <a16:creationId xmlns:a16="http://schemas.microsoft.com/office/drawing/2014/main" id="{1CE42083-1217-42B1-8D2A-CB438C68210B}"/>
                </a:ext>
              </a:extLst>
            </p:cNvPr>
            <p:cNvSpPr/>
            <p:nvPr/>
          </p:nvSpPr>
          <p:spPr>
            <a:xfrm>
              <a:off x="1718926" y="4749317"/>
              <a:ext cx="1004696" cy="446148"/>
            </a:xfrm>
            <a:prstGeom prst="rect">
              <a:avLst/>
            </a:prstGeom>
          </p:spPr>
          <p:txBody>
            <a:bodyPr wrap="square" lIns="0" tIns="0" rIns="0" bIns="0">
              <a:spAutoFit/>
            </a:bodyPr>
            <a:lstStyle/>
            <a:p>
              <a:pPr>
                <a:lnSpc>
                  <a:spcPts val="1800"/>
                </a:lnSpc>
              </a:pPr>
              <a:r>
                <a:rPr lang="en-US" sz="1400" b="1" dirty="0">
                  <a:solidFill>
                    <a:schemeClr val="bg1"/>
                  </a:solidFill>
                  <a:latin typeface="Montserrat" panose="00000500000000000000" pitchFamily="50" charset="0"/>
                </a:rPr>
                <a:t>Savvy</a:t>
              </a:r>
            </a:p>
            <a:p>
              <a:pPr>
                <a:lnSpc>
                  <a:spcPts val="1800"/>
                </a:lnSpc>
              </a:pPr>
              <a:r>
                <a:rPr lang="en-US" sz="1400" b="1" dirty="0">
                  <a:solidFill>
                    <a:schemeClr val="bg1"/>
                  </a:solidFill>
                  <a:latin typeface="Montserrat" panose="00000500000000000000" pitchFamily="50" charset="0"/>
                </a:rPr>
                <a:t>Genius</a:t>
              </a:r>
            </a:p>
          </p:txBody>
        </p:sp>
        <p:sp>
          <p:nvSpPr>
            <p:cNvPr id="49" name="Rectangle 32">
              <a:extLst>
                <a:ext uri="{FF2B5EF4-FFF2-40B4-BE49-F238E27FC236}">
                  <a16:creationId xmlns:a16="http://schemas.microsoft.com/office/drawing/2014/main" id="{5BE4D2B4-F0D1-48E2-BA70-A5FB0A7748E7}"/>
                </a:ext>
              </a:extLst>
            </p:cNvPr>
            <p:cNvSpPr>
              <a:spLocks noChangeArrowheads="1"/>
            </p:cNvSpPr>
            <p:nvPr/>
          </p:nvSpPr>
          <p:spPr bwMode="auto">
            <a:xfrm>
              <a:off x="1718926" y="4501067"/>
              <a:ext cx="414985" cy="1363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defTabSz="914172" eaLnBrk="0" fontAlgn="base" hangingPunct="0">
                <a:lnSpc>
                  <a:spcPct val="75000"/>
                </a:lnSpc>
                <a:spcBef>
                  <a:spcPct val="0"/>
                </a:spcBef>
                <a:spcAft>
                  <a:spcPct val="0"/>
                </a:spcAft>
              </a:pPr>
              <a:r>
                <a:rPr lang="en-US" altLang="en-US" sz="1300" spc="-75" dirty="0">
                  <a:solidFill>
                    <a:schemeClr val="bg1"/>
                  </a:solidFill>
                  <a:latin typeface="Montserrat" panose="00000500000000000000" pitchFamily="50" charset="0"/>
                </a:rPr>
                <a:t>Talent</a:t>
              </a:r>
            </a:p>
          </p:txBody>
        </p:sp>
      </p:grpSp>
      <p:grpSp>
        <p:nvGrpSpPr>
          <p:cNvPr id="64" name="Group 63">
            <a:extLst>
              <a:ext uri="{FF2B5EF4-FFF2-40B4-BE49-F238E27FC236}">
                <a16:creationId xmlns:a16="http://schemas.microsoft.com/office/drawing/2014/main" id="{6A76751D-A5A1-4ACA-84FB-0FE0AAF60D4B}"/>
              </a:ext>
            </a:extLst>
          </p:cNvPr>
          <p:cNvGrpSpPr/>
          <p:nvPr/>
        </p:nvGrpSpPr>
        <p:grpSpPr>
          <a:xfrm>
            <a:off x="7083310" y="4068409"/>
            <a:ext cx="1117710" cy="772507"/>
            <a:chOff x="1718926" y="4501067"/>
            <a:chExt cx="1004696" cy="694398"/>
          </a:xfrm>
        </p:grpSpPr>
        <p:sp>
          <p:nvSpPr>
            <p:cNvPr id="74" name="Rectangle 73">
              <a:extLst>
                <a:ext uri="{FF2B5EF4-FFF2-40B4-BE49-F238E27FC236}">
                  <a16:creationId xmlns:a16="http://schemas.microsoft.com/office/drawing/2014/main" id="{36B83F4C-9F15-42EB-8D07-3A25FD9F3D91}"/>
                </a:ext>
              </a:extLst>
            </p:cNvPr>
            <p:cNvSpPr/>
            <p:nvPr/>
          </p:nvSpPr>
          <p:spPr>
            <a:xfrm>
              <a:off x="1718926" y="4749317"/>
              <a:ext cx="1004696" cy="446148"/>
            </a:xfrm>
            <a:prstGeom prst="rect">
              <a:avLst/>
            </a:prstGeom>
          </p:spPr>
          <p:txBody>
            <a:bodyPr wrap="square" lIns="0" tIns="0" rIns="0" bIns="0">
              <a:spAutoFit/>
            </a:bodyPr>
            <a:lstStyle/>
            <a:p>
              <a:pPr algn="r">
                <a:lnSpc>
                  <a:spcPts val="1800"/>
                </a:lnSpc>
              </a:pPr>
              <a:r>
                <a:rPr lang="en-US" sz="1400" b="1" dirty="0">
                  <a:solidFill>
                    <a:schemeClr val="bg1"/>
                  </a:solidFill>
                  <a:latin typeface="Montserrat" panose="00000500000000000000" pitchFamily="50" charset="0"/>
                </a:rPr>
                <a:t>Strong Brave</a:t>
              </a:r>
            </a:p>
          </p:txBody>
        </p:sp>
        <p:sp>
          <p:nvSpPr>
            <p:cNvPr id="75" name="Rectangle 32">
              <a:extLst>
                <a:ext uri="{FF2B5EF4-FFF2-40B4-BE49-F238E27FC236}">
                  <a16:creationId xmlns:a16="http://schemas.microsoft.com/office/drawing/2014/main" id="{F6BF5A95-7064-4544-8FF5-952254EA5743}"/>
                </a:ext>
              </a:extLst>
            </p:cNvPr>
            <p:cNvSpPr>
              <a:spLocks noChangeArrowheads="1"/>
            </p:cNvSpPr>
            <p:nvPr/>
          </p:nvSpPr>
          <p:spPr bwMode="auto">
            <a:xfrm>
              <a:off x="2053594" y="4501067"/>
              <a:ext cx="670028" cy="1363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algn="r" defTabSz="914172" eaLnBrk="0" fontAlgn="base" hangingPunct="0">
                <a:lnSpc>
                  <a:spcPct val="75000"/>
                </a:lnSpc>
                <a:spcBef>
                  <a:spcPct val="0"/>
                </a:spcBef>
                <a:spcAft>
                  <a:spcPct val="0"/>
                </a:spcAft>
              </a:pPr>
              <a:r>
                <a:rPr lang="en-US" altLang="en-US" sz="1300" spc="-75" dirty="0">
                  <a:solidFill>
                    <a:schemeClr val="bg1"/>
                  </a:solidFill>
                  <a:latin typeface="Montserrat" panose="00000500000000000000" pitchFamily="50" charset="0"/>
                </a:rPr>
                <a:t>Confident</a:t>
              </a:r>
            </a:p>
          </p:txBody>
        </p:sp>
      </p:grpSp>
      <p:grpSp>
        <p:nvGrpSpPr>
          <p:cNvPr id="76" name="Group 75">
            <a:extLst>
              <a:ext uri="{FF2B5EF4-FFF2-40B4-BE49-F238E27FC236}">
                <a16:creationId xmlns:a16="http://schemas.microsoft.com/office/drawing/2014/main" id="{E807F53E-5B9C-4CE3-9B1D-311A2B82A6A4}"/>
              </a:ext>
            </a:extLst>
          </p:cNvPr>
          <p:cNvGrpSpPr/>
          <p:nvPr/>
        </p:nvGrpSpPr>
        <p:grpSpPr>
          <a:xfrm>
            <a:off x="5537162" y="1444502"/>
            <a:ext cx="1117710" cy="772507"/>
            <a:chOff x="1718926" y="4632252"/>
            <a:chExt cx="1004696" cy="694398"/>
          </a:xfrm>
        </p:grpSpPr>
        <p:sp>
          <p:nvSpPr>
            <p:cNvPr id="77" name="Rectangle 76">
              <a:extLst>
                <a:ext uri="{FF2B5EF4-FFF2-40B4-BE49-F238E27FC236}">
                  <a16:creationId xmlns:a16="http://schemas.microsoft.com/office/drawing/2014/main" id="{0471D8B7-5962-48D6-A43E-C402301AF826}"/>
                </a:ext>
              </a:extLst>
            </p:cNvPr>
            <p:cNvSpPr/>
            <p:nvPr/>
          </p:nvSpPr>
          <p:spPr>
            <a:xfrm>
              <a:off x="1718926" y="4880502"/>
              <a:ext cx="1004696" cy="446148"/>
            </a:xfrm>
            <a:prstGeom prst="rect">
              <a:avLst/>
            </a:prstGeom>
          </p:spPr>
          <p:txBody>
            <a:bodyPr wrap="square" lIns="0" tIns="0" rIns="0" bIns="0">
              <a:spAutoFit/>
            </a:bodyPr>
            <a:lstStyle/>
            <a:p>
              <a:pPr algn="ctr">
                <a:lnSpc>
                  <a:spcPts val="1800"/>
                </a:lnSpc>
              </a:pPr>
              <a:r>
                <a:rPr lang="en-US" sz="1400" b="1" dirty="0">
                  <a:solidFill>
                    <a:schemeClr val="bg1"/>
                  </a:solidFill>
                  <a:latin typeface="Montserrat" panose="00000500000000000000" pitchFamily="50" charset="0"/>
                </a:rPr>
                <a:t>Ability Power</a:t>
              </a:r>
            </a:p>
          </p:txBody>
        </p:sp>
        <p:sp>
          <p:nvSpPr>
            <p:cNvPr id="84" name="Rectangle 32">
              <a:extLst>
                <a:ext uri="{FF2B5EF4-FFF2-40B4-BE49-F238E27FC236}">
                  <a16:creationId xmlns:a16="http://schemas.microsoft.com/office/drawing/2014/main" id="{06CF67D8-B2AE-4C8D-A195-E825551B6882}"/>
                </a:ext>
              </a:extLst>
            </p:cNvPr>
            <p:cNvSpPr>
              <a:spLocks noChangeArrowheads="1"/>
            </p:cNvSpPr>
            <p:nvPr/>
          </p:nvSpPr>
          <p:spPr bwMode="auto">
            <a:xfrm>
              <a:off x="1918682" y="4632252"/>
              <a:ext cx="605186" cy="1363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algn="ctr" defTabSz="914172" eaLnBrk="0" fontAlgn="base" hangingPunct="0">
                <a:lnSpc>
                  <a:spcPct val="75000"/>
                </a:lnSpc>
                <a:spcBef>
                  <a:spcPct val="0"/>
                </a:spcBef>
                <a:spcAft>
                  <a:spcPct val="0"/>
                </a:spcAft>
              </a:pPr>
              <a:r>
                <a:rPr lang="en-US" altLang="en-US" sz="1300" spc="-75" dirty="0">
                  <a:solidFill>
                    <a:schemeClr val="bg1"/>
                  </a:solidFill>
                  <a:latin typeface="Montserrat" panose="00000500000000000000" pitchFamily="50" charset="0"/>
                </a:rPr>
                <a:t>Potential</a:t>
              </a:r>
            </a:p>
          </p:txBody>
        </p:sp>
      </p:grpSp>
      <p:sp>
        <p:nvSpPr>
          <p:cNvPr id="95" name="TextBox 94">
            <a:extLst>
              <a:ext uri="{FF2B5EF4-FFF2-40B4-BE49-F238E27FC236}">
                <a16:creationId xmlns:a16="http://schemas.microsoft.com/office/drawing/2014/main" id="{6FC6C143-54A9-460D-B101-625D6B9F7D96}"/>
              </a:ext>
            </a:extLst>
          </p:cNvPr>
          <p:cNvSpPr txBox="1"/>
          <p:nvPr/>
        </p:nvSpPr>
        <p:spPr>
          <a:xfrm>
            <a:off x="683195" y="584926"/>
            <a:ext cx="3440365" cy="553998"/>
          </a:xfrm>
          <a:prstGeom prst="rect">
            <a:avLst/>
          </a:prstGeom>
          <a:noFill/>
        </p:spPr>
        <p:txBody>
          <a:bodyPr wrap="none" rtlCol="0">
            <a:spAutoFit/>
          </a:bodyPr>
          <a:lstStyle/>
          <a:p>
            <a:r>
              <a:rPr lang="en-US" sz="3000" b="1" dirty="0">
                <a:solidFill>
                  <a:schemeClr val="tx2">
                    <a:lumMod val="40000"/>
                    <a:lumOff val="60000"/>
                  </a:schemeClr>
                </a:solidFill>
                <a:latin typeface="Montserrat" panose="00000500000000000000" pitchFamily="50" charset="0"/>
              </a:rPr>
              <a:t>VENN DIAGRAM</a:t>
            </a:r>
          </a:p>
        </p:txBody>
      </p:sp>
      <p:grpSp>
        <p:nvGrpSpPr>
          <p:cNvPr id="96" name="Group 95">
            <a:extLst>
              <a:ext uri="{FF2B5EF4-FFF2-40B4-BE49-F238E27FC236}">
                <a16:creationId xmlns:a16="http://schemas.microsoft.com/office/drawing/2014/main" id="{44A32EF6-35B3-4C9E-A1EA-7AD0DA46AD3C}"/>
              </a:ext>
            </a:extLst>
          </p:cNvPr>
          <p:cNvGrpSpPr/>
          <p:nvPr/>
        </p:nvGrpSpPr>
        <p:grpSpPr>
          <a:xfrm>
            <a:off x="8566105" y="1830142"/>
            <a:ext cx="2578592" cy="1025461"/>
            <a:chOff x="6498403" y="8514149"/>
            <a:chExt cx="2578592" cy="1025461"/>
          </a:xfrm>
        </p:grpSpPr>
        <p:sp>
          <p:nvSpPr>
            <p:cNvPr id="97" name="Rectangle 96">
              <a:extLst>
                <a:ext uri="{FF2B5EF4-FFF2-40B4-BE49-F238E27FC236}">
                  <a16:creationId xmlns:a16="http://schemas.microsoft.com/office/drawing/2014/main" id="{CE550E2A-2330-4EF3-852D-626031C6A90F}"/>
                </a:ext>
              </a:extLst>
            </p:cNvPr>
            <p:cNvSpPr/>
            <p:nvPr/>
          </p:nvSpPr>
          <p:spPr>
            <a:xfrm>
              <a:off x="6498404" y="8868657"/>
              <a:ext cx="2578591" cy="670953"/>
            </a:xfrm>
            <a:prstGeom prst="rect">
              <a:avLst/>
            </a:prstGeom>
          </p:spPr>
          <p:txBody>
            <a:bodyPr wrap="square" lIns="0" tIns="0" rIns="0" bIns="0">
              <a:spAutoFit/>
            </a:bodyPr>
            <a:lstStyle/>
            <a:p>
              <a:pPr>
                <a:lnSpc>
                  <a:spcPts val="1800"/>
                </a:lnSpc>
              </a:pPr>
              <a:r>
                <a:rPr lang="en-US" sz="1200" dirty="0">
                  <a:latin typeface="Montserrat" panose="00000500000000000000" pitchFamily="50" charset="0"/>
                </a:rPr>
                <a:t>It is one way to display an algorithm that only contains conditional control statements.</a:t>
              </a:r>
            </a:p>
          </p:txBody>
        </p:sp>
        <p:sp>
          <p:nvSpPr>
            <p:cNvPr id="98" name="Rectangle 97">
              <a:extLst>
                <a:ext uri="{FF2B5EF4-FFF2-40B4-BE49-F238E27FC236}">
                  <a16:creationId xmlns:a16="http://schemas.microsoft.com/office/drawing/2014/main" id="{907A1C87-35A0-4591-95AA-A04DF80AB77E}"/>
                </a:ext>
              </a:extLst>
            </p:cNvPr>
            <p:cNvSpPr/>
            <p:nvPr/>
          </p:nvSpPr>
          <p:spPr>
            <a:xfrm>
              <a:off x="6498403" y="8514149"/>
              <a:ext cx="1435922" cy="246221"/>
            </a:xfrm>
            <a:prstGeom prst="rect">
              <a:avLst/>
            </a:prstGeom>
          </p:spPr>
          <p:txBody>
            <a:bodyPr wrap="square" lIns="0" tIns="0" rIns="0" bIns="0" anchor="t">
              <a:spAutoFit/>
            </a:bodyPr>
            <a:lstStyle/>
            <a:p>
              <a:r>
                <a:rPr lang="en-GB" sz="1600" b="1" dirty="0">
                  <a:solidFill>
                    <a:srgbClr val="5491C1"/>
                  </a:solidFill>
                  <a:latin typeface="Montserrat" panose="00000500000000000000" pitchFamily="50" charset="0"/>
                </a:rPr>
                <a:t>Element Two</a:t>
              </a:r>
            </a:p>
          </p:txBody>
        </p:sp>
      </p:grpSp>
      <p:grpSp>
        <p:nvGrpSpPr>
          <p:cNvPr id="99" name="Group 98">
            <a:extLst>
              <a:ext uri="{FF2B5EF4-FFF2-40B4-BE49-F238E27FC236}">
                <a16:creationId xmlns:a16="http://schemas.microsoft.com/office/drawing/2014/main" id="{91FE04D3-2439-4625-804F-1DBE4503B0DD}"/>
              </a:ext>
            </a:extLst>
          </p:cNvPr>
          <p:cNvGrpSpPr/>
          <p:nvPr/>
        </p:nvGrpSpPr>
        <p:grpSpPr>
          <a:xfrm>
            <a:off x="3783724" y="5979771"/>
            <a:ext cx="4638559" cy="492443"/>
            <a:chOff x="6498403" y="8514149"/>
            <a:chExt cx="4638559" cy="492443"/>
          </a:xfrm>
        </p:grpSpPr>
        <p:sp>
          <p:nvSpPr>
            <p:cNvPr id="100" name="Rectangle 99">
              <a:extLst>
                <a:ext uri="{FF2B5EF4-FFF2-40B4-BE49-F238E27FC236}">
                  <a16:creationId xmlns:a16="http://schemas.microsoft.com/office/drawing/2014/main" id="{E1B40692-B64D-4B3D-9B93-C5A524A8F458}"/>
                </a:ext>
              </a:extLst>
            </p:cNvPr>
            <p:cNvSpPr/>
            <p:nvPr/>
          </p:nvSpPr>
          <p:spPr>
            <a:xfrm>
              <a:off x="7680486" y="8514149"/>
              <a:ext cx="3456476" cy="440120"/>
            </a:xfrm>
            <a:prstGeom prst="rect">
              <a:avLst/>
            </a:prstGeom>
          </p:spPr>
          <p:txBody>
            <a:bodyPr wrap="square" lIns="0" tIns="0" rIns="0" bIns="0">
              <a:spAutoFit/>
            </a:bodyPr>
            <a:lstStyle/>
            <a:p>
              <a:pPr>
                <a:lnSpc>
                  <a:spcPts val="1800"/>
                </a:lnSpc>
              </a:pPr>
              <a:r>
                <a:rPr lang="en-US" sz="1200" dirty="0">
                  <a:latin typeface="Montserrat" panose="00000500000000000000" pitchFamily="50" charset="0"/>
                </a:rPr>
                <a:t>It is one way to display an algorithm that only contains conditional control statements.</a:t>
              </a:r>
            </a:p>
          </p:txBody>
        </p:sp>
        <p:sp>
          <p:nvSpPr>
            <p:cNvPr id="101" name="Rectangle 100">
              <a:extLst>
                <a:ext uri="{FF2B5EF4-FFF2-40B4-BE49-F238E27FC236}">
                  <a16:creationId xmlns:a16="http://schemas.microsoft.com/office/drawing/2014/main" id="{A7801B0B-F315-410A-86AE-97531B4BEC9D}"/>
                </a:ext>
              </a:extLst>
            </p:cNvPr>
            <p:cNvSpPr/>
            <p:nvPr/>
          </p:nvSpPr>
          <p:spPr>
            <a:xfrm>
              <a:off x="6498403" y="8514149"/>
              <a:ext cx="919803" cy="492443"/>
            </a:xfrm>
            <a:prstGeom prst="rect">
              <a:avLst/>
            </a:prstGeom>
          </p:spPr>
          <p:txBody>
            <a:bodyPr wrap="square" lIns="0" tIns="0" rIns="0" bIns="0" anchor="t">
              <a:spAutoFit/>
            </a:bodyPr>
            <a:lstStyle/>
            <a:p>
              <a:pPr algn="r"/>
              <a:r>
                <a:rPr lang="en-GB" sz="1600" b="1" dirty="0">
                  <a:solidFill>
                    <a:srgbClr val="6C95C9"/>
                  </a:solidFill>
                  <a:latin typeface="Montserrat" panose="00000500000000000000" pitchFamily="50" charset="0"/>
                </a:rPr>
                <a:t>Element Three</a:t>
              </a:r>
            </a:p>
          </p:txBody>
        </p:sp>
      </p:grpSp>
    </p:spTree>
    <p:extLst>
      <p:ext uri="{BB962C8B-B14F-4D97-AF65-F5344CB8AC3E}">
        <p14:creationId xmlns:p14="http://schemas.microsoft.com/office/powerpoint/2010/main" val="3356780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1500"/>
                                        <p:tgtEl>
                                          <p:spTgt spid="42"/>
                                        </p:tgtEl>
                                      </p:cBhvr>
                                    </p:animEffect>
                                  </p:childTnLst>
                                </p:cTn>
                              </p:par>
                              <p:par>
                                <p:cTn id="8" presetID="42" presetClass="path" presetSubtype="0" accel="50000" decel="50000" fill="hold" grpId="1" nodeType="withEffect">
                                  <p:stCondLst>
                                    <p:cond delay="0"/>
                                  </p:stCondLst>
                                  <p:childTnLst>
                                    <p:animMotion origin="layout" path="M 0 0.2537 L 0 -4.44444E-6 " pathEditMode="relative" rAng="0" ptsTypes="AA">
                                      <p:cBhvr>
                                        <p:cTn id="9" dur="2000" fill="hold"/>
                                        <p:tgtEl>
                                          <p:spTgt spid="42"/>
                                        </p:tgtEl>
                                        <p:attrNameLst>
                                          <p:attrName>ppt_x</p:attrName>
                                          <p:attrName>ppt_y</p:attrName>
                                        </p:attrNameLst>
                                      </p:cBhvr>
                                      <p:rCtr x="0" y="-12176"/>
                                    </p:animMotion>
                                  </p:childTnLst>
                                </p:cTn>
                              </p:par>
                              <p:par>
                                <p:cTn id="10" presetID="10" presetClass="entr" presetSubtype="0" fill="hold" grpId="0" nodeType="with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1500"/>
                                        <p:tgtEl>
                                          <p:spTgt spid="44"/>
                                        </p:tgtEl>
                                      </p:cBhvr>
                                    </p:animEffect>
                                  </p:childTnLst>
                                </p:cTn>
                              </p:par>
                              <p:par>
                                <p:cTn id="13" presetID="35" presetClass="path" presetSubtype="0" accel="50000" decel="50000" fill="hold" grpId="1" nodeType="withEffect">
                                  <p:stCondLst>
                                    <p:cond delay="0"/>
                                  </p:stCondLst>
                                  <p:childTnLst>
                                    <p:animMotion origin="layout" path="M 0.08281 1.48148E-6 L -4.375E-6 1.48148E-6 " pathEditMode="relative" rAng="0" ptsTypes="AA">
                                      <p:cBhvr>
                                        <p:cTn id="14" dur="2000" fill="hold"/>
                                        <p:tgtEl>
                                          <p:spTgt spid="44"/>
                                        </p:tgtEl>
                                        <p:attrNameLst>
                                          <p:attrName>ppt_x</p:attrName>
                                          <p:attrName>ppt_y</p:attrName>
                                        </p:attrNameLst>
                                      </p:cBhvr>
                                      <p:rCtr x="-4557" y="0"/>
                                    </p:animMotion>
                                  </p:childTnLst>
                                </p:cTn>
                              </p:par>
                              <p:par>
                                <p:cTn id="15" presetID="10" presetClass="entr" presetSubtype="0" fill="hold" grpId="0" nodeType="with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1500"/>
                                        <p:tgtEl>
                                          <p:spTgt spid="43"/>
                                        </p:tgtEl>
                                      </p:cBhvr>
                                    </p:animEffect>
                                  </p:childTnLst>
                                </p:cTn>
                              </p:par>
                              <p:par>
                                <p:cTn id="18" presetID="35" presetClass="path" presetSubtype="0" accel="50000" decel="50000" fill="hold" grpId="1" nodeType="withEffect">
                                  <p:stCondLst>
                                    <p:cond delay="0"/>
                                  </p:stCondLst>
                                  <p:childTnLst>
                                    <p:animMotion origin="layout" path="M -3.33333E-6 1.48148E-6 L -0.08281 1.48148E-6 " pathEditMode="relative" rAng="0" ptsTypes="AA">
                                      <p:cBhvr>
                                        <p:cTn id="19" dur="2000" spd="-100000" fill="hold"/>
                                        <p:tgtEl>
                                          <p:spTgt spid="43"/>
                                        </p:tgtEl>
                                        <p:attrNameLst>
                                          <p:attrName>ppt_x</p:attrName>
                                          <p:attrName>ppt_y</p:attrName>
                                        </p:attrNameLst>
                                      </p:cBhvr>
                                      <p:rCtr x="-4141" y="0"/>
                                    </p:animMotion>
                                  </p:childTnLst>
                                </p:cTn>
                              </p:par>
                              <p:par>
                                <p:cTn id="20" presetID="6" presetClass="entr" presetSubtype="32" fill="hold" nodeType="withEffect">
                                  <p:stCondLst>
                                    <p:cond delay="1750"/>
                                  </p:stCondLst>
                                  <p:childTnLst>
                                    <p:set>
                                      <p:cBhvr>
                                        <p:cTn id="21" dur="1" fill="hold">
                                          <p:stCondLst>
                                            <p:cond delay="0"/>
                                          </p:stCondLst>
                                        </p:cTn>
                                        <p:tgtEl>
                                          <p:spTgt spid="2"/>
                                        </p:tgtEl>
                                        <p:attrNameLst>
                                          <p:attrName>style.visibility</p:attrName>
                                        </p:attrNameLst>
                                      </p:cBhvr>
                                      <p:to>
                                        <p:strVal val="visible"/>
                                      </p:to>
                                    </p:set>
                                    <p:animEffect transition="in" filter="circle(out)">
                                      <p:cBhvr>
                                        <p:cTn id="22" dur="1500"/>
                                        <p:tgtEl>
                                          <p:spTgt spid="2"/>
                                        </p:tgtEl>
                                      </p:cBhvr>
                                    </p:animEffect>
                                  </p:childTnLst>
                                </p:cTn>
                              </p:par>
                              <p:par>
                                <p:cTn id="23" presetID="10" presetClass="entr" presetSubtype="0" fill="hold" nodeType="withEffect">
                                  <p:stCondLst>
                                    <p:cond delay="1250"/>
                                  </p:stCondLst>
                                  <p:childTnLst>
                                    <p:set>
                                      <p:cBhvr>
                                        <p:cTn id="24" dur="1" fill="hold">
                                          <p:stCondLst>
                                            <p:cond delay="0"/>
                                          </p:stCondLst>
                                        </p:cTn>
                                        <p:tgtEl>
                                          <p:spTgt spid="76"/>
                                        </p:tgtEl>
                                        <p:attrNameLst>
                                          <p:attrName>style.visibility</p:attrName>
                                        </p:attrNameLst>
                                      </p:cBhvr>
                                      <p:to>
                                        <p:strVal val="visible"/>
                                      </p:to>
                                    </p:set>
                                    <p:animEffect transition="in" filter="fade">
                                      <p:cBhvr>
                                        <p:cTn id="25" dur="1000"/>
                                        <p:tgtEl>
                                          <p:spTgt spid="76"/>
                                        </p:tgtEl>
                                      </p:cBhvr>
                                    </p:animEffect>
                                  </p:childTnLst>
                                </p:cTn>
                              </p:par>
                              <p:par>
                                <p:cTn id="26" presetID="10" presetClass="entr" presetSubtype="0" fill="hold" nodeType="withEffect">
                                  <p:stCondLst>
                                    <p:cond delay="1250"/>
                                  </p:stCondLst>
                                  <p:childTnLst>
                                    <p:set>
                                      <p:cBhvr>
                                        <p:cTn id="27" dur="1" fill="hold">
                                          <p:stCondLst>
                                            <p:cond delay="0"/>
                                          </p:stCondLst>
                                        </p:cTn>
                                        <p:tgtEl>
                                          <p:spTgt spid="64"/>
                                        </p:tgtEl>
                                        <p:attrNameLst>
                                          <p:attrName>style.visibility</p:attrName>
                                        </p:attrNameLst>
                                      </p:cBhvr>
                                      <p:to>
                                        <p:strVal val="visible"/>
                                      </p:to>
                                    </p:set>
                                    <p:animEffect transition="in" filter="fade">
                                      <p:cBhvr>
                                        <p:cTn id="28" dur="1000"/>
                                        <p:tgtEl>
                                          <p:spTgt spid="64"/>
                                        </p:tgtEl>
                                      </p:cBhvr>
                                    </p:animEffect>
                                  </p:childTnLst>
                                </p:cTn>
                              </p:par>
                              <p:par>
                                <p:cTn id="29" presetID="10" presetClass="entr" presetSubtype="0" fill="hold" nodeType="withEffect">
                                  <p:stCondLst>
                                    <p:cond delay="125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1000"/>
                                        <p:tgtEl>
                                          <p:spTgt spid="5"/>
                                        </p:tgtEl>
                                      </p:cBhvr>
                                    </p:animEffect>
                                  </p:childTnLst>
                                </p:cTn>
                              </p:par>
                              <p:par>
                                <p:cTn id="32" presetID="10" presetClass="entr" presetSubtype="0" fill="hold" grpId="0" nodeType="withEffect">
                                  <p:stCondLst>
                                    <p:cond delay="2250"/>
                                  </p:stCondLst>
                                  <p:childTnLst>
                                    <p:set>
                                      <p:cBhvr>
                                        <p:cTn id="33" dur="1" fill="hold">
                                          <p:stCondLst>
                                            <p:cond delay="0"/>
                                          </p:stCondLst>
                                        </p:cTn>
                                        <p:tgtEl>
                                          <p:spTgt spid="55"/>
                                        </p:tgtEl>
                                        <p:attrNameLst>
                                          <p:attrName>style.visibility</p:attrName>
                                        </p:attrNameLst>
                                      </p:cBhvr>
                                      <p:to>
                                        <p:strVal val="visible"/>
                                      </p:to>
                                    </p:set>
                                    <p:animEffect transition="in" filter="fade">
                                      <p:cBhvr>
                                        <p:cTn id="34" dur="1000"/>
                                        <p:tgtEl>
                                          <p:spTgt spid="55"/>
                                        </p:tgtEl>
                                      </p:cBhvr>
                                    </p:animEffect>
                                  </p:childTnLst>
                                </p:cTn>
                              </p:par>
                              <p:par>
                                <p:cTn id="35" presetID="10" presetClass="entr" presetSubtype="0" fill="hold" grpId="0" nodeType="withEffect">
                                  <p:stCondLst>
                                    <p:cond delay="2250"/>
                                  </p:stCondLst>
                                  <p:childTnLst>
                                    <p:set>
                                      <p:cBhvr>
                                        <p:cTn id="36" dur="1" fill="hold">
                                          <p:stCondLst>
                                            <p:cond delay="0"/>
                                          </p:stCondLst>
                                        </p:cTn>
                                        <p:tgtEl>
                                          <p:spTgt spid="54"/>
                                        </p:tgtEl>
                                        <p:attrNameLst>
                                          <p:attrName>style.visibility</p:attrName>
                                        </p:attrNameLst>
                                      </p:cBhvr>
                                      <p:to>
                                        <p:strVal val="visible"/>
                                      </p:to>
                                    </p:set>
                                    <p:animEffect transition="in" filter="fade">
                                      <p:cBhvr>
                                        <p:cTn id="37" dur="1000"/>
                                        <p:tgtEl>
                                          <p:spTgt spid="54"/>
                                        </p:tgtEl>
                                      </p:cBhvr>
                                    </p:animEffect>
                                  </p:childTnLst>
                                </p:cTn>
                              </p:par>
                              <p:par>
                                <p:cTn id="38" presetID="10" presetClass="entr" presetSubtype="0" fill="hold" grpId="0" nodeType="withEffect">
                                  <p:stCondLst>
                                    <p:cond delay="2250"/>
                                  </p:stCondLst>
                                  <p:childTnLst>
                                    <p:set>
                                      <p:cBhvr>
                                        <p:cTn id="39" dur="1" fill="hold">
                                          <p:stCondLst>
                                            <p:cond delay="0"/>
                                          </p:stCondLst>
                                        </p:cTn>
                                        <p:tgtEl>
                                          <p:spTgt spid="56"/>
                                        </p:tgtEl>
                                        <p:attrNameLst>
                                          <p:attrName>style.visibility</p:attrName>
                                        </p:attrNameLst>
                                      </p:cBhvr>
                                      <p:to>
                                        <p:strVal val="visible"/>
                                      </p:to>
                                    </p:set>
                                    <p:animEffect transition="in" filter="fade">
                                      <p:cBhvr>
                                        <p:cTn id="40" dur="1000"/>
                                        <p:tgtEl>
                                          <p:spTgt spid="56"/>
                                        </p:tgtEl>
                                      </p:cBhvr>
                                    </p:animEffect>
                                  </p:childTnLst>
                                </p:cTn>
                              </p:par>
                              <p:par>
                                <p:cTn id="41" presetID="53" presetClass="entr" presetSubtype="16" fill="hold" grpId="0" nodeType="withEffect">
                                  <p:stCondLst>
                                    <p:cond delay="2750"/>
                                  </p:stCondLst>
                                  <p:childTnLst>
                                    <p:set>
                                      <p:cBhvr>
                                        <p:cTn id="42" dur="1" fill="hold">
                                          <p:stCondLst>
                                            <p:cond delay="0"/>
                                          </p:stCondLst>
                                        </p:cTn>
                                        <p:tgtEl>
                                          <p:spTgt spid="61"/>
                                        </p:tgtEl>
                                        <p:attrNameLst>
                                          <p:attrName>style.visibility</p:attrName>
                                        </p:attrNameLst>
                                      </p:cBhvr>
                                      <p:to>
                                        <p:strVal val="visible"/>
                                      </p:to>
                                    </p:set>
                                    <p:anim calcmode="lin" valueType="num">
                                      <p:cBhvr>
                                        <p:cTn id="43" dur="1000" fill="hold"/>
                                        <p:tgtEl>
                                          <p:spTgt spid="61"/>
                                        </p:tgtEl>
                                        <p:attrNameLst>
                                          <p:attrName>ppt_w</p:attrName>
                                        </p:attrNameLst>
                                      </p:cBhvr>
                                      <p:tavLst>
                                        <p:tav tm="0">
                                          <p:val>
                                            <p:fltVal val="0"/>
                                          </p:val>
                                        </p:tav>
                                        <p:tav tm="100000">
                                          <p:val>
                                            <p:strVal val="#ppt_w"/>
                                          </p:val>
                                        </p:tav>
                                      </p:tavLst>
                                    </p:anim>
                                    <p:anim calcmode="lin" valueType="num">
                                      <p:cBhvr>
                                        <p:cTn id="44" dur="1000" fill="hold"/>
                                        <p:tgtEl>
                                          <p:spTgt spid="61"/>
                                        </p:tgtEl>
                                        <p:attrNameLst>
                                          <p:attrName>ppt_h</p:attrName>
                                        </p:attrNameLst>
                                      </p:cBhvr>
                                      <p:tavLst>
                                        <p:tav tm="0">
                                          <p:val>
                                            <p:fltVal val="0"/>
                                          </p:val>
                                        </p:tav>
                                        <p:tav tm="100000">
                                          <p:val>
                                            <p:strVal val="#ppt_h"/>
                                          </p:val>
                                        </p:tav>
                                      </p:tavLst>
                                    </p:anim>
                                    <p:animEffect transition="in" filter="fade">
                                      <p:cBhvr>
                                        <p:cTn id="45" dur="1000"/>
                                        <p:tgtEl>
                                          <p:spTgt spid="61"/>
                                        </p:tgtEl>
                                      </p:cBhvr>
                                    </p:animEffect>
                                  </p:childTnLst>
                                </p:cTn>
                              </p:par>
                              <p:par>
                                <p:cTn id="46" presetID="42" presetClass="path" presetSubtype="0" accel="50000" decel="50000" fill="hold" grpId="1" nodeType="withEffect">
                                  <p:stCondLst>
                                    <p:cond delay="2750"/>
                                  </p:stCondLst>
                                  <p:childTnLst>
                                    <p:animMotion origin="layout" path="M 0.02942 0.0287 L 3.33333E-6 3.33333E-6 " pathEditMode="relative" rAng="0" ptsTypes="AA">
                                      <p:cBhvr>
                                        <p:cTn id="47" dur="1000" fill="hold"/>
                                        <p:tgtEl>
                                          <p:spTgt spid="61"/>
                                        </p:tgtEl>
                                        <p:attrNameLst>
                                          <p:attrName>ppt_x</p:attrName>
                                          <p:attrName>ppt_y</p:attrName>
                                        </p:attrNameLst>
                                      </p:cBhvr>
                                      <p:rCtr x="-1471" y="-1435"/>
                                    </p:animMotion>
                                  </p:childTnLst>
                                </p:cTn>
                              </p:par>
                              <p:par>
                                <p:cTn id="48" presetID="53" presetClass="entr" presetSubtype="16" fill="hold" grpId="0" nodeType="withEffect">
                                  <p:stCondLst>
                                    <p:cond delay="2750"/>
                                  </p:stCondLst>
                                  <p:childTnLst>
                                    <p:set>
                                      <p:cBhvr>
                                        <p:cTn id="49" dur="1" fill="hold">
                                          <p:stCondLst>
                                            <p:cond delay="0"/>
                                          </p:stCondLst>
                                        </p:cTn>
                                        <p:tgtEl>
                                          <p:spTgt spid="57"/>
                                        </p:tgtEl>
                                        <p:attrNameLst>
                                          <p:attrName>style.visibility</p:attrName>
                                        </p:attrNameLst>
                                      </p:cBhvr>
                                      <p:to>
                                        <p:strVal val="visible"/>
                                      </p:to>
                                    </p:set>
                                    <p:anim calcmode="lin" valueType="num">
                                      <p:cBhvr>
                                        <p:cTn id="50" dur="1000" fill="hold"/>
                                        <p:tgtEl>
                                          <p:spTgt spid="57"/>
                                        </p:tgtEl>
                                        <p:attrNameLst>
                                          <p:attrName>ppt_w</p:attrName>
                                        </p:attrNameLst>
                                      </p:cBhvr>
                                      <p:tavLst>
                                        <p:tav tm="0">
                                          <p:val>
                                            <p:fltVal val="0"/>
                                          </p:val>
                                        </p:tav>
                                        <p:tav tm="100000">
                                          <p:val>
                                            <p:strVal val="#ppt_w"/>
                                          </p:val>
                                        </p:tav>
                                      </p:tavLst>
                                    </p:anim>
                                    <p:anim calcmode="lin" valueType="num">
                                      <p:cBhvr>
                                        <p:cTn id="51" dur="1000" fill="hold"/>
                                        <p:tgtEl>
                                          <p:spTgt spid="57"/>
                                        </p:tgtEl>
                                        <p:attrNameLst>
                                          <p:attrName>ppt_h</p:attrName>
                                        </p:attrNameLst>
                                      </p:cBhvr>
                                      <p:tavLst>
                                        <p:tav tm="0">
                                          <p:val>
                                            <p:fltVal val="0"/>
                                          </p:val>
                                        </p:tav>
                                        <p:tav tm="100000">
                                          <p:val>
                                            <p:strVal val="#ppt_h"/>
                                          </p:val>
                                        </p:tav>
                                      </p:tavLst>
                                    </p:anim>
                                    <p:animEffect transition="in" filter="fade">
                                      <p:cBhvr>
                                        <p:cTn id="52" dur="1000"/>
                                        <p:tgtEl>
                                          <p:spTgt spid="57"/>
                                        </p:tgtEl>
                                      </p:cBhvr>
                                    </p:animEffect>
                                  </p:childTnLst>
                                </p:cTn>
                              </p:par>
                              <p:par>
                                <p:cTn id="53" presetID="42" presetClass="path" presetSubtype="0" accel="50000" decel="50000" fill="hold" grpId="1" nodeType="withEffect">
                                  <p:stCondLst>
                                    <p:cond delay="2750"/>
                                  </p:stCondLst>
                                  <p:childTnLst>
                                    <p:animMotion origin="layout" path="M -0.02734 0.02916 L -3.33333E-6 3.33333E-6 " pathEditMode="relative" rAng="0" ptsTypes="AA">
                                      <p:cBhvr>
                                        <p:cTn id="54" dur="1000" fill="hold"/>
                                        <p:tgtEl>
                                          <p:spTgt spid="57"/>
                                        </p:tgtEl>
                                        <p:attrNameLst>
                                          <p:attrName>ppt_x</p:attrName>
                                          <p:attrName>ppt_y</p:attrName>
                                        </p:attrNameLst>
                                      </p:cBhvr>
                                      <p:rCtr x="1367" y="-1458"/>
                                    </p:animMotion>
                                  </p:childTnLst>
                                </p:cTn>
                              </p:par>
                              <p:par>
                                <p:cTn id="55" presetID="53" presetClass="entr" presetSubtype="16" fill="hold" grpId="0" nodeType="withEffect">
                                  <p:stCondLst>
                                    <p:cond delay="2750"/>
                                  </p:stCondLst>
                                  <p:childTnLst>
                                    <p:set>
                                      <p:cBhvr>
                                        <p:cTn id="56" dur="1" fill="hold">
                                          <p:stCondLst>
                                            <p:cond delay="0"/>
                                          </p:stCondLst>
                                        </p:cTn>
                                        <p:tgtEl>
                                          <p:spTgt spid="58"/>
                                        </p:tgtEl>
                                        <p:attrNameLst>
                                          <p:attrName>style.visibility</p:attrName>
                                        </p:attrNameLst>
                                      </p:cBhvr>
                                      <p:to>
                                        <p:strVal val="visible"/>
                                      </p:to>
                                    </p:set>
                                    <p:anim calcmode="lin" valueType="num">
                                      <p:cBhvr>
                                        <p:cTn id="57" dur="1000" fill="hold"/>
                                        <p:tgtEl>
                                          <p:spTgt spid="58"/>
                                        </p:tgtEl>
                                        <p:attrNameLst>
                                          <p:attrName>ppt_w</p:attrName>
                                        </p:attrNameLst>
                                      </p:cBhvr>
                                      <p:tavLst>
                                        <p:tav tm="0">
                                          <p:val>
                                            <p:fltVal val="0"/>
                                          </p:val>
                                        </p:tav>
                                        <p:tav tm="100000">
                                          <p:val>
                                            <p:strVal val="#ppt_w"/>
                                          </p:val>
                                        </p:tav>
                                      </p:tavLst>
                                    </p:anim>
                                    <p:anim calcmode="lin" valueType="num">
                                      <p:cBhvr>
                                        <p:cTn id="58" dur="1000" fill="hold"/>
                                        <p:tgtEl>
                                          <p:spTgt spid="58"/>
                                        </p:tgtEl>
                                        <p:attrNameLst>
                                          <p:attrName>ppt_h</p:attrName>
                                        </p:attrNameLst>
                                      </p:cBhvr>
                                      <p:tavLst>
                                        <p:tav tm="0">
                                          <p:val>
                                            <p:fltVal val="0"/>
                                          </p:val>
                                        </p:tav>
                                        <p:tav tm="100000">
                                          <p:val>
                                            <p:strVal val="#ppt_h"/>
                                          </p:val>
                                        </p:tav>
                                      </p:tavLst>
                                    </p:anim>
                                    <p:animEffect transition="in" filter="fade">
                                      <p:cBhvr>
                                        <p:cTn id="59" dur="1000"/>
                                        <p:tgtEl>
                                          <p:spTgt spid="58"/>
                                        </p:tgtEl>
                                      </p:cBhvr>
                                    </p:animEffect>
                                  </p:childTnLst>
                                </p:cTn>
                              </p:par>
                              <p:par>
                                <p:cTn id="60" presetID="42" presetClass="path" presetSubtype="0" accel="50000" decel="50000" fill="hold" grpId="1" nodeType="withEffect">
                                  <p:stCondLst>
                                    <p:cond delay="2750"/>
                                  </p:stCondLst>
                                  <p:childTnLst>
                                    <p:animMotion origin="layout" path="M 0 -0.05486 L 0 3.7037E-6 " pathEditMode="relative" rAng="0" ptsTypes="AA">
                                      <p:cBhvr>
                                        <p:cTn id="61" dur="1000" fill="hold"/>
                                        <p:tgtEl>
                                          <p:spTgt spid="58"/>
                                        </p:tgtEl>
                                        <p:attrNameLst>
                                          <p:attrName>ppt_x</p:attrName>
                                          <p:attrName>ppt_y</p:attrName>
                                        </p:attrNameLst>
                                      </p:cBhvr>
                                      <p:rCtr x="0" y="2731"/>
                                    </p:animMotion>
                                  </p:childTnLst>
                                </p:cTn>
                              </p:par>
                              <p:par>
                                <p:cTn id="62" presetID="10" presetClass="entr" presetSubtype="0" fill="hold" nodeType="withEffect">
                                  <p:stCondLst>
                                    <p:cond delay="3750"/>
                                  </p:stCondLst>
                                  <p:childTnLst>
                                    <p:set>
                                      <p:cBhvr>
                                        <p:cTn id="63" dur="1" fill="hold">
                                          <p:stCondLst>
                                            <p:cond delay="0"/>
                                          </p:stCondLst>
                                        </p:cTn>
                                        <p:tgtEl>
                                          <p:spTgt spid="9"/>
                                        </p:tgtEl>
                                        <p:attrNameLst>
                                          <p:attrName>style.visibility</p:attrName>
                                        </p:attrNameLst>
                                      </p:cBhvr>
                                      <p:to>
                                        <p:strVal val="visible"/>
                                      </p:to>
                                    </p:set>
                                    <p:animEffect transition="in" filter="fade">
                                      <p:cBhvr>
                                        <p:cTn id="64" dur="1250"/>
                                        <p:tgtEl>
                                          <p:spTgt spid="9"/>
                                        </p:tgtEl>
                                      </p:cBhvr>
                                    </p:animEffect>
                                  </p:childTnLst>
                                </p:cTn>
                              </p:par>
                              <p:par>
                                <p:cTn id="65" presetID="10" presetClass="entr" presetSubtype="0" fill="hold" nodeType="withEffect">
                                  <p:stCondLst>
                                    <p:cond delay="3750"/>
                                  </p:stCondLst>
                                  <p:childTnLst>
                                    <p:set>
                                      <p:cBhvr>
                                        <p:cTn id="66" dur="1" fill="hold">
                                          <p:stCondLst>
                                            <p:cond delay="0"/>
                                          </p:stCondLst>
                                        </p:cTn>
                                        <p:tgtEl>
                                          <p:spTgt spid="96"/>
                                        </p:tgtEl>
                                        <p:attrNameLst>
                                          <p:attrName>style.visibility</p:attrName>
                                        </p:attrNameLst>
                                      </p:cBhvr>
                                      <p:to>
                                        <p:strVal val="visible"/>
                                      </p:to>
                                    </p:set>
                                    <p:animEffect transition="in" filter="fade">
                                      <p:cBhvr>
                                        <p:cTn id="67" dur="1250"/>
                                        <p:tgtEl>
                                          <p:spTgt spid="96"/>
                                        </p:tgtEl>
                                      </p:cBhvr>
                                    </p:animEffect>
                                  </p:childTnLst>
                                </p:cTn>
                              </p:par>
                              <p:par>
                                <p:cTn id="68" presetID="10" presetClass="entr" presetSubtype="0" fill="hold" nodeType="withEffect">
                                  <p:stCondLst>
                                    <p:cond delay="3750"/>
                                  </p:stCondLst>
                                  <p:childTnLst>
                                    <p:set>
                                      <p:cBhvr>
                                        <p:cTn id="69" dur="1" fill="hold">
                                          <p:stCondLst>
                                            <p:cond delay="0"/>
                                          </p:stCondLst>
                                        </p:cTn>
                                        <p:tgtEl>
                                          <p:spTgt spid="99"/>
                                        </p:tgtEl>
                                        <p:attrNameLst>
                                          <p:attrName>style.visibility</p:attrName>
                                        </p:attrNameLst>
                                      </p:cBhvr>
                                      <p:to>
                                        <p:strVal val="visible"/>
                                      </p:to>
                                    </p:set>
                                    <p:animEffect transition="in" filter="fade">
                                      <p:cBhvr>
                                        <p:cTn id="70" dur="1250"/>
                                        <p:tgtEl>
                                          <p:spTgt spid="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3" grpId="1" animBg="1"/>
      <p:bldP spid="42" grpId="0" animBg="1"/>
      <p:bldP spid="42" grpId="1" animBg="1"/>
      <p:bldP spid="44" grpId="0" animBg="1"/>
      <p:bldP spid="44" grpId="1" animBg="1"/>
      <p:bldP spid="54" grpId="0"/>
      <p:bldP spid="55" grpId="0"/>
      <p:bldP spid="56" grpId="0"/>
      <p:bldP spid="58" grpId="0" animBg="1"/>
      <p:bldP spid="58" grpId="1" animBg="1"/>
      <p:bldP spid="57" grpId="0" animBg="1"/>
      <p:bldP spid="57" grpId="1" animBg="1"/>
      <p:bldP spid="61" grpId="0" animBg="1"/>
      <p:bldP spid="61" grpId="1"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2F0F44CE-DB5F-4A76-A093-A012351FBF99}"/>
              </a:ext>
            </a:extLst>
          </p:cNvPr>
          <p:cNvGrpSpPr/>
          <p:nvPr/>
        </p:nvGrpSpPr>
        <p:grpSpPr>
          <a:xfrm>
            <a:off x="-1" y="-2666999"/>
            <a:ext cx="12184921" cy="12180868"/>
            <a:chOff x="-1" y="-2666999"/>
            <a:chExt cx="12184921" cy="12180868"/>
          </a:xfrm>
          <a:solidFill>
            <a:schemeClr val="accent1">
              <a:lumMod val="20000"/>
              <a:lumOff val="80000"/>
              <a:alpha val="40000"/>
            </a:schemeClr>
          </a:solidFill>
        </p:grpSpPr>
        <p:sp>
          <p:nvSpPr>
            <p:cNvPr id="6" name="Freeform: Shape 5">
              <a:extLst>
                <a:ext uri="{FF2B5EF4-FFF2-40B4-BE49-F238E27FC236}">
                  <a16:creationId xmlns:a16="http://schemas.microsoft.com/office/drawing/2014/main" id="{1986B5B2-8531-4A69-8912-3957E7BC21A5}"/>
                </a:ext>
              </a:extLst>
            </p:cNvPr>
            <p:cNvSpPr/>
            <p:nvPr/>
          </p:nvSpPr>
          <p:spPr>
            <a:xfrm>
              <a:off x="-1" y="3264460"/>
              <a:ext cx="2205162" cy="4664764"/>
            </a:xfrm>
            <a:custGeom>
              <a:avLst/>
              <a:gdLst>
                <a:gd name="connsiteX0" fmla="*/ 142875 w 990600"/>
                <a:gd name="connsiteY0" fmla="*/ 74486 h 2095500"/>
                <a:gd name="connsiteX1" fmla="*/ 142875 w 990600"/>
                <a:gd name="connsiteY1" fmla="*/ 71438 h 2095500"/>
                <a:gd name="connsiteX2" fmla="*/ 71438 w 990600"/>
                <a:gd name="connsiteY2" fmla="*/ 0 h 2095500"/>
                <a:gd name="connsiteX3" fmla="*/ 0 w 990600"/>
                <a:gd name="connsiteY3" fmla="*/ 71438 h 2095500"/>
                <a:gd name="connsiteX4" fmla="*/ 0 w 990600"/>
                <a:gd name="connsiteY4" fmla="*/ 74486 h 2095500"/>
                <a:gd name="connsiteX5" fmla="*/ 234982 w 990600"/>
                <a:gd name="connsiteY5" fmla="*/ 1187006 h 2095500"/>
                <a:gd name="connsiteX6" fmla="*/ 872681 w 990600"/>
                <a:gd name="connsiteY6" fmla="*/ 2080070 h 2095500"/>
                <a:gd name="connsiteX7" fmla="*/ 921353 w 990600"/>
                <a:gd name="connsiteY7" fmla="*/ 2099215 h 2095500"/>
                <a:gd name="connsiteX8" fmla="*/ 973646 w 990600"/>
                <a:gd name="connsiteY8" fmla="*/ 2076450 h 2095500"/>
                <a:gd name="connsiteX9" fmla="*/ 970026 w 990600"/>
                <a:gd name="connsiteY9" fmla="*/ 1975485 h 2095500"/>
                <a:gd name="connsiteX10" fmla="*/ 142875 w 990600"/>
                <a:gd name="connsiteY10" fmla="*/ 74486 h 20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2095500">
                  <a:moveTo>
                    <a:pt x="142875" y="74486"/>
                  </a:moveTo>
                  <a:lnTo>
                    <a:pt x="142875" y="71438"/>
                  </a:lnTo>
                  <a:cubicBezTo>
                    <a:pt x="142875" y="32004"/>
                    <a:pt x="110871" y="0"/>
                    <a:pt x="71438" y="0"/>
                  </a:cubicBezTo>
                  <a:cubicBezTo>
                    <a:pt x="32004" y="0"/>
                    <a:pt x="0" y="32004"/>
                    <a:pt x="0" y="71438"/>
                  </a:cubicBezTo>
                  <a:lnTo>
                    <a:pt x="0" y="74486"/>
                  </a:lnTo>
                  <a:cubicBezTo>
                    <a:pt x="0" y="461867"/>
                    <a:pt x="79058" y="836200"/>
                    <a:pt x="234982" y="1187006"/>
                  </a:cubicBezTo>
                  <a:cubicBezTo>
                    <a:pt x="385572" y="1525905"/>
                    <a:pt x="600170" y="1826419"/>
                    <a:pt x="872681" y="2080070"/>
                  </a:cubicBezTo>
                  <a:cubicBezTo>
                    <a:pt x="886397" y="2092833"/>
                    <a:pt x="903923" y="2099215"/>
                    <a:pt x="921353" y="2099215"/>
                  </a:cubicBezTo>
                  <a:cubicBezTo>
                    <a:pt x="940499" y="2099215"/>
                    <a:pt x="959549" y="2091595"/>
                    <a:pt x="973646" y="2076450"/>
                  </a:cubicBezTo>
                  <a:cubicBezTo>
                    <a:pt x="1000506" y="2047589"/>
                    <a:pt x="998887" y="2002346"/>
                    <a:pt x="970026" y="1975485"/>
                  </a:cubicBezTo>
                  <a:cubicBezTo>
                    <a:pt x="444341" y="1486281"/>
                    <a:pt x="142875" y="793337"/>
                    <a:pt x="142875" y="74486"/>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7" name="Freeform: Shape 6">
              <a:extLst>
                <a:ext uri="{FF2B5EF4-FFF2-40B4-BE49-F238E27FC236}">
                  <a16:creationId xmlns:a16="http://schemas.microsoft.com/office/drawing/2014/main" id="{09DDC767-34F6-4E46-B6F9-7D6E71F9A716}"/>
                </a:ext>
              </a:extLst>
            </p:cNvPr>
            <p:cNvSpPr/>
            <p:nvPr/>
          </p:nvSpPr>
          <p:spPr>
            <a:xfrm>
              <a:off x="148659" y="-1875367"/>
              <a:ext cx="3138115" cy="4134678"/>
            </a:xfrm>
            <a:custGeom>
              <a:avLst/>
              <a:gdLst>
                <a:gd name="connsiteX0" fmla="*/ 55615 w 1409700"/>
                <a:gd name="connsiteY0" fmla="*/ 1856565 h 1857375"/>
                <a:gd name="connsiteX1" fmla="*/ 71522 w 1409700"/>
                <a:gd name="connsiteY1" fmla="*/ 1858375 h 1857375"/>
                <a:gd name="connsiteX2" fmla="*/ 141150 w 1409700"/>
                <a:gd name="connsiteY2" fmla="*/ 1802844 h 1857375"/>
                <a:gd name="connsiteX3" fmla="*/ 1375590 w 1409700"/>
                <a:gd name="connsiteY3" fmla="*/ 133302 h 1857375"/>
                <a:gd name="connsiteX4" fmla="*/ 1401784 w 1409700"/>
                <a:gd name="connsiteY4" fmla="*/ 35766 h 1857375"/>
                <a:gd name="connsiteX5" fmla="*/ 1304248 w 1409700"/>
                <a:gd name="connsiteY5" fmla="*/ 9572 h 1857375"/>
                <a:gd name="connsiteX6" fmla="*/ 1799 w 1409700"/>
                <a:gd name="connsiteY6" fmla="*/ 1771031 h 1857375"/>
                <a:gd name="connsiteX7" fmla="*/ 55615 w 1409700"/>
                <a:gd name="connsiteY7" fmla="*/ 1856565 h 185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9700" h="1857375">
                  <a:moveTo>
                    <a:pt x="55615" y="1856565"/>
                  </a:moveTo>
                  <a:cubicBezTo>
                    <a:pt x="60949" y="1857804"/>
                    <a:pt x="66283" y="1858375"/>
                    <a:pt x="71522" y="1858375"/>
                  </a:cubicBezTo>
                  <a:cubicBezTo>
                    <a:pt x="104098" y="1858375"/>
                    <a:pt x="133530" y="1835896"/>
                    <a:pt x="141150" y="1802844"/>
                  </a:cubicBezTo>
                  <a:cubicBezTo>
                    <a:pt x="300884" y="1102376"/>
                    <a:pt x="750750" y="493823"/>
                    <a:pt x="1375590" y="133302"/>
                  </a:cubicBezTo>
                  <a:cubicBezTo>
                    <a:pt x="1409785" y="113585"/>
                    <a:pt x="1421500" y="69866"/>
                    <a:pt x="1401784" y="35766"/>
                  </a:cubicBezTo>
                  <a:cubicBezTo>
                    <a:pt x="1382067" y="1571"/>
                    <a:pt x="1338347" y="-10144"/>
                    <a:pt x="1304248" y="9572"/>
                  </a:cubicBezTo>
                  <a:cubicBezTo>
                    <a:pt x="645022" y="389810"/>
                    <a:pt x="170296" y="1031891"/>
                    <a:pt x="1799" y="1771031"/>
                  </a:cubicBezTo>
                  <a:cubicBezTo>
                    <a:pt x="-6964" y="1809512"/>
                    <a:pt x="17134" y="1847802"/>
                    <a:pt x="55615" y="1856565"/>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8" name="Freeform: Shape 7">
              <a:extLst>
                <a:ext uri="{FF2B5EF4-FFF2-40B4-BE49-F238E27FC236}">
                  <a16:creationId xmlns:a16="http://schemas.microsoft.com/office/drawing/2014/main" id="{F5D0B1CA-B8FA-40AF-BD6D-E983B675F16A}"/>
                </a:ext>
              </a:extLst>
            </p:cNvPr>
            <p:cNvSpPr/>
            <p:nvPr/>
          </p:nvSpPr>
          <p:spPr>
            <a:xfrm>
              <a:off x="4191423" y="-2666999"/>
              <a:ext cx="5025225" cy="1102581"/>
            </a:xfrm>
            <a:custGeom>
              <a:avLst/>
              <a:gdLst>
                <a:gd name="connsiteX0" fmla="*/ 92428 w 2257425"/>
                <a:gd name="connsiteY0" fmla="*/ 256794 h 495300"/>
                <a:gd name="connsiteX1" fmla="*/ 856143 w 2257425"/>
                <a:gd name="connsiteY1" fmla="*/ 142875 h 495300"/>
                <a:gd name="connsiteX2" fmla="*/ 2155639 w 2257425"/>
                <a:gd name="connsiteY2" fmla="*/ 490442 h 495300"/>
                <a:gd name="connsiteX3" fmla="*/ 2191357 w 2257425"/>
                <a:gd name="connsiteY3" fmla="*/ 500063 h 495300"/>
                <a:gd name="connsiteX4" fmla="*/ 2253270 w 2257425"/>
                <a:gd name="connsiteY4" fmla="*/ 464344 h 495300"/>
                <a:gd name="connsiteX5" fmla="*/ 2227172 w 2257425"/>
                <a:gd name="connsiteY5" fmla="*/ 366713 h 495300"/>
                <a:gd name="connsiteX6" fmla="*/ 856143 w 2257425"/>
                <a:gd name="connsiteY6" fmla="*/ 0 h 495300"/>
                <a:gd name="connsiteX7" fmla="*/ 50518 w 2257425"/>
                <a:gd name="connsiteY7" fmla="*/ 120206 h 495300"/>
                <a:gd name="connsiteX8" fmla="*/ 3179 w 2257425"/>
                <a:gd name="connsiteY8" fmla="*/ 209455 h 495300"/>
                <a:gd name="connsiteX9" fmla="*/ 92428 w 2257425"/>
                <a:gd name="connsiteY9" fmla="*/ 256794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7425" h="495300">
                  <a:moveTo>
                    <a:pt x="92428" y="256794"/>
                  </a:moveTo>
                  <a:cubicBezTo>
                    <a:pt x="338840" y="181166"/>
                    <a:pt x="595729" y="142875"/>
                    <a:pt x="856143" y="142875"/>
                  </a:cubicBezTo>
                  <a:cubicBezTo>
                    <a:pt x="1313343" y="142875"/>
                    <a:pt x="1762732" y="263081"/>
                    <a:pt x="2155639" y="490442"/>
                  </a:cubicBezTo>
                  <a:cubicBezTo>
                    <a:pt x="2166878" y="496919"/>
                    <a:pt x="2179165" y="500063"/>
                    <a:pt x="2191357" y="500063"/>
                  </a:cubicBezTo>
                  <a:cubicBezTo>
                    <a:pt x="2216027" y="500063"/>
                    <a:pt x="2240030" y="487299"/>
                    <a:pt x="2253270" y="464344"/>
                  </a:cubicBezTo>
                  <a:cubicBezTo>
                    <a:pt x="2272987" y="430244"/>
                    <a:pt x="2261366" y="386525"/>
                    <a:pt x="2227172" y="366713"/>
                  </a:cubicBezTo>
                  <a:cubicBezTo>
                    <a:pt x="1812548" y="126778"/>
                    <a:pt x="1338489" y="0"/>
                    <a:pt x="856143" y="0"/>
                  </a:cubicBezTo>
                  <a:cubicBezTo>
                    <a:pt x="581537" y="0"/>
                    <a:pt x="310456" y="40481"/>
                    <a:pt x="50518" y="120206"/>
                  </a:cubicBezTo>
                  <a:cubicBezTo>
                    <a:pt x="12799" y="131826"/>
                    <a:pt x="-8441" y="171736"/>
                    <a:pt x="3179" y="209455"/>
                  </a:cubicBezTo>
                  <a:cubicBezTo>
                    <a:pt x="14800" y="247174"/>
                    <a:pt x="54709" y="268415"/>
                    <a:pt x="92428" y="256794"/>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9" name="Freeform: Shape 8">
              <a:extLst>
                <a:ext uri="{FF2B5EF4-FFF2-40B4-BE49-F238E27FC236}">
                  <a16:creationId xmlns:a16="http://schemas.microsoft.com/office/drawing/2014/main" id="{5D87DEA3-FAA2-45C9-AA73-CC2F4DEAAF5A}"/>
                </a:ext>
              </a:extLst>
            </p:cNvPr>
            <p:cNvSpPr/>
            <p:nvPr/>
          </p:nvSpPr>
          <p:spPr>
            <a:xfrm>
              <a:off x="8898411" y="4605806"/>
              <a:ext cx="3138115" cy="4113474"/>
            </a:xfrm>
            <a:custGeom>
              <a:avLst/>
              <a:gdLst>
                <a:gd name="connsiteX0" fmla="*/ 1357812 w 1409700"/>
                <a:gd name="connsiteY0" fmla="*/ 1804 h 1847850"/>
                <a:gd name="connsiteX1" fmla="*/ 1272182 w 1409700"/>
                <a:gd name="connsiteY1" fmla="*/ 55525 h 1847850"/>
                <a:gd name="connsiteX2" fmla="*/ 35837 w 1409700"/>
                <a:gd name="connsiteY2" fmla="*/ 1723639 h 1847850"/>
                <a:gd name="connsiteX3" fmla="*/ 9548 w 1409700"/>
                <a:gd name="connsiteY3" fmla="*/ 1821175 h 1847850"/>
                <a:gd name="connsiteX4" fmla="*/ 71556 w 1409700"/>
                <a:gd name="connsiteY4" fmla="*/ 1856989 h 1847850"/>
                <a:gd name="connsiteX5" fmla="*/ 107084 w 1409700"/>
                <a:gd name="connsiteY5" fmla="*/ 1847464 h 1847850"/>
                <a:gd name="connsiteX6" fmla="*/ 1411343 w 1409700"/>
                <a:gd name="connsiteY6" fmla="*/ 87434 h 1847850"/>
                <a:gd name="connsiteX7" fmla="*/ 1357812 w 1409700"/>
                <a:gd name="connsiteY7" fmla="*/ 1804 h 184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9700" h="1847850">
                  <a:moveTo>
                    <a:pt x="1357812" y="1804"/>
                  </a:moveTo>
                  <a:cubicBezTo>
                    <a:pt x="1319331" y="-6959"/>
                    <a:pt x="1281040" y="17044"/>
                    <a:pt x="1272182" y="55525"/>
                  </a:cubicBezTo>
                  <a:cubicBezTo>
                    <a:pt x="1111686" y="755803"/>
                    <a:pt x="661058" y="1363879"/>
                    <a:pt x="35837" y="1723639"/>
                  </a:cubicBezTo>
                  <a:cubicBezTo>
                    <a:pt x="1642" y="1743355"/>
                    <a:pt x="-10168" y="1786980"/>
                    <a:pt x="9548" y="1821175"/>
                  </a:cubicBezTo>
                  <a:cubicBezTo>
                    <a:pt x="22788" y="1844130"/>
                    <a:pt x="46791" y="1856989"/>
                    <a:pt x="71556" y="1856989"/>
                  </a:cubicBezTo>
                  <a:cubicBezTo>
                    <a:pt x="83653" y="1856989"/>
                    <a:pt x="95940" y="1853941"/>
                    <a:pt x="107084" y="1847464"/>
                  </a:cubicBezTo>
                  <a:cubicBezTo>
                    <a:pt x="766595" y="1467892"/>
                    <a:pt x="1241988" y="826383"/>
                    <a:pt x="1411343" y="87434"/>
                  </a:cubicBezTo>
                  <a:cubicBezTo>
                    <a:pt x="1420296" y="48953"/>
                    <a:pt x="1396198" y="10662"/>
                    <a:pt x="1357812" y="1804"/>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0" name="Freeform: Shape 9">
              <a:extLst>
                <a:ext uri="{FF2B5EF4-FFF2-40B4-BE49-F238E27FC236}">
                  <a16:creationId xmlns:a16="http://schemas.microsoft.com/office/drawing/2014/main" id="{5A956A3F-E087-4A3B-93FA-87A02000F584}"/>
                </a:ext>
              </a:extLst>
            </p:cNvPr>
            <p:cNvSpPr/>
            <p:nvPr/>
          </p:nvSpPr>
          <p:spPr>
            <a:xfrm>
              <a:off x="2959903" y="8411288"/>
              <a:ext cx="5025225" cy="1102581"/>
            </a:xfrm>
            <a:custGeom>
              <a:avLst/>
              <a:gdLst>
                <a:gd name="connsiteX0" fmla="*/ 2170318 w 2257425"/>
                <a:gd name="connsiteY0" fmla="*/ 245601 h 495300"/>
                <a:gd name="connsiteX1" fmla="*/ 1409365 w 2257425"/>
                <a:gd name="connsiteY1" fmla="*/ 358663 h 495300"/>
                <a:gd name="connsiteX2" fmla="*/ 107298 w 2257425"/>
                <a:gd name="connsiteY2" fmla="*/ 9667 h 495300"/>
                <a:gd name="connsiteX3" fmla="*/ 9667 w 2257425"/>
                <a:gd name="connsiteY3" fmla="*/ 35575 h 495300"/>
                <a:gd name="connsiteX4" fmla="*/ 35575 w 2257425"/>
                <a:gd name="connsiteY4" fmla="*/ 133206 h 495300"/>
                <a:gd name="connsiteX5" fmla="*/ 1409270 w 2257425"/>
                <a:gd name="connsiteY5" fmla="*/ 501538 h 495300"/>
                <a:gd name="connsiteX6" fmla="*/ 2211942 w 2257425"/>
                <a:gd name="connsiteY6" fmla="*/ 382285 h 495300"/>
                <a:gd name="connsiteX7" fmla="*/ 2259376 w 2257425"/>
                <a:gd name="connsiteY7" fmla="*/ 293131 h 495300"/>
                <a:gd name="connsiteX8" fmla="*/ 2170318 w 2257425"/>
                <a:gd name="connsiteY8" fmla="*/ 245601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57425" h="495300">
                  <a:moveTo>
                    <a:pt x="2170318" y="245601"/>
                  </a:moveTo>
                  <a:cubicBezTo>
                    <a:pt x="1924858" y="320563"/>
                    <a:pt x="1668826" y="358663"/>
                    <a:pt x="1409365" y="358663"/>
                  </a:cubicBezTo>
                  <a:cubicBezTo>
                    <a:pt x="951118" y="358663"/>
                    <a:pt x="500871" y="237981"/>
                    <a:pt x="107298" y="9667"/>
                  </a:cubicBezTo>
                  <a:cubicBezTo>
                    <a:pt x="73198" y="-10145"/>
                    <a:pt x="29479" y="1475"/>
                    <a:pt x="9667" y="35575"/>
                  </a:cubicBezTo>
                  <a:cubicBezTo>
                    <a:pt x="-10145" y="69674"/>
                    <a:pt x="1475" y="113394"/>
                    <a:pt x="35575" y="133206"/>
                  </a:cubicBezTo>
                  <a:cubicBezTo>
                    <a:pt x="450865" y="374189"/>
                    <a:pt x="925877" y="501538"/>
                    <a:pt x="1409270" y="501538"/>
                  </a:cubicBezTo>
                  <a:cubicBezTo>
                    <a:pt x="1682828" y="501538"/>
                    <a:pt x="1952862" y="461437"/>
                    <a:pt x="2211942" y="382285"/>
                  </a:cubicBezTo>
                  <a:cubicBezTo>
                    <a:pt x="2249661" y="370760"/>
                    <a:pt x="2270902" y="330850"/>
                    <a:pt x="2259376" y="293131"/>
                  </a:cubicBezTo>
                  <a:cubicBezTo>
                    <a:pt x="2247947" y="255317"/>
                    <a:pt x="2208037" y="234076"/>
                    <a:pt x="2170318" y="245601"/>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1" name="Freeform: Shape 10">
              <a:extLst>
                <a:ext uri="{FF2B5EF4-FFF2-40B4-BE49-F238E27FC236}">
                  <a16:creationId xmlns:a16="http://schemas.microsoft.com/office/drawing/2014/main" id="{EFCAEC29-78A6-4C06-9FE2-4C98CA4D31F9}"/>
                </a:ext>
              </a:extLst>
            </p:cNvPr>
            <p:cNvSpPr/>
            <p:nvPr/>
          </p:nvSpPr>
          <p:spPr>
            <a:xfrm>
              <a:off x="9979758" y="-1081698"/>
              <a:ext cx="2205162" cy="4664764"/>
            </a:xfrm>
            <a:custGeom>
              <a:avLst/>
              <a:gdLst>
                <a:gd name="connsiteX0" fmla="*/ 759371 w 990600"/>
                <a:gd name="connsiteY0" fmla="*/ 912914 h 2095500"/>
                <a:gd name="connsiteX1" fmla="*/ 120053 w 990600"/>
                <a:gd name="connsiteY1" fmla="*/ 19088 h 2095500"/>
                <a:gd name="connsiteX2" fmla="*/ 19088 w 990600"/>
                <a:gd name="connsiteY2" fmla="*/ 22802 h 2095500"/>
                <a:gd name="connsiteX3" fmla="*/ 22802 w 990600"/>
                <a:gd name="connsiteY3" fmla="*/ 123767 h 2095500"/>
                <a:gd name="connsiteX4" fmla="*/ 852144 w 990600"/>
                <a:gd name="connsiteY4" fmla="*/ 2026862 h 2095500"/>
                <a:gd name="connsiteX5" fmla="*/ 852144 w 990600"/>
                <a:gd name="connsiteY5" fmla="*/ 2032768 h 2095500"/>
                <a:gd name="connsiteX6" fmla="*/ 923391 w 990600"/>
                <a:gd name="connsiteY6" fmla="*/ 2104396 h 2095500"/>
                <a:gd name="connsiteX7" fmla="*/ 923582 w 990600"/>
                <a:gd name="connsiteY7" fmla="*/ 2104396 h 2095500"/>
                <a:gd name="connsiteX8" fmla="*/ 995019 w 990600"/>
                <a:gd name="connsiteY8" fmla="*/ 2033149 h 2095500"/>
                <a:gd name="connsiteX9" fmla="*/ 995019 w 990600"/>
                <a:gd name="connsiteY9" fmla="*/ 2026862 h 2095500"/>
                <a:gd name="connsiteX10" fmla="*/ 759371 w 990600"/>
                <a:gd name="connsiteY10" fmla="*/ 912914 h 20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2095500">
                  <a:moveTo>
                    <a:pt x="759371" y="912914"/>
                  </a:moveTo>
                  <a:cubicBezTo>
                    <a:pt x="608304" y="573538"/>
                    <a:pt x="393230" y="272834"/>
                    <a:pt x="120053" y="19088"/>
                  </a:cubicBezTo>
                  <a:cubicBezTo>
                    <a:pt x="91097" y="-7773"/>
                    <a:pt x="45948" y="-6058"/>
                    <a:pt x="19088" y="22802"/>
                  </a:cubicBezTo>
                  <a:cubicBezTo>
                    <a:pt x="-7773" y="51758"/>
                    <a:pt x="-6058" y="96907"/>
                    <a:pt x="22802" y="123767"/>
                  </a:cubicBezTo>
                  <a:cubicBezTo>
                    <a:pt x="549821" y="613257"/>
                    <a:pt x="852144" y="1306868"/>
                    <a:pt x="852144" y="2026862"/>
                  </a:cubicBezTo>
                  <a:lnTo>
                    <a:pt x="852144" y="2032768"/>
                  </a:lnTo>
                  <a:cubicBezTo>
                    <a:pt x="852049" y="2072202"/>
                    <a:pt x="883957" y="2104301"/>
                    <a:pt x="923391" y="2104396"/>
                  </a:cubicBezTo>
                  <a:cubicBezTo>
                    <a:pt x="923486" y="2104396"/>
                    <a:pt x="923486" y="2104396"/>
                    <a:pt x="923582" y="2104396"/>
                  </a:cubicBezTo>
                  <a:cubicBezTo>
                    <a:pt x="962920" y="2104396"/>
                    <a:pt x="994924" y="2072487"/>
                    <a:pt x="995019" y="2033149"/>
                  </a:cubicBezTo>
                  <a:lnTo>
                    <a:pt x="995019" y="2026862"/>
                  </a:lnTo>
                  <a:cubicBezTo>
                    <a:pt x="995019" y="1639004"/>
                    <a:pt x="915676" y="1264196"/>
                    <a:pt x="759371" y="912914"/>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nvGrpSpPr>
          <p:cNvPr id="43" name="Group 42">
            <a:extLst>
              <a:ext uri="{FF2B5EF4-FFF2-40B4-BE49-F238E27FC236}">
                <a16:creationId xmlns:a16="http://schemas.microsoft.com/office/drawing/2014/main" id="{95560724-C9AB-42DC-8DA5-77CF7B6A1008}"/>
              </a:ext>
            </a:extLst>
          </p:cNvPr>
          <p:cNvGrpSpPr/>
          <p:nvPr/>
        </p:nvGrpSpPr>
        <p:grpSpPr>
          <a:xfrm>
            <a:off x="659851" y="-2007147"/>
            <a:ext cx="10865196" cy="10863942"/>
            <a:chOff x="659851" y="-2007147"/>
            <a:chExt cx="10865196" cy="10863942"/>
          </a:xfrm>
          <a:solidFill>
            <a:schemeClr val="accent2">
              <a:lumMod val="10000"/>
              <a:lumOff val="90000"/>
              <a:alpha val="50000"/>
            </a:schemeClr>
          </a:solidFill>
        </p:grpSpPr>
        <p:sp>
          <p:nvSpPr>
            <p:cNvPr id="12" name="Freeform: Shape 11">
              <a:extLst>
                <a:ext uri="{FF2B5EF4-FFF2-40B4-BE49-F238E27FC236}">
                  <a16:creationId xmlns:a16="http://schemas.microsoft.com/office/drawing/2014/main" id="{BF230D02-536E-45FB-AD5E-CF8C8715DD6D}"/>
                </a:ext>
              </a:extLst>
            </p:cNvPr>
            <p:cNvSpPr/>
            <p:nvPr/>
          </p:nvSpPr>
          <p:spPr>
            <a:xfrm>
              <a:off x="10507280" y="623889"/>
              <a:ext cx="1017767" cy="4495137"/>
            </a:xfrm>
            <a:custGeom>
              <a:avLst/>
              <a:gdLst>
                <a:gd name="connsiteX0" fmla="*/ 266079 w 457200"/>
                <a:gd name="connsiteY0" fmla="*/ 2023919 h 2019300"/>
                <a:gd name="connsiteX1" fmla="*/ 286939 w 457200"/>
                <a:gd name="connsiteY1" fmla="*/ 2027062 h 2019300"/>
                <a:gd name="connsiteX2" fmla="*/ 355234 w 457200"/>
                <a:gd name="connsiteY2" fmla="*/ 1976484 h 2019300"/>
                <a:gd name="connsiteX3" fmla="*/ 461628 w 457200"/>
                <a:gd name="connsiteY3" fmla="*/ 1260680 h 2019300"/>
                <a:gd name="connsiteX4" fmla="*/ 133206 w 457200"/>
                <a:gd name="connsiteY4" fmla="*/ 35575 h 2019300"/>
                <a:gd name="connsiteX5" fmla="*/ 35575 w 457200"/>
                <a:gd name="connsiteY5" fmla="*/ 9667 h 2019300"/>
                <a:gd name="connsiteX6" fmla="*/ 9667 w 457200"/>
                <a:gd name="connsiteY6" fmla="*/ 107298 h 2019300"/>
                <a:gd name="connsiteX7" fmla="*/ 318848 w 457200"/>
                <a:gd name="connsiteY7" fmla="*/ 1260680 h 2019300"/>
                <a:gd name="connsiteX8" fmla="*/ 218740 w 457200"/>
                <a:gd name="connsiteY8" fmla="*/ 1934764 h 2019300"/>
                <a:gd name="connsiteX9" fmla="*/ 266079 w 457200"/>
                <a:gd name="connsiteY9" fmla="*/ 2023919 h 201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7200" h="2019300">
                  <a:moveTo>
                    <a:pt x="266079" y="2023919"/>
                  </a:moveTo>
                  <a:cubicBezTo>
                    <a:pt x="273033" y="2026014"/>
                    <a:pt x="280082" y="2027062"/>
                    <a:pt x="286939" y="2027062"/>
                  </a:cubicBezTo>
                  <a:cubicBezTo>
                    <a:pt x="317515" y="2027062"/>
                    <a:pt x="345804" y="2007250"/>
                    <a:pt x="355234" y="1976484"/>
                  </a:cubicBezTo>
                  <a:cubicBezTo>
                    <a:pt x="425814" y="1745503"/>
                    <a:pt x="461628" y="1504616"/>
                    <a:pt x="461628" y="1260680"/>
                  </a:cubicBezTo>
                  <a:cubicBezTo>
                    <a:pt x="461628" y="829579"/>
                    <a:pt x="348090" y="406002"/>
                    <a:pt x="133206" y="35575"/>
                  </a:cubicBezTo>
                  <a:cubicBezTo>
                    <a:pt x="113394" y="1475"/>
                    <a:pt x="69674" y="-10145"/>
                    <a:pt x="35575" y="9667"/>
                  </a:cubicBezTo>
                  <a:cubicBezTo>
                    <a:pt x="1475" y="29479"/>
                    <a:pt x="-10145" y="73198"/>
                    <a:pt x="9667" y="107298"/>
                  </a:cubicBezTo>
                  <a:cubicBezTo>
                    <a:pt x="211882" y="455913"/>
                    <a:pt x="318848" y="854725"/>
                    <a:pt x="318848" y="1260680"/>
                  </a:cubicBezTo>
                  <a:cubicBezTo>
                    <a:pt x="318848" y="1490519"/>
                    <a:pt x="285129" y="1717213"/>
                    <a:pt x="218740" y="1934764"/>
                  </a:cubicBezTo>
                  <a:cubicBezTo>
                    <a:pt x="207120" y="1972484"/>
                    <a:pt x="228361" y="2012393"/>
                    <a:pt x="266079" y="2023919"/>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3" name="Freeform: Shape 12">
              <a:extLst>
                <a:ext uri="{FF2B5EF4-FFF2-40B4-BE49-F238E27FC236}">
                  <a16:creationId xmlns:a16="http://schemas.microsoft.com/office/drawing/2014/main" id="{1C6CD7E3-7D50-489C-A27B-DB969CDE1A22}"/>
                </a:ext>
              </a:extLst>
            </p:cNvPr>
            <p:cNvSpPr/>
            <p:nvPr/>
          </p:nvSpPr>
          <p:spPr>
            <a:xfrm>
              <a:off x="1363277" y="-1875026"/>
              <a:ext cx="3710609" cy="2820062"/>
            </a:xfrm>
            <a:custGeom>
              <a:avLst/>
              <a:gdLst>
                <a:gd name="connsiteX0" fmla="*/ 1580531 w 1666875"/>
                <a:gd name="connsiteY0" fmla="*/ 1799 h 1266825"/>
                <a:gd name="connsiteX1" fmla="*/ 9572 w 1666875"/>
                <a:gd name="connsiteY1" fmla="*/ 1163182 h 1266825"/>
                <a:gd name="connsiteX2" fmla="*/ 35766 w 1666875"/>
                <a:gd name="connsiteY2" fmla="*/ 1260718 h 1266825"/>
                <a:gd name="connsiteX3" fmla="*/ 71390 w 1666875"/>
                <a:gd name="connsiteY3" fmla="*/ 1270339 h 1266825"/>
                <a:gd name="connsiteX4" fmla="*/ 133302 w 1666875"/>
                <a:gd name="connsiteY4" fmla="*/ 1234620 h 1266825"/>
                <a:gd name="connsiteX5" fmla="*/ 1612249 w 1666875"/>
                <a:gd name="connsiteY5" fmla="*/ 141150 h 1266825"/>
                <a:gd name="connsiteX6" fmla="*/ 1666065 w 1666875"/>
                <a:gd name="connsiteY6" fmla="*/ 55615 h 1266825"/>
                <a:gd name="connsiteX7" fmla="*/ 1580531 w 1666875"/>
                <a:gd name="connsiteY7" fmla="*/ 1799 h 12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875" h="1266825">
                  <a:moveTo>
                    <a:pt x="1580531" y="1799"/>
                  </a:moveTo>
                  <a:cubicBezTo>
                    <a:pt x="921305" y="152104"/>
                    <a:pt x="348758" y="575395"/>
                    <a:pt x="9572" y="1163182"/>
                  </a:cubicBezTo>
                  <a:cubicBezTo>
                    <a:pt x="-10144" y="1197377"/>
                    <a:pt x="1571" y="1241002"/>
                    <a:pt x="35766" y="1260718"/>
                  </a:cubicBezTo>
                  <a:cubicBezTo>
                    <a:pt x="47006" y="1267195"/>
                    <a:pt x="59293" y="1270339"/>
                    <a:pt x="71390" y="1270339"/>
                  </a:cubicBezTo>
                  <a:cubicBezTo>
                    <a:pt x="96059" y="1270339"/>
                    <a:pt x="120062" y="1257480"/>
                    <a:pt x="133302" y="1234620"/>
                  </a:cubicBezTo>
                  <a:cubicBezTo>
                    <a:pt x="452675" y="681217"/>
                    <a:pt x="991695" y="282596"/>
                    <a:pt x="1612249" y="141150"/>
                  </a:cubicBezTo>
                  <a:cubicBezTo>
                    <a:pt x="1650730" y="132387"/>
                    <a:pt x="1674828" y="94096"/>
                    <a:pt x="1666065" y="55615"/>
                  </a:cubicBezTo>
                  <a:cubicBezTo>
                    <a:pt x="1657302" y="17134"/>
                    <a:pt x="1618916" y="-6964"/>
                    <a:pt x="1580531" y="1799"/>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4" name="Freeform: Shape 13">
              <a:extLst>
                <a:ext uri="{FF2B5EF4-FFF2-40B4-BE49-F238E27FC236}">
                  <a16:creationId xmlns:a16="http://schemas.microsoft.com/office/drawing/2014/main" id="{BDA1E188-3CBA-431B-9CA9-FA54569CF56D}"/>
                </a:ext>
              </a:extLst>
            </p:cNvPr>
            <p:cNvSpPr/>
            <p:nvPr/>
          </p:nvSpPr>
          <p:spPr>
            <a:xfrm>
              <a:off x="659851" y="1718514"/>
              <a:ext cx="1017767" cy="4495137"/>
            </a:xfrm>
            <a:custGeom>
              <a:avLst/>
              <a:gdLst>
                <a:gd name="connsiteX0" fmla="*/ 196406 w 457200"/>
                <a:gd name="connsiteY0" fmla="*/ 3144 h 2019300"/>
                <a:gd name="connsiteX1" fmla="*/ 107156 w 457200"/>
                <a:gd name="connsiteY1" fmla="*/ 50483 h 2019300"/>
                <a:gd name="connsiteX2" fmla="*/ 0 w 457200"/>
                <a:gd name="connsiteY2" fmla="*/ 768954 h 2019300"/>
                <a:gd name="connsiteX3" fmla="*/ 327088 w 457200"/>
                <a:gd name="connsiteY3" fmla="*/ 1991583 h 2019300"/>
                <a:gd name="connsiteX4" fmla="*/ 389001 w 457200"/>
                <a:gd name="connsiteY4" fmla="*/ 2027302 h 2019300"/>
                <a:gd name="connsiteX5" fmla="*/ 424720 w 457200"/>
                <a:gd name="connsiteY5" fmla="*/ 2017682 h 2019300"/>
                <a:gd name="connsiteX6" fmla="*/ 450818 w 457200"/>
                <a:gd name="connsiteY6" fmla="*/ 1920050 h 2019300"/>
                <a:gd name="connsiteX7" fmla="*/ 142970 w 457200"/>
                <a:gd name="connsiteY7" fmla="*/ 768954 h 2019300"/>
                <a:gd name="connsiteX8" fmla="*/ 243840 w 457200"/>
                <a:gd name="connsiteY8" fmla="*/ 92393 h 2019300"/>
                <a:gd name="connsiteX9" fmla="*/ 196406 w 457200"/>
                <a:gd name="connsiteY9" fmla="*/ 3144 h 201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7200" h="2019300">
                  <a:moveTo>
                    <a:pt x="196406" y="3144"/>
                  </a:moveTo>
                  <a:cubicBezTo>
                    <a:pt x="158686" y="-8381"/>
                    <a:pt x="118682" y="12764"/>
                    <a:pt x="107156" y="50483"/>
                  </a:cubicBezTo>
                  <a:cubicBezTo>
                    <a:pt x="36005" y="282322"/>
                    <a:pt x="0" y="524066"/>
                    <a:pt x="0" y="768954"/>
                  </a:cubicBezTo>
                  <a:cubicBezTo>
                    <a:pt x="0" y="1199008"/>
                    <a:pt x="113062" y="1621823"/>
                    <a:pt x="327088" y="1991583"/>
                  </a:cubicBezTo>
                  <a:cubicBezTo>
                    <a:pt x="340328" y="2014443"/>
                    <a:pt x="364331" y="2027302"/>
                    <a:pt x="389001" y="2027302"/>
                  </a:cubicBezTo>
                  <a:cubicBezTo>
                    <a:pt x="401098" y="2027302"/>
                    <a:pt x="413480" y="2024158"/>
                    <a:pt x="424720" y="2017682"/>
                  </a:cubicBezTo>
                  <a:cubicBezTo>
                    <a:pt x="458819" y="1997965"/>
                    <a:pt x="470535" y="1954245"/>
                    <a:pt x="450818" y="1920050"/>
                  </a:cubicBezTo>
                  <a:cubicBezTo>
                    <a:pt x="249364" y="1572007"/>
                    <a:pt x="142970" y="1173957"/>
                    <a:pt x="142970" y="768954"/>
                  </a:cubicBezTo>
                  <a:cubicBezTo>
                    <a:pt x="142970" y="538258"/>
                    <a:pt x="176879" y="310611"/>
                    <a:pt x="243840" y="92393"/>
                  </a:cubicBezTo>
                  <a:cubicBezTo>
                    <a:pt x="255365" y="54674"/>
                    <a:pt x="234125" y="14765"/>
                    <a:pt x="196406" y="3144"/>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5" name="Freeform: Shape 14">
              <a:extLst>
                <a:ext uri="{FF2B5EF4-FFF2-40B4-BE49-F238E27FC236}">
                  <a16:creationId xmlns:a16="http://schemas.microsoft.com/office/drawing/2014/main" id="{6085A95D-7914-4EAE-8FE8-CE14838EB2D0}"/>
                </a:ext>
              </a:extLst>
            </p:cNvPr>
            <p:cNvSpPr/>
            <p:nvPr/>
          </p:nvSpPr>
          <p:spPr>
            <a:xfrm>
              <a:off x="2069087" y="6863668"/>
              <a:ext cx="4198289" cy="1993127"/>
            </a:xfrm>
            <a:custGeom>
              <a:avLst/>
              <a:gdLst>
                <a:gd name="connsiteX0" fmla="*/ 816174 w 1885950"/>
                <a:gd name="connsiteY0" fmla="*/ 690219 h 895350"/>
                <a:gd name="connsiteX1" fmla="*/ 1809631 w 1885950"/>
                <a:gd name="connsiteY1" fmla="*/ 900341 h 895350"/>
                <a:gd name="connsiteX2" fmla="*/ 1815251 w 1885950"/>
                <a:gd name="connsiteY2" fmla="*/ 900341 h 895350"/>
                <a:gd name="connsiteX3" fmla="*/ 1886498 w 1885950"/>
                <a:gd name="connsiteY3" fmla="*/ 828713 h 895350"/>
                <a:gd name="connsiteX4" fmla="*/ 1815061 w 1885950"/>
                <a:gd name="connsiteY4" fmla="*/ 757466 h 895350"/>
                <a:gd name="connsiteX5" fmla="*/ 1814870 w 1885950"/>
                <a:gd name="connsiteY5" fmla="*/ 757466 h 895350"/>
                <a:gd name="connsiteX6" fmla="*/ 1809631 w 1885950"/>
                <a:gd name="connsiteY6" fmla="*/ 757466 h 895350"/>
                <a:gd name="connsiteX7" fmla="*/ 123801 w 1885950"/>
                <a:gd name="connsiteY7" fmla="*/ 22802 h 895350"/>
                <a:gd name="connsiteX8" fmla="*/ 22836 w 1885950"/>
                <a:gd name="connsiteY8" fmla="*/ 19088 h 895350"/>
                <a:gd name="connsiteX9" fmla="*/ 19122 w 1885950"/>
                <a:gd name="connsiteY9" fmla="*/ 120053 h 895350"/>
                <a:gd name="connsiteX10" fmla="*/ 816174 w 1885950"/>
                <a:gd name="connsiteY10" fmla="*/ 690219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5950" h="895350">
                  <a:moveTo>
                    <a:pt x="816174" y="690219"/>
                  </a:moveTo>
                  <a:cubicBezTo>
                    <a:pt x="1129451" y="829665"/>
                    <a:pt x="1463683" y="900341"/>
                    <a:pt x="1809631" y="900341"/>
                  </a:cubicBezTo>
                  <a:lnTo>
                    <a:pt x="1815251" y="900341"/>
                  </a:lnTo>
                  <a:cubicBezTo>
                    <a:pt x="1854684" y="900245"/>
                    <a:pt x="1886593" y="868146"/>
                    <a:pt x="1886498" y="828713"/>
                  </a:cubicBezTo>
                  <a:cubicBezTo>
                    <a:pt x="1886403" y="789279"/>
                    <a:pt x="1854399" y="757466"/>
                    <a:pt x="1815061" y="757466"/>
                  </a:cubicBezTo>
                  <a:cubicBezTo>
                    <a:pt x="1814965" y="757466"/>
                    <a:pt x="1814965" y="757466"/>
                    <a:pt x="1814870" y="757466"/>
                  </a:cubicBezTo>
                  <a:lnTo>
                    <a:pt x="1809631" y="757466"/>
                  </a:lnTo>
                  <a:cubicBezTo>
                    <a:pt x="1171932" y="757466"/>
                    <a:pt x="557475" y="489718"/>
                    <a:pt x="123801" y="22802"/>
                  </a:cubicBezTo>
                  <a:cubicBezTo>
                    <a:pt x="96941" y="-6058"/>
                    <a:pt x="51792" y="-7773"/>
                    <a:pt x="22836" y="19088"/>
                  </a:cubicBezTo>
                  <a:cubicBezTo>
                    <a:pt x="-6120" y="45948"/>
                    <a:pt x="-7739" y="91096"/>
                    <a:pt x="19122" y="120053"/>
                  </a:cubicBezTo>
                  <a:cubicBezTo>
                    <a:pt x="245340" y="363702"/>
                    <a:pt x="513469" y="555536"/>
                    <a:pt x="816174" y="690219"/>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6" name="Freeform: Shape 15">
              <a:extLst>
                <a:ext uri="{FF2B5EF4-FFF2-40B4-BE49-F238E27FC236}">
                  <a16:creationId xmlns:a16="http://schemas.microsoft.com/office/drawing/2014/main" id="{6755DEF0-81AF-4E03-8AF3-38B46A00A846}"/>
                </a:ext>
              </a:extLst>
            </p:cNvPr>
            <p:cNvSpPr/>
            <p:nvPr/>
          </p:nvSpPr>
          <p:spPr>
            <a:xfrm>
              <a:off x="7124382" y="5902758"/>
              <a:ext cx="3689406" cy="2820062"/>
            </a:xfrm>
            <a:custGeom>
              <a:avLst/>
              <a:gdLst>
                <a:gd name="connsiteX0" fmla="*/ 71432 w 1657350"/>
                <a:gd name="connsiteY0" fmla="*/ 1271992 h 1266825"/>
                <a:gd name="connsiteX1" fmla="*/ 87434 w 1657350"/>
                <a:gd name="connsiteY1" fmla="*/ 1270182 h 1266825"/>
                <a:gd name="connsiteX2" fmla="*/ 1657059 w 1657350"/>
                <a:gd name="connsiteY2" fmla="*/ 107084 h 1266825"/>
                <a:gd name="connsiteX3" fmla="*/ 1630770 w 1657350"/>
                <a:gd name="connsiteY3" fmla="*/ 9548 h 1266825"/>
                <a:gd name="connsiteX4" fmla="*/ 1533234 w 1657350"/>
                <a:gd name="connsiteY4" fmla="*/ 35837 h 1266825"/>
                <a:gd name="connsiteX5" fmla="*/ 55525 w 1657350"/>
                <a:gd name="connsiteY5" fmla="*/ 1131022 h 1266825"/>
                <a:gd name="connsiteX6" fmla="*/ 1804 w 1657350"/>
                <a:gd name="connsiteY6" fmla="*/ 1216652 h 1266825"/>
                <a:gd name="connsiteX7" fmla="*/ 71432 w 1657350"/>
                <a:gd name="connsiteY7" fmla="*/ 1271992 h 12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57350" h="1266825">
                  <a:moveTo>
                    <a:pt x="71432" y="1271992"/>
                  </a:moveTo>
                  <a:cubicBezTo>
                    <a:pt x="76670" y="1271992"/>
                    <a:pt x="82100" y="1271421"/>
                    <a:pt x="87434" y="1270182"/>
                  </a:cubicBezTo>
                  <a:cubicBezTo>
                    <a:pt x="746469" y="1119115"/>
                    <a:pt x="1318540" y="695158"/>
                    <a:pt x="1657059" y="107084"/>
                  </a:cubicBezTo>
                  <a:cubicBezTo>
                    <a:pt x="1676775" y="72890"/>
                    <a:pt x="1664964" y="29170"/>
                    <a:pt x="1630770" y="9548"/>
                  </a:cubicBezTo>
                  <a:cubicBezTo>
                    <a:pt x="1596575" y="-10168"/>
                    <a:pt x="1552855" y="1642"/>
                    <a:pt x="1533234" y="35837"/>
                  </a:cubicBezTo>
                  <a:cubicBezTo>
                    <a:pt x="1214527" y="589621"/>
                    <a:pt x="675888" y="988814"/>
                    <a:pt x="55525" y="1131022"/>
                  </a:cubicBezTo>
                  <a:cubicBezTo>
                    <a:pt x="17044" y="1139880"/>
                    <a:pt x="-6959" y="1178170"/>
                    <a:pt x="1804" y="1216652"/>
                  </a:cubicBezTo>
                  <a:cubicBezTo>
                    <a:pt x="9424" y="1249608"/>
                    <a:pt x="38856" y="1271992"/>
                    <a:pt x="71432" y="1271992"/>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7" name="Freeform: Shape 16">
              <a:extLst>
                <a:ext uri="{FF2B5EF4-FFF2-40B4-BE49-F238E27FC236}">
                  <a16:creationId xmlns:a16="http://schemas.microsoft.com/office/drawing/2014/main" id="{78F9CA2F-60FC-4875-9686-9D5F52C60BB4}"/>
                </a:ext>
              </a:extLst>
            </p:cNvPr>
            <p:cNvSpPr/>
            <p:nvPr/>
          </p:nvSpPr>
          <p:spPr>
            <a:xfrm>
              <a:off x="5932308" y="-2007147"/>
              <a:ext cx="4177086" cy="1993127"/>
            </a:xfrm>
            <a:custGeom>
              <a:avLst/>
              <a:gdLst>
                <a:gd name="connsiteX0" fmla="*/ 1066229 w 1876425"/>
                <a:gd name="connsiteY0" fmla="*/ 209550 h 895350"/>
                <a:gd name="connsiteX1" fmla="*/ 74104 w 1876425"/>
                <a:gd name="connsiteY1" fmla="*/ 0 h 895350"/>
                <a:gd name="connsiteX2" fmla="*/ 71438 w 1876425"/>
                <a:gd name="connsiteY2" fmla="*/ 0 h 895350"/>
                <a:gd name="connsiteX3" fmla="*/ 0 w 1876425"/>
                <a:gd name="connsiteY3" fmla="*/ 71437 h 895350"/>
                <a:gd name="connsiteX4" fmla="*/ 71438 w 1876425"/>
                <a:gd name="connsiteY4" fmla="*/ 142875 h 895350"/>
                <a:gd name="connsiteX5" fmla="*/ 74104 w 1876425"/>
                <a:gd name="connsiteY5" fmla="*/ 142875 h 895350"/>
                <a:gd name="connsiteX6" fmla="*/ 1758124 w 1876425"/>
                <a:gd name="connsiteY6" fmla="*/ 875633 h 895350"/>
                <a:gd name="connsiteX7" fmla="*/ 1810417 w 1876425"/>
                <a:gd name="connsiteY7" fmla="*/ 898398 h 895350"/>
                <a:gd name="connsiteX8" fmla="*/ 1859089 w 1876425"/>
                <a:gd name="connsiteY8" fmla="*/ 879253 h 895350"/>
                <a:gd name="connsiteX9" fmla="*/ 1862709 w 1876425"/>
                <a:gd name="connsiteY9" fmla="*/ 778288 h 895350"/>
                <a:gd name="connsiteX10" fmla="*/ 1066229 w 1876425"/>
                <a:gd name="connsiteY10" fmla="*/ 209550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76425" h="895350">
                  <a:moveTo>
                    <a:pt x="1066229" y="209550"/>
                  </a:moveTo>
                  <a:cubicBezTo>
                    <a:pt x="753332" y="70485"/>
                    <a:pt x="419576" y="0"/>
                    <a:pt x="74104" y="0"/>
                  </a:cubicBezTo>
                  <a:lnTo>
                    <a:pt x="71438" y="0"/>
                  </a:lnTo>
                  <a:cubicBezTo>
                    <a:pt x="32004" y="0"/>
                    <a:pt x="0" y="32004"/>
                    <a:pt x="0" y="71437"/>
                  </a:cubicBezTo>
                  <a:cubicBezTo>
                    <a:pt x="0" y="110871"/>
                    <a:pt x="32004" y="142875"/>
                    <a:pt x="71438" y="142875"/>
                  </a:cubicBezTo>
                  <a:lnTo>
                    <a:pt x="74104" y="142875"/>
                  </a:lnTo>
                  <a:cubicBezTo>
                    <a:pt x="710851" y="142875"/>
                    <a:pt x="1324642" y="409956"/>
                    <a:pt x="1758124" y="875633"/>
                  </a:cubicBezTo>
                  <a:cubicBezTo>
                    <a:pt x="1772222" y="890778"/>
                    <a:pt x="1791272" y="898398"/>
                    <a:pt x="1810417" y="898398"/>
                  </a:cubicBezTo>
                  <a:cubicBezTo>
                    <a:pt x="1827848" y="898398"/>
                    <a:pt x="1845278" y="892016"/>
                    <a:pt x="1859089" y="879253"/>
                  </a:cubicBezTo>
                  <a:cubicBezTo>
                    <a:pt x="1887950" y="852392"/>
                    <a:pt x="1889570" y="807149"/>
                    <a:pt x="1862709" y="778288"/>
                  </a:cubicBezTo>
                  <a:cubicBezTo>
                    <a:pt x="1636490" y="535210"/>
                    <a:pt x="1368552" y="343853"/>
                    <a:pt x="1066229" y="209550"/>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nvGrpSpPr>
          <p:cNvPr id="42" name="Group 41">
            <a:extLst>
              <a:ext uri="{FF2B5EF4-FFF2-40B4-BE49-F238E27FC236}">
                <a16:creationId xmlns:a16="http://schemas.microsoft.com/office/drawing/2014/main" id="{F63B570E-FDE3-4A0A-8AFC-4AB6A3C0619A}"/>
              </a:ext>
            </a:extLst>
          </p:cNvPr>
          <p:cNvGrpSpPr/>
          <p:nvPr/>
        </p:nvGrpSpPr>
        <p:grpSpPr>
          <a:xfrm>
            <a:off x="1319492" y="-1347295"/>
            <a:ext cx="9540120" cy="9534634"/>
            <a:chOff x="1319492" y="-1347295"/>
            <a:chExt cx="9540120" cy="9534634"/>
          </a:xfrm>
          <a:solidFill>
            <a:schemeClr val="accent3">
              <a:lumMod val="20000"/>
              <a:lumOff val="80000"/>
              <a:alpha val="50000"/>
            </a:schemeClr>
          </a:solidFill>
        </p:grpSpPr>
        <p:sp>
          <p:nvSpPr>
            <p:cNvPr id="18" name="Freeform: Shape 17">
              <a:extLst>
                <a:ext uri="{FF2B5EF4-FFF2-40B4-BE49-F238E27FC236}">
                  <a16:creationId xmlns:a16="http://schemas.microsoft.com/office/drawing/2014/main" id="{C88EBBAB-D824-417C-9836-52C3DF1DA82E}"/>
                </a:ext>
              </a:extLst>
            </p:cNvPr>
            <p:cNvSpPr/>
            <p:nvPr/>
          </p:nvSpPr>
          <p:spPr>
            <a:xfrm>
              <a:off x="8484822" y="-583720"/>
              <a:ext cx="2374790" cy="4177085"/>
            </a:xfrm>
            <a:custGeom>
              <a:avLst/>
              <a:gdLst>
                <a:gd name="connsiteX0" fmla="*/ 110854 w 1066800"/>
                <a:gd name="connsiteY0" fmla="*/ 11889 h 1876425"/>
                <a:gd name="connsiteX1" fmla="*/ 11889 w 1066800"/>
                <a:gd name="connsiteY1" fmla="*/ 32082 h 1876425"/>
                <a:gd name="connsiteX2" fmla="*/ 32082 w 1066800"/>
                <a:gd name="connsiteY2" fmla="*/ 131047 h 1876425"/>
                <a:gd name="connsiteX3" fmla="*/ 930861 w 1066800"/>
                <a:gd name="connsiteY3" fmla="*/ 1803161 h 1876425"/>
                <a:gd name="connsiteX4" fmla="*/ 930861 w 1066800"/>
                <a:gd name="connsiteY4" fmla="*/ 1807257 h 1876425"/>
                <a:gd name="connsiteX5" fmla="*/ 1002108 w 1066800"/>
                <a:gd name="connsiteY5" fmla="*/ 1878885 h 1876425"/>
                <a:gd name="connsiteX6" fmla="*/ 1002299 w 1066800"/>
                <a:gd name="connsiteY6" fmla="*/ 1878885 h 1876425"/>
                <a:gd name="connsiteX7" fmla="*/ 1073737 w 1066800"/>
                <a:gd name="connsiteY7" fmla="*/ 1807638 h 1876425"/>
                <a:gd name="connsiteX8" fmla="*/ 1073737 w 1066800"/>
                <a:gd name="connsiteY8" fmla="*/ 1803066 h 1876425"/>
                <a:gd name="connsiteX9" fmla="*/ 110854 w 1066800"/>
                <a:gd name="connsiteY9" fmla="*/ 11889 h 1876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6800" h="1876425">
                  <a:moveTo>
                    <a:pt x="110854" y="11889"/>
                  </a:moveTo>
                  <a:cubicBezTo>
                    <a:pt x="77898" y="-9923"/>
                    <a:pt x="33606" y="-874"/>
                    <a:pt x="11889" y="32082"/>
                  </a:cubicBezTo>
                  <a:cubicBezTo>
                    <a:pt x="-9923" y="64944"/>
                    <a:pt x="-874" y="109330"/>
                    <a:pt x="32082" y="131047"/>
                  </a:cubicBezTo>
                  <a:cubicBezTo>
                    <a:pt x="594915" y="503284"/>
                    <a:pt x="930861" y="1128410"/>
                    <a:pt x="930861" y="1803161"/>
                  </a:cubicBezTo>
                  <a:lnTo>
                    <a:pt x="930861" y="1807257"/>
                  </a:lnTo>
                  <a:cubicBezTo>
                    <a:pt x="930766" y="1846690"/>
                    <a:pt x="962580" y="1878789"/>
                    <a:pt x="1002108" y="1878885"/>
                  </a:cubicBezTo>
                  <a:cubicBezTo>
                    <a:pt x="1002204" y="1878885"/>
                    <a:pt x="1002299" y="1878885"/>
                    <a:pt x="1002299" y="1878885"/>
                  </a:cubicBezTo>
                  <a:cubicBezTo>
                    <a:pt x="1041637" y="1878885"/>
                    <a:pt x="1073641" y="1847071"/>
                    <a:pt x="1073737" y="1807638"/>
                  </a:cubicBezTo>
                  <a:lnTo>
                    <a:pt x="1073737" y="1803066"/>
                  </a:lnTo>
                  <a:cubicBezTo>
                    <a:pt x="1073737" y="1080309"/>
                    <a:pt x="713787" y="410701"/>
                    <a:pt x="110854" y="11889"/>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9" name="Freeform: Shape 18">
              <a:extLst>
                <a:ext uri="{FF2B5EF4-FFF2-40B4-BE49-F238E27FC236}">
                  <a16:creationId xmlns:a16="http://schemas.microsoft.com/office/drawing/2014/main" id="{D89C864D-6C28-4E9C-B4BE-DA54AE33AADF}"/>
                </a:ext>
              </a:extLst>
            </p:cNvPr>
            <p:cNvSpPr/>
            <p:nvPr/>
          </p:nvSpPr>
          <p:spPr>
            <a:xfrm>
              <a:off x="1319492" y="552352"/>
              <a:ext cx="1187395" cy="4643561"/>
            </a:xfrm>
            <a:custGeom>
              <a:avLst/>
              <a:gdLst>
                <a:gd name="connsiteX0" fmla="*/ 510445 w 533400"/>
                <a:gd name="connsiteY0" fmla="*/ 13704 h 2085975"/>
                <a:gd name="connsiteX1" fmla="*/ 410623 w 533400"/>
                <a:gd name="connsiteY1" fmla="*/ 29325 h 2085975"/>
                <a:gd name="connsiteX2" fmla="*/ 0 w 533400"/>
                <a:gd name="connsiteY2" fmla="*/ 1292816 h 2085975"/>
                <a:gd name="connsiteX3" fmla="*/ 135255 w 533400"/>
                <a:gd name="connsiteY3" fmla="*/ 2044910 h 2085975"/>
                <a:gd name="connsiteX4" fmla="*/ 202216 w 533400"/>
                <a:gd name="connsiteY4" fmla="*/ 2091392 h 2085975"/>
                <a:gd name="connsiteX5" fmla="*/ 227171 w 533400"/>
                <a:gd name="connsiteY5" fmla="*/ 2086821 h 2085975"/>
                <a:gd name="connsiteX6" fmla="*/ 269081 w 533400"/>
                <a:gd name="connsiteY6" fmla="*/ 1994904 h 2085975"/>
                <a:gd name="connsiteX7" fmla="*/ 142875 w 533400"/>
                <a:gd name="connsiteY7" fmla="*/ 1292816 h 2085975"/>
                <a:gd name="connsiteX8" fmla="*/ 526066 w 533400"/>
                <a:gd name="connsiteY8" fmla="*/ 113431 h 2085975"/>
                <a:gd name="connsiteX9" fmla="*/ 510445 w 533400"/>
                <a:gd name="connsiteY9" fmla="*/ 13704 h 208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3400" h="2085975">
                  <a:moveTo>
                    <a:pt x="510445" y="13704"/>
                  </a:moveTo>
                  <a:cubicBezTo>
                    <a:pt x="478536" y="-9537"/>
                    <a:pt x="433864" y="-2488"/>
                    <a:pt x="410623" y="29325"/>
                  </a:cubicBezTo>
                  <a:cubicBezTo>
                    <a:pt x="142018" y="397847"/>
                    <a:pt x="0" y="834759"/>
                    <a:pt x="0" y="1292816"/>
                  </a:cubicBezTo>
                  <a:cubicBezTo>
                    <a:pt x="0" y="1551706"/>
                    <a:pt x="45530" y="1804690"/>
                    <a:pt x="135255" y="2044910"/>
                  </a:cubicBezTo>
                  <a:cubicBezTo>
                    <a:pt x="146018" y="2073676"/>
                    <a:pt x="173260" y="2091392"/>
                    <a:pt x="202216" y="2091392"/>
                  </a:cubicBezTo>
                  <a:cubicBezTo>
                    <a:pt x="210503" y="2091392"/>
                    <a:pt x="218980" y="2089964"/>
                    <a:pt x="227171" y="2086821"/>
                  </a:cubicBezTo>
                  <a:cubicBezTo>
                    <a:pt x="264128" y="2073009"/>
                    <a:pt x="282893" y="2031861"/>
                    <a:pt x="269081" y="1994904"/>
                  </a:cubicBezTo>
                  <a:cubicBezTo>
                    <a:pt x="185357" y="1770781"/>
                    <a:pt x="142875" y="1534561"/>
                    <a:pt x="142875" y="1292816"/>
                  </a:cubicBezTo>
                  <a:cubicBezTo>
                    <a:pt x="142875" y="865239"/>
                    <a:pt x="275368" y="457379"/>
                    <a:pt x="526066" y="113431"/>
                  </a:cubicBezTo>
                  <a:cubicBezTo>
                    <a:pt x="549307" y="81617"/>
                    <a:pt x="542354" y="36945"/>
                    <a:pt x="510445" y="13704"/>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20" name="Freeform: Shape 19">
              <a:extLst>
                <a:ext uri="{FF2B5EF4-FFF2-40B4-BE49-F238E27FC236}">
                  <a16:creationId xmlns:a16="http://schemas.microsoft.com/office/drawing/2014/main" id="{B5FCCA40-F78D-49DD-8A67-D46A5107FF81}"/>
                </a:ext>
              </a:extLst>
            </p:cNvPr>
            <p:cNvSpPr/>
            <p:nvPr/>
          </p:nvSpPr>
          <p:spPr>
            <a:xfrm>
              <a:off x="7358716" y="4509617"/>
              <a:ext cx="3328947" cy="3456166"/>
            </a:xfrm>
            <a:custGeom>
              <a:avLst/>
              <a:gdLst>
                <a:gd name="connsiteX0" fmla="*/ 3502 w 1495425"/>
                <a:gd name="connsiteY0" fmla="*/ 1512149 h 1552575"/>
                <a:gd name="connsiteX1" fmla="*/ 71511 w 1495425"/>
                <a:gd name="connsiteY1" fmla="*/ 1561679 h 1552575"/>
                <a:gd name="connsiteX2" fmla="*/ 93418 w 1495425"/>
                <a:gd name="connsiteY2" fmla="*/ 1558250 h 1552575"/>
                <a:gd name="connsiteX3" fmla="*/ 981529 w 1495425"/>
                <a:gd name="connsiteY3" fmla="*/ 1002466 h 1552575"/>
                <a:gd name="connsiteX4" fmla="*/ 1501785 w 1495425"/>
                <a:gd name="connsiteY4" fmla="*/ 90543 h 1552575"/>
                <a:gd name="connsiteX5" fmla="*/ 1451969 w 1495425"/>
                <a:gd name="connsiteY5" fmla="*/ 2627 h 1552575"/>
                <a:gd name="connsiteX6" fmla="*/ 1364053 w 1495425"/>
                <a:gd name="connsiteY6" fmla="*/ 52443 h 1552575"/>
                <a:gd name="connsiteX7" fmla="*/ 49508 w 1495425"/>
                <a:gd name="connsiteY7" fmla="*/ 1422329 h 1552575"/>
                <a:gd name="connsiteX8" fmla="*/ 3502 w 1495425"/>
                <a:gd name="connsiteY8" fmla="*/ 1512149 h 155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5425" h="1552575">
                  <a:moveTo>
                    <a:pt x="3502" y="1512149"/>
                  </a:moveTo>
                  <a:cubicBezTo>
                    <a:pt x="13218" y="1542439"/>
                    <a:pt x="41317" y="1561679"/>
                    <a:pt x="71511" y="1561679"/>
                  </a:cubicBezTo>
                  <a:cubicBezTo>
                    <a:pt x="78750" y="1561679"/>
                    <a:pt x="86179" y="1560536"/>
                    <a:pt x="93418" y="1558250"/>
                  </a:cubicBezTo>
                  <a:cubicBezTo>
                    <a:pt x="428984" y="1450046"/>
                    <a:pt x="736070" y="1257927"/>
                    <a:pt x="981529" y="1002466"/>
                  </a:cubicBezTo>
                  <a:cubicBezTo>
                    <a:pt x="1227560" y="746434"/>
                    <a:pt x="1407487" y="431062"/>
                    <a:pt x="1501785" y="90543"/>
                  </a:cubicBezTo>
                  <a:cubicBezTo>
                    <a:pt x="1512357" y="52538"/>
                    <a:pt x="1490069" y="13200"/>
                    <a:pt x="1451969" y="2627"/>
                  </a:cubicBezTo>
                  <a:cubicBezTo>
                    <a:pt x="1413964" y="-7946"/>
                    <a:pt x="1374626" y="14343"/>
                    <a:pt x="1364053" y="52443"/>
                  </a:cubicBezTo>
                  <a:cubicBezTo>
                    <a:pt x="1183745" y="703000"/>
                    <a:pt x="692350" y="1215160"/>
                    <a:pt x="49508" y="1422329"/>
                  </a:cubicBezTo>
                  <a:cubicBezTo>
                    <a:pt x="11979" y="1434330"/>
                    <a:pt x="-8690" y="1474525"/>
                    <a:pt x="3502" y="1512149"/>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21" name="Freeform: Shape 20">
              <a:extLst>
                <a:ext uri="{FF2B5EF4-FFF2-40B4-BE49-F238E27FC236}">
                  <a16:creationId xmlns:a16="http://schemas.microsoft.com/office/drawing/2014/main" id="{E6F83591-72FB-4E9F-B36D-8A769F698F58}"/>
                </a:ext>
              </a:extLst>
            </p:cNvPr>
            <p:cNvSpPr/>
            <p:nvPr/>
          </p:nvSpPr>
          <p:spPr>
            <a:xfrm>
              <a:off x="3060827" y="-1347295"/>
              <a:ext cx="4622359" cy="1314615"/>
            </a:xfrm>
            <a:custGeom>
              <a:avLst/>
              <a:gdLst>
                <a:gd name="connsiteX0" fmla="*/ 2028396 w 2076450"/>
                <a:gd name="connsiteY0" fmla="*/ 104584 h 590550"/>
                <a:gd name="connsiteX1" fmla="*/ 1364028 w 2076450"/>
                <a:gd name="connsiteY1" fmla="*/ 0 h 590550"/>
                <a:gd name="connsiteX2" fmla="*/ 26908 w 2076450"/>
                <a:gd name="connsiteY2" fmla="*/ 466725 h 590550"/>
                <a:gd name="connsiteX3" fmla="*/ 15573 w 2076450"/>
                <a:gd name="connsiteY3" fmla="*/ 567119 h 590550"/>
                <a:gd name="connsiteX4" fmla="*/ 71485 w 2076450"/>
                <a:gd name="connsiteY4" fmla="*/ 594074 h 590550"/>
                <a:gd name="connsiteX5" fmla="*/ 115967 w 2076450"/>
                <a:gd name="connsiteY5" fmla="*/ 578453 h 590550"/>
                <a:gd name="connsiteX6" fmla="*/ 1364028 w 2076450"/>
                <a:gd name="connsiteY6" fmla="*/ 142875 h 590550"/>
                <a:gd name="connsiteX7" fmla="*/ 1984296 w 2076450"/>
                <a:gd name="connsiteY7" fmla="*/ 240506 h 590550"/>
                <a:gd name="connsiteX8" fmla="*/ 2074307 w 2076450"/>
                <a:gd name="connsiteY8" fmla="*/ 194596 h 590550"/>
                <a:gd name="connsiteX9" fmla="*/ 2028396 w 2076450"/>
                <a:gd name="connsiteY9" fmla="*/ 104584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76450" h="590550">
                  <a:moveTo>
                    <a:pt x="2028396" y="104584"/>
                  </a:moveTo>
                  <a:cubicBezTo>
                    <a:pt x="1814560" y="35147"/>
                    <a:pt x="1591008" y="0"/>
                    <a:pt x="1364028" y="0"/>
                  </a:cubicBezTo>
                  <a:cubicBezTo>
                    <a:pt x="872442" y="0"/>
                    <a:pt x="410099" y="161353"/>
                    <a:pt x="26908" y="466725"/>
                  </a:cubicBezTo>
                  <a:cubicBezTo>
                    <a:pt x="-3953" y="491299"/>
                    <a:pt x="-9001" y="536258"/>
                    <a:pt x="15573" y="567119"/>
                  </a:cubicBezTo>
                  <a:cubicBezTo>
                    <a:pt x="29670" y="584835"/>
                    <a:pt x="50435" y="594074"/>
                    <a:pt x="71485" y="594074"/>
                  </a:cubicBezTo>
                  <a:cubicBezTo>
                    <a:pt x="87106" y="594074"/>
                    <a:pt x="102822" y="589026"/>
                    <a:pt x="115967" y="578453"/>
                  </a:cubicBezTo>
                  <a:cubicBezTo>
                    <a:pt x="473535" y="293465"/>
                    <a:pt x="905113" y="142875"/>
                    <a:pt x="1364028" y="142875"/>
                  </a:cubicBezTo>
                  <a:cubicBezTo>
                    <a:pt x="1576054" y="142875"/>
                    <a:pt x="1784747" y="175736"/>
                    <a:pt x="1984296" y="240506"/>
                  </a:cubicBezTo>
                  <a:cubicBezTo>
                    <a:pt x="2021824" y="252698"/>
                    <a:pt x="2062115" y="232124"/>
                    <a:pt x="2074307" y="194596"/>
                  </a:cubicBezTo>
                  <a:cubicBezTo>
                    <a:pt x="2086499" y="157067"/>
                    <a:pt x="2065925" y="116776"/>
                    <a:pt x="2028396" y="104584"/>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22" name="Freeform: Shape 21">
              <a:extLst>
                <a:ext uri="{FF2B5EF4-FFF2-40B4-BE49-F238E27FC236}">
                  <a16:creationId xmlns:a16="http://schemas.microsoft.com/office/drawing/2014/main" id="{96BCBF7B-E391-497A-9A1C-BAC7DF1A6EF6}"/>
                </a:ext>
              </a:extLst>
            </p:cNvPr>
            <p:cNvSpPr/>
            <p:nvPr/>
          </p:nvSpPr>
          <p:spPr>
            <a:xfrm>
              <a:off x="2197172" y="5982178"/>
              <a:ext cx="4240696" cy="2205161"/>
            </a:xfrm>
            <a:custGeom>
              <a:avLst/>
              <a:gdLst>
                <a:gd name="connsiteX0" fmla="*/ 1913257 w 1905000"/>
                <a:gd name="connsiteY0" fmla="*/ 923514 h 990600"/>
                <a:gd name="connsiteX1" fmla="*/ 1838866 w 1905000"/>
                <a:gd name="connsiteY1" fmla="*/ 855220 h 990600"/>
                <a:gd name="connsiteX2" fmla="*/ 1751998 w 1905000"/>
                <a:gd name="connsiteY2" fmla="*/ 857029 h 990600"/>
                <a:gd name="connsiteX3" fmla="*/ 129224 w 1905000"/>
                <a:gd name="connsiteY3" fmla="*/ 29497 h 990600"/>
                <a:gd name="connsiteX4" fmla="*/ 29497 w 1905000"/>
                <a:gd name="connsiteY4" fmla="*/ 13591 h 990600"/>
                <a:gd name="connsiteX5" fmla="*/ 13591 w 1905000"/>
                <a:gd name="connsiteY5" fmla="*/ 113413 h 990600"/>
                <a:gd name="connsiteX6" fmla="*/ 760636 w 1905000"/>
                <a:gd name="connsiteY6" fmla="*/ 758160 h 990600"/>
                <a:gd name="connsiteX7" fmla="*/ 1751903 w 1905000"/>
                <a:gd name="connsiteY7" fmla="*/ 999904 h 990600"/>
                <a:gd name="connsiteX8" fmla="*/ 1844772 w 1905000"/>
                <a:gd name="connsiteY8" fmla="*/ 997904 h 990600"/>
                <a:gd name="connsiteX9" fmla="*/ 1913257 w 1905000"/>
                <a:gd name="connsiteY9" fmla="*/ 923514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00" h="990600">
                  <a:moveTo>
                    <a:pt x="1913257" y="923514"/>
                  </a:moveTo>
                  <a:cubicBezTo>
                    <a:pt x="1911542" y="884080"/>
                    <a:pt x="1878395" y="853410"/>
                    <a:pt x="1838866" y="855220"/>
                  </a:cubicBezTo>
                  <a:cubicBezTo>
                    <a:pt x="1810101" y="856458"/>
                    <a:pt x="1780859" y="857029"/>
                    <a:pt x="1751998" y="857029"/>
                  </a:cubicBezTo>
                  <a:cubicBezTo>
                    <a:pt x="1111823" y="857029"/>
                    <a:pt x="505176" y="547657"/>
                    <a:pt x="129224" y="29497"/>
                  </a:cubicBezTo>
                  <a:cubicBezTo>
                    <a:pt x="106078" y="-2411"/>
                    <a:pt x="61406" y="-9555"/>
                    <a:pt x="29497" y="13591"/>
                  </a:cubicBezTo>
                  <a:cubicBezTo>
                    <a:pt x="-2411" y="36736"/>
                    <a:pt x="-9555" y="81408"/>
                    <a:pt x="13591" y="113413"/>
                  </a:cubicBezTo>
                  <a:cubicBezTo>
                    <a:pt x="208567" y="382113"/>
                    <a:pt x="466885" y="604998"/>
                    <a:pt x="760636" y="758160"/>
                  </a:cubicBezTo>
                  <a:cubicBezTo>
                    <a:pt x="1064198" y="916370"/>
                    <a:pt x="1407003" y="999904"/>
                    <a:pt x="1751903" y="999904"/>
                  </a:cubicBezTo>
                  <a:cubicBezTo>
                    <a:pt x="1782764" y="999904"/>
                    <a:pt x="1814006" y="999238"/>
                    <a:pt x="1844772" y="997904"/>
                  </a:cubicBezTo>
                  <a:cubicBezTo>
                    <a:pt x="1884301" y="996285"/>
                    <a:pt x="1914971" y="962947"/>
                    <a:pt x="1913257" y="923514"/>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nvGrpSpPr>
          <p:cNvPr id="41" name="Group 40">
            <a:extLst>
              <a:ext uri="{FF2B5EF4-FFF2-40B4-BE49-F238E27FC236}">
                <a16:creationId xmlns:a16="http://schemas.microsoft.com/office/drawing/2014/main" id="{05A86CB6-19CA-43B9-ADC2-F2F984F45255}"/>
              </a:ext>
            </a:extLst>
          </p:cNvPr>
          <p:cNvGrpSpPr/>
          <p:nvPr/>
        </p:nvGrpSpPr>
        <p:grpSpPr>
          <a:xfrm>
            <a:off x="1979345" y="-687654"/>
            <a:ext cx="8223765" cy="8216263"/>
            <a:chOff x="1979345" y="-687654"/>
            <a:chExt cx="8223765" cy="8216263"/>
          </a:xfrm>
          <a:solidFill>
            <a:schemeClr val="accent1">
              <a:lumMod val="20000"/>
              <a:lumOff val="80000"/>
              <a:alpha val="40000"/>
            </a:schemeClr>
          </a:solidFill>
        </p:grpSpPr>
        <p:sp>
          <p:nvSpPr>
            <p:cNvPr id="23" name="Freeform: Shape 22">
              <a:extLst>
                <a:ext uri="{FF2B5EF4-FFF2-40B4-BE49-F238E27FC236}">
                  <a16:creationId xmlns:a16="http://schemas.microsoft.com/office/drawing/2014/main" id="{A92C6F9D-2616-45A1-ADFB-749ABE089C69}"/>
                </a:ext>
              </a:extLst>
            </p:cNvPr>
            <p:cNvSpPr/>
            <p:nvPr/>
          </p:nvSpPr>
          <p:spPr>
            <a:xfrm>
              <a:off x="1979345" y="-465210"/>
              <a:ext cx="2947284" cy="4049864"/>
            </a:xfrm>
            <a:custGeom>
              <a:avLst/>
              <a:gdLst>
                <a:gd name="connsiteX0" fmla="*/ 71438 w 1323975"/>
                <a:gd name="connsiteY0" fmla="*/ 1822600 h 1819275"/>
                <a:gd name="connsiteX1" fmla="*/ 142875 w 1323975"/>
                <a:gd name="connsiteY1" fmla="*/ 1751162 h 1819275"/>
                <a:gd name="connsiteX2" fmla="*/ 142875 w 1323975"/>
                <a:gd name="connsiteY2" fmla="*/ 1749924 h 1819275"/>
                <a:gd name="connsiteX3" fmla="*/ 1283875 w 1323975"/>
                <a:gd name="connsiteY3" fmla="*/ 138865 h 1819275"/>
                <a:gd name="connsiteX4" fmla="*/ 1327595 w 1323975"/>
                <a:gd name="connsiteY4" fmla="*/ 47806 h 1819275"/>
                <a:gd name="connsiteX5" fmla="*/ 1236536 w 1323975"/>
                <a:gd name="connsiteY5" fmla="*/ 4086 h 1819275"/>
                <a:gd name="connsiteX6" fmla="*/ 0 w 1323975"/>
                <a:gd name="connsiteY6" fmla="*/ 1750019 h 1819275"/>
                <a:gd name="connsiteX7" fmla="*/ 0 w 1323975"/>
                <a:gd name="connsiteY7" fmla="*/ 1751257 h 1819275"/>
                <a:gd name="connsiteX8" fmla="*/ 71438 w 1323975"/>
                <a:gd name="connsiteY8" fmla="*/ 1822600 h 181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3975" h="1819275">
                  <a:moveTo>
                    <a:pt x="71438" y="1822600"/>
                  </a:moveTo>
                  <a:cubicBezTo>
                    <a:pt x="110871" y="1822600"/>
                    <a:pt x="142875" y="1790595"/>
                    <a:pt x="142875" y="1751162"/>
                  </a:cubicBezTo>
                  <a:lnTo>
                    <a:pt x="142875" y="1749924"/>
                  </a:lnTo>
                  <a:cubicBezTo>
                    <a:pt x="142875" y="1025643"/>
                    <a:pt x="601409" y="378228"/>
                    <a:pt x="1283875" y="138865"/>
                  </a:cubicBezTo>
                  <a:cubicBezTo>
                    <a:pt x="1321118" y="125816"/>
                    <a:pt x="1340739" y="85049"/>
                    <a:pt x="1327595" y="47806"/>
                  </a:cubicBezTo>
                  <a:cubicBezTo>
                    <a:pt x="1314545" y="10563"/>
                    <a:pt x="1273778" y="-9058"/>
                    <a:pt x="1236536" y="4086"/>
                  </a:cubicBezTo>
                  <a:cubicBezTo>
                    <a:pt x="496919" y="263547"/>
                    <a:pt x="0" y="965159"/>
                    <a:pt x="0" y="1750019"/>
                  </a:cubicBezTo>
                  <a:lnTo>
                    <a:pt x="0" y="1751257"/>
                  </a:lnTo>
                  <a:cubicBezTo>
                    <a:pt x="0" y="1790595"/>
                    <a:pt x="32004" y="1822600"/>
                    <a:pt x="71438" y="1822600"/>
                  </a:cubicBezTo>
                  <a:close/>
                </a:path>
              </a:pathLst>
            </a:custGeom>
            <a:grpFill/>
            <a:ln w="9525" cap="flat">
              <a:no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DDB2B665-32EB-4CBE-AF62-52F3EE87CFFE}"/>
                </a:ext>
              </a:extLst>
            </p:cNvPr>
            <p:cNvSpPr/>
            <p:nvPr/>
          </p:nvSpPr>
          <p:spPr>
            <a:xfrm>
              <a:off x="7255826" y="3263189"/>
              <a:ext cx="2947284" cy="4049864"/>
            </a:xfrm>
            <a:custGeom>
              <a:avLst/>
              <a:gdLst>
                <a:gd name="connsiteX0" fmla="*/ 1257968 w 1323975"/>
                <a:gd name="connsiteY0" fmla="*/ 0 h 1819275"/>
                <a:gd name="connsiteX1" fmla="*/ 1257683 w 1323975"/>
                <a:gd name="connsiteY1" fmla="*/ 0 h 1819275"/>
                <a:gd name="connsiteX2" fmla="*/ 1186531 w 1323975"/>
                <a:gd name="connsiteY2" fmla="*/ 71723 h 1819275"/>
                <a:gd name="connsiteX3" fmla="*/ 1186531 w 1323975"/>
                <a:gd name="connsiteY3" fmla="*/ 75057 h 1819275"/>
                <a:gd name="connsiteX4" fmla="*/ 47722 w 1323975"/>
                <a:gd name="connsiteY4" fmla="*/ 1685354 h 1819275"/>
                <a:gd name="connsiteX5" fmla="*/ 4097 w 1323975"/>
                <a:gd name="connsiteY5" fmla="*/ 1776508 h 1819275"/>
                <a:gd name="connsiteX6" fmla="*/ 71439 w 1323975"/>
                <a:gd name="connsiteY6" fmla="*/ 1824228 h 1819275"/>
                <a:gd name="connsiteX7" fmla="*/ 95156 w 1323975"/>
                <a:gd name="connsiteY7" fmla="*/ 1820132 h 1819275"/>
                <a:gd name="connsiteX8" fmla="*/ 1329311 w 1323975"/>
                <a:gd name="connsiteY8" fmla="*/ 75057 h 1819275"/>
                <a:gd name="connsiteX9" fmla="*/ 1329311 w 1323975"/>
                <a:gd name="connsiteY9" fmla="*/ 71152 h 1819275"/>
                <a:gd name="connsiteX10" fmla="*/ 1257968 w 1323975"/>
                <a:gd name="connsiteY10" fmla="*/ 0 h 181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23975" h="1819275">
                  <a:moveTo>
                    <a:pt x="1257968" y="0"/>
                  </a:moveTo>
                  <a:cubicBezTo>
                    <a:pt x="1257873" y="0"/>
                    <a:pt x="1257778" y="0"/>
                    <a:pt x="1257683" y="0"/>
                  </a:cubicBezTo>
                  <a:cubicBezTo>
                    <a:pt x="1218249" y="191"/>
                    <a:pt x="1186340" y="32290"/>
                    <a:pt x="1186531" y="71723"/>
                  </a:cubicBezTo>
                  <a:lnTo>
                    <a:pt x="1186531" y="75057"/>
                  </a:lnTo>
                  <a:cubicBezTo>
                    <a:pt x="1186531" y="798290"/>
                    <a:pt x="728855" y="1445419"/>
                    <a:pt x="47722" y="1685354"/>
                  </a:cubicBezTo>
                  <a:cubicBezTo>
                    <a:pt x="10479" y="1698498"/>
                    <a:pt x="-9047" y="1739265"/>
                    <a:pt x="4097" y="1776508"/>
                  </a:cubicBezTo>
                  <a:cubicBezTo>
                    <a:pt x="14480" y="1805845"/>
                    <a:pt x="42007" y="1824228"/>
                    <a:pt x="71439" y="1824228"/>
                  </a:cubicBezTo>
                  <a:cubicBezTo>
                    <a:pt x="79345" y="1824228"/>
                    <a:pt x="87346" y="1822895"/>
                    <a:pt x="95156" y="1820132"/>
                  </a:cubicBezTo>
                  <a:cubicBezTo>
                    <a:pt x="833344" y="1560100"/>
                    <a:pt x="1329311" y="858774"/>
                    <a:pt x="1329311" y="75057"/>
                  </a:cubicBezTo>
                  <a:lnTo>
                    <a:pt x="1329311" y="71152"/>
                  </a:lnTo>
                  <a:cubicBezTo>
                    <a:pt x="1329311" y="31813"/>
                    <a:pt x="1297307" y="0"/>
                    <a:pt x="1257968" y="0"/>
                  </a:cubicBezTo>
                  <a:close/>
                </a:path>
              </a:pathLst>
            </a:custGeom>
            <a:grpFill/>
            <a:ln w="9525" cap="flat">
              <a:no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D4C79BFC-E243-49F1-AB44-ECDFF5E4F98D}"/>
                </a:ext>
              </a:extLst>
            </p:cNvPr>
            <p:cNvSpPr/>
            <p:nvPr/>
          </p:nvSpPr>
          <p:spPr>
            <a:xfrm>
              <a:off x="2200836" y="4581326"/>
              <a:ext cx="4049865" cy="2947283"/>
            </a:xfrm>
            <a:custGeom>
              <a:avLst/>
              <a:gdLst>
                <a:gd name="connsiteX0" fmla="*/ 138912 w 1819275"/>
                <a:gd name="connsiteY0" fmla="*/ 47853 h 1323975"/>
                <a:gd name="connsiteX1" fmla="*/ 47853 w 1819275"/>
                <a:gd name="connsiteY1" fmla="*/ 4038 h 1323975"/>
                <a:gd name="connsiteX2" fmla="*/ 4038 w 1819275"/>
                <a:gd name="connsiteY2" fmla="*/ 95097 h 1323975"/>
                <a:gd name="connsiteX3" fmla="*/ 1750352 w 1819275"/>
                <a:gd name="connsiteY3" fmla="*/ 1332776 h 1323975"/>
                <a:gd name="connsiteX4" fmla="*/ 1755400 w 1819275"/>
                <a:gd name="connsiteY4" fmla="*/ 1332776 h 1323975"/>
                <a:gd name="connsiteX5" fmla="*/ 1826647 w 1819275"/>
                <a:gd name="connsiteY5" fmla="*/ 1261148 h 1323975"/>
                <a:gd name="connsiteX6" fmla="*/ 1755209 w 1819275"/>
                <a:gd name="connsiteY6" fmla="*/ 1189901 h 1323975"/>
                <a:gd name="connsiteX7" fmla="*/ 1755019 w 1819275"/>
                <a:gd name="connsiteY7" fmla="*/ 1189901 h 1323975"/>
                <a:gd name="connsiteX8" fmla="*/ 1750447 w 1819275"/>
                <a:gd name="connsiteY8" fmla="*/ 1189901 h 1323975"/>
                <a:gd name="connsiteX9" fmla="*/ 138912 w 1819275"/>
                <a:gd name="connsiteY9" fmla="*/ 47853 h 132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19275" h="1323975">
                  <a:moveTo>
                    <a:pt x="138912" y="47853"/>
                  </a:moveTo>
                  <a:cubicBezTo>
                    <a:pt x="125863" y="10610"/>
                    <a:pt x="85096" y="-9011"/>
                    <a:pt x="47853" y="4038"/>
                  </a:cubicBezTo>
                  <a:cubicBezTo>
                    <a:pt x="10610" y="17088"/>
                    <a:pt x="-9011" y="57855"/>
                    <a:pt x="4038" y="95097"/>
                  </a:cubicBezTo>
                  <a:cubicBezTo>
                    <a:pt x="263118" y="835380"/>
                    <a:pt x="964920" y="1332776"/>
                    <a:pt x="1750352" y="1332776"/>
                  </a:cubicBezTo>
                  <a:lnTo>
                    <a:pt x="1755400" y="1332776"/>
                  </a:lnTo>
                  <a:cubicBezTo>
                    <a:pt x="1794833" y="1332681"/>
                    <a:pt x="1826742" y="1300581"/>
                    <a:pt x="1826647" y="1261148"/>
                  </a:cubicBezTo>
                  <a:cubicBezTo>
                    <a:pt x="1826552" y="1221809"/>
                    <a:pt x="1794548" y="1189901"/>
                    <a:pt x="1755209" y="1189901"/>
                  </a:cubicBezTo>
                  <a:cubicBezTo>
                    <a:pt x="1755114" y="1189901"/>
                    <a:pt x="1755114" y="1189901"/>
                    <a:pt x="1755019" y="1189901"/>
                  </a:cubicBezTo>
                  <a:lnTo>
                    <a:pt x="1750447" y="1189901"/>
                  </a:lnTo>
                  <a:cubicBezTo>
                    <a:pt x="1025594" y="1189901"/>
                    <a:pt x="377990" y="730986"/>
                    <a:pt x="138912" y="47853"/>
                  </a:cubicBezTo>
                  <a:close/>
                </a:path>
              </a:pathLst>
            </a:custGeom>
            <a:grp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50F8F548-7A1F-4E32-A4EE-FA0B67201AC4}"/>
                </a:ext>
              </a:extLst>
            </p:cNvPr>
            <p:cNvSpPr/>
            <p:nvPr/>
          </p:nvSpPr>
          <p:spPr>
            <a:xfrm>
              <a:off x="5932945" y="-687654"/>
              <a:ext cx="4049865" cy="2947283"/>
            </a:xfrm>
            <a:custGeom>
              <a:avLst/>
              <a:gdLst>
                <a:gd name="connsiteX0" fmla="*/ 73819 w 1819275"/>
                <a:gd name="connsiteY0" fmla="*/ 0 h 1323975"/>
                <a:gd name="connsiteX1" fmla="*/ 71438 w 1819275"/>
                <a:gd name="connsiteY1" fmla="*/ 0 h 1323975"/>
                <a:gd name="connsiteX2" fmla="*/ 0 w 1819275"/>
                <a:gd name="connsiteY2" fmla="*/ 71438 h 1323975"/>
                <a:gd name="connsiteX3" fmla="*/ 71438 w 1819275"/>
                <a:gd name="connsiteY3" fmla="*/ 142875 h 1323975"/>
                <a:gd name="connsiteX4" fmla="*/ 73819 w 1819275"/>
                <a:gd name="connsiteY4" fmla="*/ 142875 h 1323975"/>
                <a:gd name="connsiteX5" fmla="*/ 1684496 w 1819275"/>
                <a:gd name="connsiteY5" fmla="*/ 1282732 h 1323975"/>
                <a:gd name="connsiteX6" fmla="*/ 1751933 w 1819275"/>
                <a:gd name="connsiteY6" fmla="*/ 1330452 h 1323975"/>
                <a:gd name="connsiteX7" fmla="*/ 1775651 w 1819275"/>
                <a:gd name="connsiteY7" fmla="*/ 1326356 h 1323975"/>
                <a:gd name="connsiteX8" fmla="*/ 1819370 w 1819275"/>
                <a:gd name="connsiteY8" fmla="*/ 1235297 h 1323975"/>
                <a:gd name="connsiteX9" fmla="*/ 73819 w 1819275"/>
                <a:gd name="connsiteY9" fmla="*/ 0 h 132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19275" h="1323975">
                  <a:moveTo>
                    <a:pt x="73819" y="0"/>
                  </a:moveTo>
                  <a:lnTo>
                    <a:pt x="71438" y="0"/>
                  </a:lnTo>
                  <a:cubicBezTo>
                    <a:pt x="32004" y="0"/>
                    <a:pt x="0" y="32004"/>
                    <a:pt x="0" y="71438"/>
                  </a:cubicBezTo>
                  <a:cubicBezTo>
                    <a:pt x="0" y="110871"/>
                    <a:pt x="32004" y="142875"/>
                    <a:pt x="71438" y="142875"/>
                  </a:cubicBezTo>
                  <a:lnTo>
                    <a:pt x="73819" y="142875"/>
                  </a:lnTo>
                  <a:cubicBezTo>
                    <a:pt x="797623" y="142875"/>
                    <a:pt x="1444847" y="600932"/>
                    <a:pt x="1684496" y="1282732"/>
                  </a:cubicBezTo>
                  <a:cubicBezTo>
                    <a:pt x="1694783" y="1312164"/>
                    <a:pt x="1722406" y="1330452"/>
                    <a:pt x="1751933" y="1330452"/>
                  </a:cubicBezTo>
                  <a:cubicBezTo>
                    <a:pt x="1759839" y="1330452"/>
                    <a:pt x="1767745" y="1329119"/>
                    <a:pt x="1775651" y="1326356"/>
                  </a:cubicBezTo>
                  <a:cubicBezTo>
                    <a:pt x="1812893" y="1313307"/>
                    <a:pt x="1832420" y="1272445"/>
                    <a:pt x="1819370" y="1235297"/>
                  </a:cubicBezTo>
                  <a:cubicBezTo>
                    <a:pt x="1559623" y="496538"/>
                    <a:pt x="858107" y="0"/>
                    <a:pt x="73819" y="0"/>
                  </a:cubicBezTo>
                  <a:close/>
                </a:path>
              </a:pathLst>
            </a:custGeom>
            <a:grpFill/>
            <a:ln w="9525" cap="flat">
              <a:noFill/>
              <a:prstDash val="solid"/>
              <a:miter/>
            </a:ln>
          </p:spPr>
          <p:txBody>
            <a:bodyPr rtlCol="0" anchor="ctr"/>
            <a:lstStyle/>
            <a:p>
              <a:endParaRPr lang="en-US"/>
            </a:p>
          </p:txBody>
        </p:sp>
      </p:grpSp>
      <p:grpSp>
        <p:nvGrpSpPr>
          <p:cNvPr id="40" name="Group 39">
            <a:extLst>
              <a:ext uri="{FF2B5EF4-FFF2-40B4-BE49-F238E27FC236}">
                <a16:creationId xmlns:a16="http://schemas.microsoft.com/office/drawing/2014/main" id="{34F379A2-CF4E-44F5-840B-91550B76F01C}"/>
              </a:ext>
            </a:extLst>
          </p:cNvPr>
          <p:cNvGrpSpPr/>
          <p:nvPr/>
        </p:nvGrpSpPr>
        <p:grpSpPr>
          <a:xfrm>
            <a:off x="2639197" y="-27802"/>
            <a:ext cx="6914158" cy="6898970"/>
            <a:chOff x="2639197" y="-27802"/>
            <a:chExt cx="6914158" cy="6898970"/>
          </a:xfrm>
          <a:solidFill>
            <a:schemeClr val="accent2">
              <a:lumMod val="10000"/>
              <a:lumOff val="90000"/>
              <a:alpha val="50000"/>
            </a:schemeClr>
          </a:solidFill>
        </p:grpSpPr>
        <p:sp>
          <p:nvSpPr>
            <p:cNvPr id="27" name="Freeform: Shape 26">
              <a:extLst>
                <a:ext uri="{FF2B5EF4-FFF2-40B4-BE49-F238E27FC236}">
                  <a16:creationId xmlns:a16="http://schemas.microsoft.com/office/drawing/2014/main" id="{35E690BE-7363-43C6-BE0C-B880C83921D5}"/>
                </a:ext>
              </a:extLst>
            </p:cNvPr>
            <p:cNvSpPr/>
            <p:nvPr/>
          </p:nvSpPr>
          <p:spPr>
            <a:xfrm>
              <a:off x="5931674" y="4369158"/>
              <a:ext cx="3434964" cy="2502010"/>
            </a:xfrm>
            <a:custGeom>
              <a:avLst/>
              <a:gdLst>
                <a:gd name="connsiteX0" fmla="*/ 1539907 w 1543050"/>
                <a:gd name="connsiteY0" fmla="*/ 95252 h 1123950"/>
                <a:gd name="connsiteX1" fmla="*/ 1496282 w 1543050"/>
                <a:gd name="connsiteY1" fmla="*/ 4097 h 1123950"/>
                <a:gd name="connsiteX2" fmla="*/ 1405128 w 1543050"/>
                <a:gd name="connsiteY2" fmla="*/ 47722 h 1123950"/>
                <a:gd name="connsiteX3" fmla="*/ 74771 w 1543050"/>
                <a:gd name="connsiteY3" fmla="*/ 988792 h 1123950"/>
                <a:gd name="connsiteX4" fmla="*/ 71438 w 1543050"/>
                <a:gd name="connsiteY4" fmla="*/ 988792 h 1123950"/>
                <a:gd name="connsiteX5" fmla="*/ 0 w 1543050"/>
                <a:gd name="connsiteY5" fmla="*/ 1060229 h 1123950"/>
                <a:gd name="connsiteX6" fmla="*/ 71438 w 1543050"/>
                <a:gd name="connsiteY6" fmla="*/ 1131667 h 1123950"/>
                <a:gd name="connsiteX7" fmla="*/ 74486 w 1543050"/>
                <a:gd name="connsiteY7" fmla="*/ 1131667 h 1123950"/>
                <a:gd name="connsiteX8" fmla="*/ 1539907 w 1543050"/>
                <a:gd name="connsiteY8" fmla="*/ 95252 h 1123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3050" h="1123950">
                  <a:moveTo>
                    <a:pt x="1539907" y="95252"/>
                  </a:moveTo>
                  <a:cubicBezTo>
                    <a:pt x="1553051" y="58009"/>
                    <a:pt x="1533525" y="17242"/>
                    <a:pt x="1496282" y="4097"/>
                  </a:cubicBezTo>
                  <a:cubicBezTo>
                    <a:pt x="1459039" y="-9047"/>
                    <a:pt x="1418273" y="10479"/>
                    <a:pt x="1405128" y="47722"/>
                  </a:cubicBezTo>
                  <a:cubicBezTo>
                    <a:pt x="1206818" y="610554"/>
                    <a:pt x="672084" y="988792"/>
                    <a:pt x="74771" y="988792"/>
                  </a:cubicBezTo>
                  <a:lnTo>
                    <a:pt x="71438" y="988792"/>
                  </a:lnTo>
                  <a:cubicBezTo>
                    <a:pt x="32004" y="988792"/>
                    <a:pt x="0" y="1020796"/>
                    <a:pt x="0" y="1060229"/>
                  </a:cubicBezTo>
                  <a:cubicBezTo>
                    <a:pt x="0" y="1099663"/>
                    <a:pt x="32004" y="1131667"/>
                    <a:pt x="71438" y="1131667"/>
                  </a:cubicBezTo>
                  <a:lnTo>
                    <a:pt x="74486" y="1131667"/>
                  </a:lnTo>
                  <a:cubicBezTo>
                    <a:pt x="732568" y="1131667"/>
                    <a:pt x="1321498" y="715234"/>
                    <a:pt x="1539907" y="95252"/>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28" name="Freeform: Shape 27">
              <a:extLst>
                <a:ext uri="{FF2B5EF4-FFF2-40B4-BE49-F238E27FC236}">
                  <a16:creationId xmlns:a16="http://schemas.microsoft.com/office/drawing/2014/main" id="{E5DB6A23-6BD3-431E-BA6E-ED62F82FA466}"/>
                </a:ext>
              </a:extLst>
            </p:cNvPr>
            <p:cNvSpPr/>
            <p:nvPr/>
          </p:nvSpPr>
          <p:spPr>
            <a:xfrm>
              <a:off x="7030141" y="156796"/>
              <a:ext cx="2523214" cy="3434963"/>
            </a:xfrm>
            <a:custGeom>
              <a:avLst/>
              <a:gdLst>
                <a:gd name="connsiteX0" fmla="*/ 1062742 w 1133475"/>
                <a:gd name="connsiteY0" fmla="*/ 1545945 h 1543050"/>
                <a:gd name="connsiteX1" fmla="*/ 1063028 w 1133475"/>
                <a:gd name="connsiteY1" fmla="*/ 1545945 h 1543050"/>
                <a:gd name="connsiteX2" fmla="*/ 1134465 w 1133475"/>
                <a:gd name="connsiteY2" fmla="*/ 1474793 h 1543050"/>
                <a:gd name="connsiteX3" fmla="*/ 1134465 w 1133475"/>
                <a:gd name="connsiteY3" fmla="*/ 1470507 h 1543050"/>
                <a:gd name="connsiteX4" fmla="*/ 95097 w 1133475"/>
                <a:gd name="connsiteY4" fmla="*/ 4038 h 1543050"/>
                <a:gd name="connsiteX5" fmla="*/ 4038 w 1133475"/>
                <a:gd name="connsiteY5" fmla="*/ 47853 h 1543050"/>
                <a:gd name="connsiteX6" fmla="*/ 47853 w 1133475"/>
                <a:gd name="connsiteY6" fmla="*/ 138912 h 1543050"/>
                <a:gd name="connsiteX7" fmla="*/ 991590 w 1133475"/>
                <a:gd name="connsiteY7" fmla="*/ 1470602 h 1543050"/>
                <a:gd name="connsiteX8" fmla="*/ 991590 w 1133475"/>
                <a:gd name="connsiteY8" fmla="*/ 1474412 h 1543050"/>
                <a:gd name="connsiteX9" fmla="*/ 1062742 w 1133475"/>
                <a:gd name="connsiteY9" fmla="*/ 1545945 h 154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3475" h="1543050">
                  <a:moveTo>
                    <a:pt x="1062742" y="1545945"/>
                  </a:moveTo>
                  <a:cubicBezTo>
                    <a:pt x="1062837" y="1545945"/>
                    <a:pt x="1062932" y="1545945"/>
                    <a:pt x="1063028" y="1545945"/>
                  </a:cubicBezTo>
                  <a:cubicBezTo>
                    <a:pt x="1102366" y="1545945"/>
                    <a:pt x="1134370" y="1514132"/>
                    <a:pt x="1134465" y="1474793"/>
                  </a:cubicBezTo>
                  <a:lnTo>
                    <a:pt x="1134465" y="1470507"/>
                  </a:lnTo>
                  <a:cubicBezTo>
                    <a:pt x="1134465" y="810901"/>
                    <a:pt x="716794" y="221589"/>
                    <a:pt x="95097" y="4038"/>
                  </a:cubicBezTo>
                  <a:cubicBezTo>
                    <a:pt x="57854" y="-9011"/>
                    <a:pt x="17087" y="10610"/>
                    <a:pt x="4038" y="47853"/>
                  </a:cubicBezTo>
                  <a:cubicBezTo>
                    <a:pt x="-9011" y="85096"/>
                    <a:pt x="10610" y="125863"/>
                    <a:pt x="47853" y="138912"/>
                  </a:cubicBezTo>
                  <a:cubicBezTo>
                    <a:pt x="612305" y="336461"/>
                    <a:pt x="991590" y="871575"/>
                    <a:pt x="991590" y="1470602"/>
                  </a:cubicBezTo>
                  <a:lnTo>
                    <a:pt x="991590" y="1474412"/>
                  </a:lnTo>
                  <a:cubicBezTo>
                    <a:pt x="991400" y="1513751"/>
                    <a:pt x="1023308" y="1545850"/>
                    <a:pt x="1062742" y="1545945"/>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29" name="Freeform: Shape 28">
              <a:extLst>
                <a:ext uri="{FF2B5EF4-FFF2-40B4-BE49-F238E27FC236}">
                  <a16:creationId xmlns:a16="http://schemas.microsoft.com/office/drawing/2014/main" id="{06862031-71CA-4B95-904A-F0C46F8F2333}"/>
                </a:ext>
              </a:extLst>
            </p:cNvPr>
            <p:cNvSpPr/>
            <p:nvPr/>
          </p:nvSpPr>
          <p:spPr>
            <a:xfrm>
              <a:off x="2824641" y="-27802"/>
              <a:ext cx="3413761" cy="2523213"/>
            </a:xfrm>
            <a:custGeom>
              <a:avLst/>
              <a:gdLst>
                <a:gd name="connsiteX0" fmla="*/ 1471175 w 1533525"/>
                <a:gd name="connsiteY0" fmla="*/ 0 h 1133475"/>
                <a:gd name="connsiteX1" fmla="*/ 1470222 w 1533525"/>
                <a:gd name="connsiteY1" fmla="*/ 0 h 1133475"/>
                <a:gd name="connsiteX2" fmla="*/ 4039 w 1533525"/>
                <a:gd name="connsiteY2" fmla="*/ 1038416 h 1133475"/>
                <a:gd name="connsiteX3" fmla="*/ 47759 w 1533525"/>
                <a:gd name="connsiteY3" fmla="*/ 1129475 h 1133475"/>
                <a:gd name="connsiteX4" fmla="*/ 71381 w 1533525"/>
                <a:gd name="connsiteY4" fmla="*/ 1133475 h 1133475"/>
                <a:gd name="connsiteX5" fmla="*/ 138818 w 1533525"/>
                <a:gd name="connsiteY5" fmla="*/ 1085660 h 1133475"/>
                <a:gd name="connsiteX6" fmla="*/ 1470127 w 1533525"/>
                <a:gd name="connsiteY6" fmla="*/ 142875 h 1133475"/>
                <a:gd name="connsiteX7" fmla="*/ 1471080 w 1533525"/>
                <a:gd name="connsiteY7" fmla="*/ 142875 h 1133475"/>
                <a:gd name="connsiteX8" fmla="*/ 1542517 w 1533525"/>
                <a:gd name="connsiteY8" fmla="*/ 71438 h 1133475"/>
                <a:gd name="connsiteX9" fmla="*/ 1471175 w 1533525"/>
                <a:gd name="connsiteY9" fmla="*/ 0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3525" h="1133475">
                  <a:moveTo>
                    <a:pt x="1471175" y="0"/>
                  </a:moveTo>
                  <a:lnTo>
                    <a:pt x="1470222" y="0"/>
                  </a:lnTo>
                  <a:cubicBezTo>
                    <a:pt x="811092" y="0"/>
                    <a:pt x="221876" y="417290"/>
                    <a:pt x="4039" y="1038416"/>
                  </a:cubicBezTo>
                  <a:cubicBezTo>
                    <a:pt x="-9010" y="1075658"/>
                    <a:pt x="10611" y="1116425"/>
                    <a:pt x="47759" y="1129475"/>
                  </a:cubicBezTo>
                  <a:cubicBezTo>
                    <a:pt x="55569" y="1132237"/>
                    <a:pt x="63570" y="1133475"/>
                    <a:pt x="71381" y="1133475"/>
                  </a:cubicBezTo>
                  <a:cubicBezTo>
                    <a:pt x="100908" y="1133475"/>
                    <a:pt x="128435" y="1115092"/>
                    <a:pt x="138818" y="1085660"/>
                  </a:cubicBezTo>
                  <a:cubicBezTo>
                    <a:pt x="336652" y="521684"/>
                    <a:pt x="871671" y="142875"/>
                    <a:pt x="1470127" y="142875"/>
                  </a:cubicBezTo>
                  <a:lnTo>
                    <a:pt x="1471080" y="142875"/>
                  </a:lnTo>
                  <a:cubicBezTo>
                    <a:pt x="1510513" y="142875"/>
                    <a:pt x="1542517" y="110871"/>
                    <a:pt x="1542517" y="71438"/>
                  </a:cubicBezTo>
                  <a:cubicBezTo>
                    <a:pt x="1542612" y="32004"/>
                    <a:pt x="1510608" y="0"/>
                    <a:pt x="1471175" y="0"/>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30" name="Freeform: Shape 29">
              <a:extLst>
                <a:ext uri="{FF2B5EF4-FFF2-40B4-BE49-F238E27FC236}">
                  <a16:creationId xmlns:a16="http://schemas.microsoft.com/office/drawing/2014/main" id="{73528721-1BA2-4249-A586-9F303EFD8CC2}"/>
                </a:ext>
              </a:extLst>
            </p:cNvPr>
            <p:cNvSpPr/>
            <p:nvPr/>
          </p:nvSpPr>
          <p:spPr>
            <a:xfrm>
              <a:off x="2639197" y="3266793"/>
              <a:ext cx="2502011" cy="3434963"/>
            </a:xfrm>
            <a:custGeom>
              <a:avLst/>
              <a:gdLst>
                <a:gd name="connsiteX0" fmla="*/ 1084802 w 1123950"/>
                <a:gd name="connsiteY0" fmla="*/ 1404461 h 1543050"/>
                <a:gd name="connsiteX1" fmla="*/ 142875 w 1123950"/>
                <a:gd name="connsiteY1" fmla="*/ 73438 h 1543050"/>
                <a:gd name="connsiteX2" fmla="*/ 142875 w 1123950"/>
                <a:gd name="connsiteY2" fmla="*/ 71438 h 1543050"/>
                <a:gd name="connsiteX3" fmla="*/ 71438 w 1123950"/>
                <a:gd name="connsiteY3" fmla="*/ 0 h 1543050"/>
                <a:gd name="connsiteX4" fmla="*/ 0 w 1123950"/>
                <a:gd name="connsiteY4" fmla="*/ 71438 h 1543050"/>
                <a:gd name="connsiteX5" fmla="*/ 0 w 1123950"/>
                <a:gd name="connsiteY5" fmla="*/ 73438 h 1543050"/>
                <a:gd name="connsiteX6" fmla="*/ 1037463 w 1123950"/>
                <a:gd name="connsiteY6" fmla="*/ 1539240 h 1543050"/>
                <a:gd name="connsiteX7" fmla="*/ 1061180 w 1123950"/>
                <a:gd name="connsiteY7" fmla="*/ 1543336 h 1543050"/>
                <a:gd name="connsiteX8" fmla="*/ 1128617 w 1123950"/>
                <a:gd name="connsiteY8" fmla="*/ 1495615 h 1543050"/>
                <a:gd name="connsiteX9" fmla="*/ 1084802 w 1123950"/>
                <a:gd name="connsiteY9" fmla="*/ 1404461 h 154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3950" h="1543050">
                  <a:moveTo>
                    <a:pt x="1084802" y="1404461"/>
                  </a:moveTo>
                  <a:cubicBezTo>
                    <a:pt x="521399" y="1206437"/>
                    <a:pt x="142875" y="671513"/>
                    <a:pt x="142875" y="73438"/>
                  </a:cubicBezTo>
                  <a:lnTo>
                    <a:pt x="142875" y="71438"/>
                  </a:lnTo>
                  <a:cubicBezTo>
                    <a:pt x="142875" y="32004"/>
                    <a:pt x="110871" y="0"/>
                    <a:pt x="71438" y="0"/>
                  </a:cubicBezTo>
                  <a:cubicBezTo>
                    <a:pt x="32004" y="0"/>
                    <a:pt x="0" y="32004"/>
                    <a:pt x="0" y="71438"/>
                  </a:cubicBezTo>
                  <a:lnTo>
                    <a:pt x="0" y="73438"/>
                  </a:lnTo>
                  <a:cubicBezTo>
                    <a:pt x="0" y="732091"/>
                    <a:pt x="416909" y="1321117"/>
                    <a:pt x="1037463" y="1539240"/>
                  </a:cubicBezTo>
                  <a:cubicBezTo>
                    <a:pt x="1045274" y="1542002"/>
                    <a:pt x="1053275" y="1543336"/>
                    <a:pt x="1061180" y="1543336"/>
                  </a:cubicBezTo>
                  <a:cubicBezTo>
                    <a:pt x="1090613" y="1543336"/>
                    <a:pt x="1118235" y="1524953"/>
                    <a:pt x="1128617" y="1495615"/>
                  </a:cubicBezTo>
                  <a:cubicBezTo>
                    <a:pt x="1141667" y="1458373"/>
                    <a:pt x="1122045" y="1417606"/>
                    <a:pt x="1084802" y="1404461"/>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nvGrpSpPr>
          <p:cNvPr id="39" name="Group 38">
            <a:extLst>
              <a:ext uri="{FF2B5EF4-FFF2-40B4-BE49-F238E27FC236}">
                <a16:creationId xmlns:a16="http://schemas.microsoft.com/office/drawing/2014/main" id="{72F41016-09E0-45D0-B71F-ADDDC28B78B9}"/>
              </a:ext>
            </a:extLst>
          </p:cNvPr>
          <p:cNvGrpSpPr/>
          <p:nvPr/>
        </p:nvGrpSpPr>
        <p:grpSpPr>
          <a:xfrm>
            <a:off x="3299049" y="632050"/>
            <a:ext cx="5592330" cy="5581627"/>
            <a:chOff x="3299049" y="632050"/>
            <a:chExt cx="5592330" cy="5581627"/>
          </a:xfrm>
          <a:solidFill>
            <a:schemeClr val="accent1">
              <a:lumMod val="20000"/>
              <a:lumOff val="80000"/>
              <a:alpha val="40000"/>
            </a:schemeClr>
          </a:solidFill>
        </p:grpSpPr>
        <p:sp>
          <p:nvSpPr>
            <p:cNvPr id="31" name="Freeform: Shape 30">
              <a:extLst>
                <a:ext uri="{FF2B5EF4-FFF2-40B4-BE49-F238E27FC236}">
                  <a16:creationId xmlns:a16="http://schemas.microsoft.com/office/drawing/2014/main" id="{8B35CCE1-6BC9-4D85-B98D-54CA418DB276}"/>
                </a:ext>
              </a:extLst>
            </p:cNvPr>
            <p:cNvSpPr/>
            <p:nvPr/>
          </p:nvSpPr>
          <p:spPr>
            <a:xfrm>
              <a:off x="3299049" y="3075563"/>
              <a:ext cx="2947284" cy="3138114"/>
            </a:xfrm>
            <a:custGeom>
              <a:avLst/>
              <a:gdLst>
                <a:gd name="connsiteX0" fmla="*/ 1259777 w 1323975"/>
                <a:gd name="connsiteY0" fmla="*/ 1416357 h 1409700"/>
                <a:gd name="connsiteX1" fmla="*/ 1331214 w 1323975"/>
                <a:gd name="connsiteY1" fmla="*/ 1344919 h 1409700"/>
                <a:gd name="connsiteX2" fmla="*/ 1259777 w 1323975"/>
                <a:gd name="connsiteY2" fmla="*/ 1273482 h 1409700"/>
                <a:gd name="connsiteX3" fmla="*/ 1257014 w 1323975"/>
                <a:gd name="connsiteY3" fmla="*/ 1273482 h 1409700"/>
                <a:gd name="connsiteX4" fmla="*/ 142875 w 1323975"/>
                <a:gd name="connsiteY4" fmla="*/ 159342 h 1409700"/>
                <a:gd name="connsiteX5" fmla="*/ 145923 w 1323975"/>
                <a:gd name="connsiteY5" fmla="*/ 76665 h 1409700"/>
                <a:gd name="connsiteX6" fmla="*/ 79915 w 1323975"/>
                <a:gd name="connsiteY6" fmla="*/ 180 h 1409700"/>
                <a:gd name="connsiteX7" fmla="*/ 3429 w 1323975"/>
                <a:gd name="connsiteY7" fmla="*/ 66188 h 1409700"/>
                <a:gd name="connsiteX8" fmla="*/ 0 w 1323975"/>
                <a:gd name="connsiteY8" fmla="*/ 159342 h 1409700"/>
                <a:gd name="connsiteX9" fmla="*/ 1257395 w 1323975"/>
                <a:gd name="connsiteY9" fmla="*/ 1416357 h 1409700"/>
                <a:gd name="connsiteX10" fmla="*/ 1259777 w 1323975"/>
                <a:gd name="connsiteY10" fmla="*/ 1416357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23975" h="1409700">
                  <a:moveTo>
                    <a:pt x="1259777" y="1416357"/>
                  </a:moveTo>
                  <a:cubicBezTo>
                    <a:pt x="1299210" y="1416357"/>
                    <a:pt x="1331214" y="1384353"/>
                    <a:pt x="1331214" y="1344919"/>
                  </a:cubicBezTo>
                  <a:cubicBezTo>
                    <a:pt x="1331214" y="1305486"/>
                    <a:pt x="1299210" y="1273482"/>
                    <a:pt x="1259777" y="1273482"/>
                  </a:cubicBezTo>
                  <a:lnTo>
                    <a:pt x="1257014" y="1273482"/>
                  </a:lnTo>
                  <a:cubicBezTo>
                    <a:pt x="642652" y="1273482"/>
                    <a:pt x="142875" y="773705"/>
                    <a:pt x="142875" y="159342"/>
                  </a:cubicBezTo>
                  <a:cubicBezTo>
                    <a:pt x="142875" y="131815"/>
                    <a:pt x="143923" y="104002"/>
                    <a:pt x="145923" y="76665"/>
                  </a:cubicBezTo>
                  <a:cubicBezTo>
                    <a:pt x="148781" y="37327"/>
                    <a:pt x="119253" y="3037"/>
                    <a:pt x="79915" y="180"/>
                  </a:cubicBezTo>
                  <a:cubicBezTo>
                    <a:pt x="40577" y="-2583"/>
                    <a:pt x="6382" y="26849"/>
                    <a:pt x="3429" y="66188"/>
                  </a:cubicBezTo>
                  <a:cubicBezTo>
                    <a:pt x="1143" y="96954"/>
                    <a:pt x="0" y="128291"/>
                    <a:pt x="0" y="159342"/>
                  </a:cubicBezTo>
                  <a:cubicBezTo>
                    <a:pt x="0" y="852476"/>
                    <a:pt x="563880" y="1416357"/>
                    <a:pt x="1257395" y="1416357"/>
                  </a:cubicBezTo>
                  <a:lnTo>
                    <a:pt x="1259777" y="1416357"/>
                  </a:lnTo>
                  <a:close/>
                </a:path>
              </a:pathLst>
            </a:custGeom>
            <a:grp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5D1ED3A1-CCA5-4C57-8D6B-E3EEE512E6E8}"/>
                </a:ext>
              </a:extLst>
            </p:cNvPr>
            <p:cNvSpPr/>
            <p:nvPr/>
          </p:nvSpPr>
          <p:spPr>
            <a:xfrm>
              <a:off x="7089083" y="1948046"/>
              <a:ext cx="1802296" cy="4007457"/>
            </a:xfrm>
            <a:custGeom>
              <a:avLst/>
              <a:gdLst>
                <a:gd name="connsiteX0" fmla="*/ 71477 w 809625"/>
                <a:gd name="connsiteY0" fmla="*/ 1804844 h 1800225"/>
                <a:gd name="connsiteX1" fmla="*/ 102624 w 809625"/>
                <a:gd name="connsiteY1" fmla="*/ 1797700 h 1800225"/>
                <a:gd name="connsiteX2" fmla="*/ 614498 w 809625"/>
                <a:gd name="connsiteY2" fmla="*/ 1342405 h 1800225"/>
                <a:gd name="connsiteX3" fmla="*/ 811570 w 809625"/>
                <a:gd name="connsiteY3" fmla="*/ 665939 h 1800225"/>
                <a:gd name="connsiteX4" fmla="*/ 642596 w 809625"/>
                <a:gd name="connsiteY4" fmla="*/ 35575 h 1800225"/>
                <a:gd name="connsiteX5" fmla="*/ 544965 w 809625"/>
                <a:gd name="connsiteY5" fmla="*/ 9667 h 1800225"/>
                <a:gd name="connsiteX6" fmla="*/ 519057 w 809625"/>
                <a:gd name="connsiteY6" fmla="*/ 107298 h 1800225"/>
                <a:gd name="connsiteX7" fmla="*/ 668790 w 809625"/>
                <a:gd name="connsiteY7" fmla="*/ 665939 h 1800225"/>
                <a:gd name="connsiteX8" fmla="*/ 40331 w 809625"/>
                <a:gd name="connsiteY8" fmla="*/ 1669112 h 1800225"/>
                <a:gd name="connsiteX9" fmla="*/ 7184 w 809625"/>
                <a:gd name="connsiteY9" fmla="*/ 1764553 h 1800225"/>
                <a:gd name="connsiteX10" fmla="*/ 71477 w 809625"/>
                <a:gd name="connsiteY10" fmla="*/ 1804844 h 180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9625" h="1800225">
                  <a:moveTo>
                    <a:pt x="71477" y="1804844"/>
                  </a:moveTo>
                  <a:cubicBezTo>
                    <a:pt x="81955" y="1804844"/>
                    <a:pt x="92528" y="1802557"/>
                    <a:pt x="102624" y="1797700"/>
                  </a:cubicBezTo>
                  <a:cubicBezTo>
                    <a:pt x="311984" y="1696258"/>
                    <a:pt x="489053" y="1538810"/>
                    <a:pt x="614498" y="1342405"/>
                  </a:cubicBezTo>
                  <a:cubicBezTo>
                    <a:pt x="743466" y="1140665"/>
                    <a:pt x="811570" y="906731"/>
                    <a:pt x="811570" y="665939"/>
                  </a:cubicBezTo>
                  <a:cubicBezTo>
                    <a:pt x="811570" y="444197"/>
                    <a:pt x="753182" y="226170"/>
                    <a:pt x="642596" y="35575"/>
                  </a:cubicBezTo>
                  <a:cubicBezTo>
                    <a:pt x="622784" y="1475"/>
                    <a:pt x="579065" y="-10145"/>
                    <a:pt x="544965" y="9667"/>
                  </a:cubicBezTo>
                  <a:cubicBezTo>
                    <a:pt x="510866" y="29479"/>
                    <a:pt x="499245" y="73198"/>
                    <a:pt x="519057" y="107298"/>
                  </a:cubicBezTo>
                  <a:cubicBezTo>
                    <a:pt x="616974" y="276176"/>
                    <a:pt x="668790" y="469343"/>
                    <a:pt x="668790" y="665939"/>
                  </a:cubicBezTo>
                  <a:cubicBezTo>
                    <a:pt x="668790" y="1096946"/>
                    <a:pt x="427998" y="1481279"/>
                    <a:pt x="40331" y="1669112"/>
                  </a:cubicBezTo>
                  <a:cubicBezTo>
                    <a:pt x="4802" y="1686353"/>
                    <a:pt x="-10057" y="1729024"/>
                    <a:pt x="7184" y="1764553"/>
                  </a:cubicBezTo>
                  <a:cubicBezTo>
                    <a:pt x="19471" y="1789984"/>
                    <a:pt x="44903" y="1804844"/>
                    <a:pt x="71477" y="1804844"/>
                  </a:cubicBezTo>
                  <a:close/>
                </a:path>
              </a:pathLst>
            </a:custGeom>
            <a:grp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AA170ACC-C3A0-4EE3-AE07-81743B7870CB}"/>
                </a:ext>
              </a:extLst>
            </p:cNvPr>
            <p:cNvSpPr/>
            <p:nvPr/>
          </p:nvSpPr>
          <p:spPr>
            <a:xfrm>
              <a:off x="3650920" y="632050"/>
              <a:ext cx="4071068" cy="1632668"/>
            </a:xfrm>
            <a:custGeom>
              <a:avLst/>
              <a:gdLst>
                <a:gd name="connsiteX0" fmla="*/ 1805988 w 1828800"/>
                <a:gd name="connsiteY0" fmla="*/ 217265 h 733425"/>
                <a:gd name="connsiteX1" fmla="*/ 1098947 w 1828800"/>
                <a:gd name="connsiteY1" fmla="*/ 0 h 733425"/>
                <a:gd name="connsiteX2" fmla="*/ 9572 w 1828800"/>
                <a:gd name="connsiteY2" fmla="*/ 629031 h 733425"/>
                <a:gd name="connsiteX3" fmla="*/ 35766 w 1828800"/>
                <a:gd name="connsiteY3" fmla="*/ 726567 h 733425"/>
                <a:gd name="connsiteX4" fmla="*/ 71390 w 1828800"/>
                <a:gd name="connsiteY4" fmla="*/ 736187 h 733425"/>
                <a:gd name="connsiteX5" fmla="*/ 133302 w 1828800"/>
                <a:gd name="connsiteY5" fmla="*/ 700469 h 733425"/>
                <a:gd name="connsiteX6" fmla="*/ 1098947 w 1828800"/>
                <a:gd name="connsiteY6" fmla="*/ 142875 h 733425"/>
                <a:gd name="connsiteX7" fmla="*/ 1725597 w 1828800"/>
                <a:gd name="connsiteY7" fmla="*/ 335375 h 733425"/>
                <a:gd name="connsiteX8" fmla="*/ 1824847 w 1828800"/>
                <a:gd name="connsiteY8" fmla="*/ 316516 h 733425"/>
                <a:gd name="connsiteX9" fmla="*/ 1805988 w 1828800"/>
                <a:gd name="connsiteY9" fmla="*/ 217265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8800" h="733425">
                  <a:moveTo>
                    <a:pt x="1805988" y="217265"/>
                  </a:moveTo>
                  <a:cubicBezTo>
                    <a:pt x="1597199" y="75152"/>
                    <a:pt x="1352788" y="0"/>
                    <a:pt x="1098947" y="0"/>
                  </a:cubicBezTo>
                  <a:cubicBezTo>
                    <a:pt x="650891" y="0"/>
                    <a:pt x="233505" y="241078"/>
                    <a:pt x="9572" y="629031"/>
                  </a:cubicBezTo>
                  <a:cubicBezTo>
                    <a:pt x="-10144" y="663226"/>
                    <a:pt x="1571" y="706850"/>
                    <a:pt x="35766" y="726567"/>
                  </a:cubicBezTo>
                  <a:cubicBezTo>
                    <a:pt x="47006" y="733044"/>
                    <a:pt x="59293" y="736187"/>
                    <a:pt x="71390" y="736187"/>
                  </a:cubicBezTo>
                  <a:cubicBezTo>
                    <a:pt x="96059" y="736187"/>
                    <a:pt x="120062" y="723329"/>
                    <a:pt x="133302" y="700469"/>
                  </a:cubicBezTo>
                  <a:cubicBezTo>
                    <a:pt x="331803" y="356521"/>
                    <a:pt x="701849" y="142875"/>
                    <a:pt x="1098947" y="142875"/>
                  </a:cubicBezTo>
                  <a:cubicBezTo>
                    <a:pt x="1323927" y="142875"/>
                    <a:pt x="1540621" y="209455"/>
                    <a:pt x="1725597" y="335375"/>
                  </a:cubicBezTo>
                  <a:cubicBezTo>
                    <a:pt x="1758267" y="357569"/>
                    <a:pt x="1802654" y="349091"/>
                    <a:pt x="1824847" y="316516"/>
                  </a:cubicBezTo>
                  <a:cubicBezTo>
                    <a:pt x="1847040" y="283845"/>
                    <a:pt x="1838563" y="239459"/>
                    <a:pt x="1805988" y="217265"/>
                  </a:cubicBezTo>
                  <a:close/>
                </a:path>
              </a:pathLst>
            </a:custGeom>
            <a:grpFill/>
            <a:ln w="9525" cap="flat">
              <a:noFill/>
              <a:prstDash val="solid"/>
              <a:miter/>
            </a:ln>
          </p:spPr>
          <p:txBody>
            <a:bodyPr rtlCol="0" anchor="ctr"/>
            <a:lstStyle/>
            <a:p>
              <a:endParaRPr lang="en-US"/>
            </a:p>
          </p:txBody>
        </p:sp>
      </p:grpSp>
      <p:grpSp>
        <p:nvGrpSpPr>
          <p:cNvPr id="38" name="Group 37">
            <a:extLst>
              <a:ext uri="{FF2B5EF4-FFF2-40B4-BE49-F238E27FC236}">
                <a16:creationId xmlns:a16="http://schemas.microsoft.com/office/drawing/2014/main" id="{CCCC439E-0BBB-4944-86EC-A62D915980BE}"/>
              </a:ext>
            </a:extLst>
          </p:cNvPr>
          <p:cNvGrpSpPr/>
          <p:nvPr/>
        </p:nvGrpSpPr>
        <p:grpSpPr>
          <a:xfrm>
            <a:off x="3958902" y="1292114"/>
            <a:ext cx="4270510" cy="4266987"/>
            <a:chOff x="3958902" y="1292114"/>
            <a:chExt cx="4270510" cy="4266987"/>
          </a:xfrm>
          <a:solidFill>
            <a:schemeClr val="accent3">
              <a:lumMod val="20000"/>
              <a:lumOff val="80000"/>
              <a:alpha val="50000"/>
            </a:schemeClr>
          </a:solidFill>
        </p:grpSpPr>
        <p:sp>
          <p:nvSpPr>
            <p:cNvPr id="34" name="Freeform: Shape 33">
              <a:extLst>
                <a:ext uri="{FF2B5EF4-FFF2-40B4-BE49-F238E27FC236}">
                  <a16:creationId xmlns:a16="http://schemas.microsoft.com/office/drawing/2014/main" id="{8E072E65-BFA9-4DB7-81AB-8E56769473F9}"/>
                </a:ext>
              </a:extLst>
            </p:cNvPr>
            <p:cNvSpPr/>
            <p:nvPr/>
          </p:nvSpPr>
          <p:spPr>
            <a:xfrm>
              <a:off x="3958902" y="3269126"/>
              <a:ext cx="3837830" cy="2289975"/>
            </a:xfrm>
            <a:custGeom>
              <a:avLst/>
              <a:gdLst>
                <a:gd name="connsiteX0" fmla="*/ 1710595 w 1724025"/>
                <a:gd name="connsiteY0" fmla="*/ 673037 h 1028700"/>
                <a:gd name="connsiteX1" fmla="*/ 1699546 w 1724025"/>
                <a:gd name="connsiteY1" fmla="*/ 572643 h 1028700"/>
                <a:gd name="connsiteX2" fmla="*/ 1599152 w 1724025"/>
                <a:gd name="connsiteY2" fmla="*/ 583692 h 1028700"/>
                <a:gd name="connsiteX3" fmla="*/ 960596 w 1724025"/>
                <a:gd name="connsiteY3" fmla="*/ 890207 h 1028700"/>
                <a:gd name="connsiteX4" fmla="*/ 142875 w 1724025"/>
                <a:gd name="connsiteY4" fmla="*/ 72485 h 1028700"/>
                <a:gd name="connsiteX5" fmla="*/ 142875 w 1724025"/>
                <a:gd name="connsiteY5" fmla="*/ 71438 h 1028700"/>
                <a:gd name="connsiteX6" fmla="*/ 71438 w 1724025"/>
                <a:gd name="connsiteY6" fmla="*/ 0 h 1028700"/>
                <a:gd name="connsiteX7" fmla="*/ 0 w 1724025"/>
                <a:gd name="connsiteY7" fmla="*/ 71438 h 1028700"/>
                <a:gd name="connsiteX8" fmla="*/ 0 w 1724025"/>
                <a:gd name="connsiteY8" fmla="*/ 72485 h 1028700"/>
                <a:gd name="connsiteX9" fmla="*/ 960596 w 1724025"/>
                <a:gd name="connsiteY9" fmla="*/ 1033082 h 1028700"/>
                <a:gd name="connsiteX10" fmla="*/ 1710595 w 1724025"/>
                <a:gd name="connsiteY10" fmla="*/ 673037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025" h="1028700">
                  <a:moveTo>
                    <a:pt x="1710595" y="673037"/>
                  </a:moveTo>
                  <a:cubicBezTo>
                    <a:pt x="1735265" y="642271"/>
                    <a:pt x="1730311" y="597313"/>
                    <a:pt x="1699546" y="572643"/>
                  </a:cubicBezTo>
                  <a:cubicBezTo>
                    <a:pt x="1668780" y="547973"/>
                    <a:pt x="1623822" y="552926"/>
                    <a:pt x="1599152" y="583692"/>
                  </a:cubicBezTo>
                  <a:cubicBezTo>
                    <a:pt x="1443037" y="778478"/>
                    <a:pt x="1210342" y="890207"/>
                    <a:pt x="960596" y="890207"/>
                  </a:cubicBezTo>
                  <a:cubicBezTo>
                    <a:pt x="509683" y="890207"/>
                    <a:pt x="142875" y="523399"/>
                    <a:pt x="142875" y="72485"/>
                  </a:cubicBezTo>
                  <a:lnTo>
                    <a:pt x="142875" y="71438"/>
                  </a:lnTo>
                  <a:cubicBezTo>
                    <a:pt x="142875" y="32004"/>
                    <a:pt x="110871" y="0"/>
                    <a:pt x="71438" y="0"/>
                  </a:cubicBezTo>
                  <a:cubicBezTo>
                    <a:pt x="32004" y="0"/>
                    <a:pt x="0" y="32004"/>
                    <a:pt x="0" y="71438"/>
                  </a:cubicBezTo>
                  <a:lnTo>
                    <a:pt x="0" y="72485"/>
                  </a:lnTo>
                  <a:cubicBezTo>
                    <a:pt x="0" y="602171"/>
                    <a:pt x="430911" y="1033082"/>
                    <a:pt x="960596" y="1033082"/>
                  </a:cubicBezTo>
                  <a:cubicBezTo>
                    <a:pt x="1253871" y="1033082"/>
                    <a:pt x="1527238" y="901827"/>
                    <a:pt x="1710595" y="673037"/>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35" name="Freeform: Shape 34">
              <a:extLst>
                <a:ext uri="{FF2B5EF4-FFF2-40B4-BE49-F238E27FC236}">
                  <a16:creationId xmlns:a16="http://schemas.microsoft.com/office/drawing/2014/main" id="{D575FF49-E174-4972-BAAB-BCBFA69F341D}"/>
                </a:ext>
              </a:extLst>
            </p:cNvPr>
            <p:cNvSpPr/>
            <p:nvPr/>
          </p:nvSpPr>
          <p:spPr>
            <a:xfrm>
              <a:off x="4391582" y="1292114"/>
              <a:ext cx="3837830" cy="2289975"/>
            </a:xfrm>
            <a:custGeom>
              <a:avLst/>
              <a:gdLst>
                <a:gd name="connsiteX0" fmla="*/ 1655482 w 1724025"/>
                <a:gd name="connsiteY0" fmla="*/ 1034034 h 1028700"/>
                <a:gd name="connsiteX1" fmla="*/ 1726920 w 1724025"/>
                <a:gd name="connsiteY1" fmla="*/ 962597 h 1028700"/>
                <a:gd name="connsiteX2" fmla="*/ 1726920 w 1724025"/>
                <a:gd name="connsiteY2" fmla="*/ 960596 h 1028700"/>
                <a:gd name="connsiteX3" fmla="*/ 766323 w 1724025"/>
                <a:gd name="connsiteY3" fmla="*/ 0 h 1028700"/>
                <a:gd name="connsiteX4" fmla="*/ 15658 w 1724025"/>
                <a:gd name="connsiteY4" fmla="*/ 360807 h 1028700"/>
                <a:gd name="connsiteX5" fmla="*/ 26802 w 1724025"/>
                <a:gd name="connsiteY5" fmla="*/ 461200 h 1028700"/>
                <a:gd name="connsiteX6" fmla="*/ 127196 w 1724025"/>
                <a:gd name="connsiteY6" fmla="*/ 450056 h 1028700"/>
                <a:gd name="connsiteX7" fmla="*/ 766323 w 1724025"/>
                <a:gd name="connsiteY7" fmla="*/ 142875 h 1028700"/>
                <a:gd name="connsiteX8" fmla="*/ 1584045 w 1724025"/>
                <a:gd name="connsiteY8" fmla="*/ 960120 h 1028700"/>
                <a:gd name="connsiteX9" fmla="*/ 1584045 w 1724025"/>
                <a:gd name="connsiteY9" fmla="*/ 962597 h 1028700"/>
                <a:gd name="connsiteX10" fmla="*/ 1655482 w 1724025"/>
                <a:gd name="connsiteY10" fmla="*/ 1034034 h 102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025" h="1028700">
                  <a:moveTo>
                    <a:pt x="1655482" y="1034034"/>
                  </a:moveTo>
                  <a:cubicBezTo>
                    <a:pt x="1694916" y="1034034"/>
                    <a:pt x="1726920" y="1002030"/>
                    <a:pt x="1726920" y="962597"/>
                  </a:cubicBezTo>
                  <a:lnTo>
                    <a:pt x="1726920" y="960596"/>
                  </a:lnTo>
                  <a:cubicBezTo>
                    <a:pt x="1726920" y="430911"/>
                    <a:pt x="1296009" y="0"/>
                    <a:pt x="766323" y="0"/>
                  </a:cubicBezTo>
                  <a:cubicBezTo>
                    <a:pt x="472668" y="0"/>
                    <a:pt x="199014" y="131540"/>
                    <a:pt x="15658" y="360807"/>
                  </a:cubicBezTo>
                  <a:cubicBezTo>
                    <a:pt x="-9012" y="391573"/>
                    <a:pt x="-3963" y="436531"/>
                    <a:pt x="26802" y="461200"/>
                  </a:cubicBezTo>
                  <a:cubicBezTo>
                    <a:pt x="57663" y="485870"/>
                    <a:pt x="102621" y="480822"/>
                    <a:pt x="127196" y="450056"/>
                  </a:cubicBezTo>
                  <a:cubicBezTo>
                    <a:pt x="283311" y="254794"/>
                    <a:pt x="516292" y="142875"/>
                    <a:pt x="766323" y="142875"/>
                  </a:cubicBezTo>
                  <a:cubicBezTo>
                    <a:pt x="1217237" y="142875"/>
                    <a:pt x="1584045" y="509683"/>
                    <a:pt x="1584045" y="960120"/>
                  </a:cubicBezTo>
                  <a:lnTo>
                    <a:pt x="1584045" y="962597"/>
                  </a:lnTo>
                  <a:cubicBezTo>
                    <a:pt x="1584045" y="1002030"/>
                    <a:pt x="1615953" y="1034034"/>
                    <a:pt x="1655482" y="1034034"/>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sp>
        <p:nvSpPr>
          <p:cNvPr id="36" name="Freeform: Shape 35">
            <a:extLst>
              <a:ext uri="{FF2B5EF4-FFF2-40B4-BE49-F238E27FC236}">
                <a16:creationId xmlns:a16="http://schemas.microsoft.com/office/drawing/2014/main" id="{ACC2854A-DBD9-4D81-81CA-3CFE787BED6E}"/>
              </a:ext>
            </a:extLst>
          </p:cNvPr>
          <p:cNvSpPr/>
          <p:nvPr/>
        </p:nvSpPr>
        <p:spPr>
          <a:xfrm>
            <a:off x="4618543" y="1951543"/>
            <a:ext cx="2947284" cy="2947283"/>
          </a:xfrm>
          <a:custGeom>
            <a:avLst/>
            <a:gdLst>
              <a:gd name="connsiteX0" fmla="*/ 1227106 w 1323975"/>
              <a:gd name="connsiteY0" fmla="*/ 864394 h 1323975"/>
              <a:gd name="connsiteX1" fmla="*/ 1312450 w 1323975"/>
              <a:gd name="connsiteY1" fmla="*/ 810292 h 1323975"/>
              <a:gd name="connsiteX2" fmla="*/ 1328547 w 1323975"/>
              <a:gd name="connsiteY2" fmla="*/ 664273 h 1323975"/>
              <a:gd name="connsiteX3" fmla="*/ 664273 w 1323975"/>
              <a:gd name="connsiteY3" fmla="*/ 0 h 1323975"/>
              <a:gd name="connsiteX4" fmla="*/ 0 w 1323975"/>
              <a:gd name="connsiteY4" fmla="*/ 664273 h 1323975"/>
              <a:gd name="connsiteX5" fmla="*/ 664750 w 1323975"/>
              <a:gd name="connsiteY5" fmla="*/ 1328547 h 1323975"/>
              <a:gd name="connsiteX6" fmla="*/ 666274 w 1323975"/>
              <a:gd name="connsiteY6" fmla="*/ 1328547 h 1323975"/>
              <a:gd name="connsiteX7" fmla="*/ 737711 w 1323975"/>
              <a:gd name="connsiteY7" fmla="*/ 1257109 h 1323975"/>
              <a:gd name="connsiteX8" fmla="*/ 666274 w 1323975"/>
              <a:gd name="connsiteY8" fmla="*/ 1185672 h 1323975"/>
              <a:gd name="connsiteX9" fmla="*/ 664273 w 1323975"/>
              <a:gd name="connsiteY9" fmla="*/ 1185672 h 1323975"/>
              <a:gd name="connsiteX10" fmla="*/ 142875 w 1323975"/>
              <a:gd name="connsiteY10" fmla="*/ 664273 h 1323975"/>
              <a:gd name="connsiteX11" fmla="*/ 664273 w 1323975"/>
              <a:gd name="connsiteY11" fmla="*/ 142875 h 1323975"/>
              <a:gd name="connsiteX12" fmla="*/ 1185672 w 1323975"/>
              <a:gd name="connsiteY12" fmla="*/ 664273 h 1323975"/>
              <a:gd name="connsiteX13" fmla="*/ 1173004 w 1323975"/>
              <a:gd name="connsiteY13" fmla="*/ 779050 h 1323975"/>
              <a:gd name="connsiteX14" fmla="*/ 1227106 w 1323975"/>
              <a:gd name="connsiteY14" fmla="*/ 864394 h 132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3975" h="1323975">
                <a:moveTo>
                  <a:pt x="1227106" y="864394"/>
                </a:moveTo>
                <a:cubicBezTo>
                  <a:pt x="1265587" y="873062"/>
                  <a:pt x="1303782" y="848773"/>
                  <a:pt x="1312450" y="810292"/>
                </a:cubicBezTo>
                <a:cubicBezTo>
                  <a:pt x="1323118" y="762667"/>
                  <a:pt x="1328547" y="713518"/>
                  <a:pt x="1328547" y="664273"/>
                </a:cubicBezTo>
                <a:cubicBezTo>
                  <a:pt x="1328547" y="298037"/>
                  <a:pt x="1030605" y="0"/>
                  <a:pt x="664273" y="0"/>
                </a:cubicBezTo>
                <a:cubicBezTo>
                  <a:pt x="298037" y="0"/>
                  <a:pt x="0" y="297942"/>
                  <a:pt x="0" y="664273"/>
                </a:cubicBezTo>
                <a:cubicBezTo>
                  <a:pt x="0" y="1030510"/>
                  <a:pt x="297942" y="1328547"/>
                  <a:pt x="664750" y="1328547"/>
                </a:cubicBezTo>
                <a:lnTo>
                  <a:pt x="666274" y="1328547"/>
                </a:lnTo>
                <a:cubicBezTo>
                  <a:pt x="705707" y="1328547"/>
                  <a:pt x="737711" y="1296543"/>
                  <a:pt x="737711" y="1257109"/>
                </a:cubicBezTo>
                <a:cubicBezTo>
                  <a:pt x="737711" y="1217676"/>
                  <a:pt x="705707" y="1185672"/>
                  <a:pt x="666274" y="1185672"/>
                </a:cubicBezTo>
                <a:lnTo>
                  <a:pt x="664273" y="1185672"/>
                </a:lnTo>
                <a:cubicBezTo>
                  <a:pt x="376809" y="1185672"/>
                  <a:pt x="142875" y="951833"/>
                  <a:pt x="142875" y="664273"/>
                </a:cubicBezTo>
                <a:cubicBezTo>
                  <a:pt x="142875" y="376809"/>
                  <a:pt x="376714" y="142875"/>
                  <a:pt x="664273" y="142875"/>
                </a:cubicBezTo>
                <a:cubicBezTo>
                  <a:pt x="951738" y="142875"/>
                  <a:pt x="1185672" y="376714"/>
                  <a:pt x="1185672" y="664273"/>
                </a:cubicBezTo>
                <a:cubicBezTo>
                  <a:pt x="1185672" y="703040"/>
                  <a:pt x="1181386" y="741616"/>
                  <a:pt x="1173004" y="779050"/>
                </a:cubicBezTo>
                <a:cubicBezTo>
                  <a:pt x="1164431" y="817626"/>
                  <a:pt x="1188625" y="855821"/>
                  <a:pt x="1227106" y="864394"/>
                </a:cubicBezTo>
                <a:close/>
              </a:path>
            </a:pathLst>
          </a:custGeom>
          <a:solidFill>
            <a:schemeClr val="accent2">
              <a:lumMod val="10000"/>
              <a:lumOff val="90000"/>
              <a:alpha val="50000"/>
            </a:schemeClr>
          </a:solidFill>
          <a:ln w="9525"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A54C1345-3BCB-4FE3-876D-DEB738301E49}"/>
              </a:ext>
            </a:extLst>
          </p:cNvPr>
          <p:cNvSpPr/>
          <p:nvPr/>
        </p:nvSpPr>
        <p:spPr>
          <a:xfrm rot="10800000">
            <a:off x="5278395" y="2611395"/>
            <a:ext cx="1632668" cy="1632668"/>
          </a:xfrm>
          <a:custGeom>
            <a:avLst/>
            <a:gdLst>
              <a:gd name="connsiteX0" fmla="*/ 664273 w 733425"/>
              <a:gd name="connsiteY0" fmla="*/ 439960 h 733425"/>
              <a:gd name="connsiteX1" fmla="*/ 735711 w 733425"/>
              <a:gd name="connsiteY1" fmla="*/ 367855 h 733425"/>
              <a:gd name="connsiteX2" fmla="*/ 367855 w 733425"/>
              <a:gd name="connsiteY2" fmla="*/ 0 h 733425"/>
              <a:gd name="connsiteX3" fmla="*/ 0 w 733425"/>
              <a:gd name="connsiteY3" fmla="*/ 367855 h 733425"/>
              <a:gd name="connsiteX4" fmla="*/ 367855 w 733425"/>
              <a:gd name="connsiteY4" fmla="*/ 735711 h 733425"/>
              <a:gd name="connsiteX5" fmla="*/ 448437 w 733425"/>
              <a:gd name="connsiteY5" fmla="*/ 726853 h 733425"/>
              <a:gd name="connsiteX6" fmla="*/ 502539 w 733425"/>
              <a:gd name="connsiteY6" fmla="*/ 641604 h 733425"/>
              <a:gd name="connsiteX7" fmla="*/ 417290 w 733425"/>
              <a:gd name="connsiteY7" fmla="*/ 587502 h 733425"/>
              <a:gd name="connsiteX8" fmla="*/ 367855 w 733425"/>
              <a:gd name="connsiteY8" fmla="*/ 592931 h 733425"/>
              <a:gd name="connsiteX9" fmla="*/ 142875 w 733425"/>
              <a:gd name="connsiteY9" fmla="*/ 367951 h 733425"/>
              <a:gd name="connsiteX10" fmla="*/ 367855 w 733425"/>
              <a:gd name="connsiteY10" fmla="*/ 142970 h 733425"/>
              <a:gd name="connsiteX11" fmla="*/ 592836 w 733425"/>
              <a:gd name="connsiteY11" fmla="*/ 367094 h 733425"/>
              <a:gd name="connsiteX12" fmla="*/ 592836 w 733425"/>
              <a:gd name="connsiteY12" fmla="*/ 369189 h 733425"/>
              <a:gd name="connsiteX13" fmla="*/ 664273 w 733425"/>
              <a:gd name="connsiteY13" fmla="*/ 439960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3425" h="733425">
                <a:moveTo>
                  <a:pt x="664273" y="439960"/>
                </a:moveTo>
                <a:cubicBezTo>
                  <a:pt x="703707" y="439960"/>
                  <a:pt x="735711" y="407384"/>
                  <a:pt x="735711" y="367855"/>
                </a:cubicBezTo>
                <a:cubicBezTo>
                  <a:pt x="735711" y="165068"/>
                  <a:pt x="570738" y="0"/>
                  <a:pt x="367855" y="0"/>
                </a:cubicBezTo>
                <a:cubicBezTo>
                  <a:pt x="165068" y="0"/>
                  <a:pt x="0" y="164973"/>
                  <a:pt x="0" y="367855"/>
                </a:cubicBezTo>
                <a:cubicBezTo>
                  <a:pt x="0" y="570643"/>
                  <a:pt x="164973" y="735711"/>
                  <a:pt x="367855" y="735711"/>
                </a:cubicBezTo>
                <a:cubicBezTo>
                  <a:pt x="395002" y="735711"/>
                  <a:pt x="422148" y="732758"/>
                  <a:pt x="448437" y="726853"/>
                </a:cubicBezTo>
                <a:cubicBezTo>
                  <a:pt x="486918" y="718280"/>
                  <a:pt x="511207" y="680085"/>
                  <a:pt x="502539" y="641604"/>
                </a:cubicBezTo>
                <a:cubicBezTo>
                  <a:pt x="493966" y="603123"/>
                  <a:pt x="455771" y="578834"/>
                  <a:pt x="417290" y="587502"/>
                </a:cubicBezTo>
                <a:cubicBezTo>
                  <a:pt x="401193" y="591122"/>
                  <a:pt x="384524" y="592931"/>
                  <a:pt x="367855" y="592931"/>
                </a:cubicBezTo>
                <a:cubicBezTo>
                  <a:pt x="243840" y="592931"/>
                  <a:pt x="142875" y="491966"/>
                  <a:pt x="142875" y="367951"/>
                </a:cubicBezTo>
                <a:cubicBezTo>
                  <a:pt x="142875" y="243935"/>
                  <a:pt x="243840" y="142970"/>
                  <a:pt x="367855" y="142970"/>
                </a:cubicBezTo>
                <a:cubicBezTo>
                  <a:pt x="491871" y="142970"/>
                  <a:pt x="592836" y="243935"/>
                  <a:pt x="592836" y="367094"/>
                </a:cubicBezTo>
                <a:lnTo>
                  <a:pt x="592836" y="369189"/>
                </a:lnTo>
                <a:cubicBezTo>
                  <a:pt x="592836" y="408527"/>
                  <a:pt x="624840" y="439960"/>
                  <a:pt x="664273" y="439960"/>
                </a:cubicBezTo>
                <a:close/>
              </a:path>
            </a:pathLst>
          </a:custGeom>
          <a:solidFill>
            <a:schemeClr val="accent1">
              <a:lumMod val="20000"/>
              <a:lumOff val="80000"/>
              <a:alpha val="40000"/>
            </a:schemeClr>
          </a:solidFill>
          <a:ln w="9525" cap="flat">
            <a:noFill/>
            <a:prstDash val="solid"/>
            <a:miter/>
          </a:ln>
        </p:spPr>
        <p:txBody>
          <a:bodyPr rtlCol="0" anchor="ctr"/>
          <a:lstStyle/>
          <a:p>
            <a:endParaRPr lang="en-US"/>
          </a:p>
        </p:txBody>
      </p:sp>
      <p:sp>
        <p:nvSpPr>
          <p:cNvPr id="4" name="TextBox 3">
            <a:extLst>
              <a:ext uri="{FF2B5EF4-FFF2-40B4-BE49-F238E27FC236}">
                <a16:creationId xmlns:a16="http://schemas.microsoft.com/office/drawing/2014/main" id="{F4092577-957D-6592-BB3C-47E6DBD885D1}"/>
              </a:ext>
            </a:extLst>
          </p:cNvPr>
          <p:cNvSpPr txBox="1"/>
          <p:nvPr/>
        </p:nvSpPr>
        <p:spPr>
          <a:xfrm>
            <a:off x="1788571" y="2707280"/>
            <a:ext cx="8614859" cy="769441"/>
          </a:xfrm>
          <a:prstGeom prst="rect">
            <a:avLst/>
          </a:prstGeom>
          <a:noFill/>
        </p:spPr>
        <p:txBody>
          <a:bodyPr wrap="none" tIns="0" bIns="0" rtlCol="0" anchor="ctr" anchorCtr="0">
            <a:spAutoFit/>
          </a:bodyPr>
          <a:lstStyle/>
          <a:p>
            <a:pPr algn="ctr"/>
            <a:r>
              <a:rPr lang="en-US" sz="5000" b="1" dirty="0">
                <a:solidFill>
                  <a:schemeClr val="tx2"/>
                </a:solidFill>
                <a:latin typeface="Montserrat" panose="00000500000000000000" pitchFamily="50" charset="0"/>
              </a:rPr>
              <a:t>Venn Diagram Collection</a:t>
            </a:r>
          </a:p>
        </p:txBody>
      </p:sp>
      <p:sp>
        <p:nvSpPr>
          <p:cNvPr id="5" name="TextBox 4">
            <a:extLst>
              <a:ext uri="{FF2B5EF4-FFF2-40B4-BE49-F238E27FC236}">
                <a16:creationId xmlns:a16="http://schemas.microsoft.com/office/drawing/2014/main" id="{E364E70F-F121-FF5E-60AF-B44E3034C7D4}"/>
              </a:ext>
            </a:extLst>
          </p:cNvPr>
          <p:cNvSpPr txBox="1"/>
          <p:nvPr/>
        </p:nvSpPr>
        <p:spPr>
          <a:xfrm>
            <a:off x="3276161" y="3983454"/>
            <a:ext cx="5639685" cy="461665"/>
          </a:xfrm>
          <a:prstGeom prst="rect">
            <a:avLst/>
          </a:prstGeom>
          <a:noFill/>
        </p:spPr>
        <p:txBody>
          <a:bodyPr wrap="none" tIns="0" bIns="0" rtlCol="0">
            <a:spAutoFit/>
          </a:bodyPr>
          <a:lstStyle>
            <a:defPPr>
              <a:defRPr lang="en-US"/>
            </a:defPPr>
            <a:lvl1pPr algn="ctr">
              <a:defRPr sz="5000" b="1">
                <a:solidFill>
                  <a:schemeClr val="tx2"/>
                </a:solidFill>
                <a:latin typeface="Montserrat" panose="00000500000000000000" pitchFamily="50" charset="0"/>
              </a:defRPr>
            </a:lvl1pPr>
          </a:lstStyle>
          <a:p>
            <a:r>
              <a:rPr lang="en-US" sz="3000" b="0" dirty="0"/>
              <a:t>Presented by Service Bridge</a:t>
            </a:r>
          </a:p>
        </p:txBody>
      </p:sp>
    </p:spTree>
    <p:extLst>
      <p:ext uri="{BB962C8B-B14F-4D97-AF65-F5344CB8AC3E}">
        <p14:creationId xmlns:p14="http://schemas.microsoft.com/office/powerpoint/2010/main" val="737450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1000"/>
                                        <p:tgtEl>
                                          <p:spTgt spid="37"/>
                                        </p:tgtEl>
                                      </p:cBhvr>
                                    </p:animEffect>
                                  </p:childTnLst>
                                </p:cTn>
                              </p:par>
                              <p:par>
                                <p:cTn id="8" presetID="8" presetClass="emph" presetSubtype="0" repeatCount="indefinite" fill="hold" grpId="1" nodeType="withEffect">
                                  <p:stCondLst>
                                    <p:cond delay="0"/>
                                  </p:stCondLst>
                                  <p:childTnLst>
                                    <p:animRot by="21600000">
                                      <p:cBhvr>
                                        <p:cTn id="9" dur="15000" fill="hold"/>
                                        <p:tgtEl>
                                          <p:spTgt spid="37"/>
                                        </p:tgtEl>
                                        <p:attrNameLst>
                                          <p:attrName>r</p:attrName>
                                        </p:attrNameLst>
                                      </p:cBhvr>
                                    </p:animRot>
                                  </p:childTnLst>
                                </p:cTn>
                              </p:par>
                              <p:par>
                                <p:cTn id="10" presetID="6" presetClass="emph" presetSubtype="0" accel="50000" decel="50000" autoRev="1" fill="hold" grpId="2" nodeType="withEffect">
                                  <p:stCondLst>
                                    <p:cond delay="0"/>
                                  </p:stCondLst>
                                  <p:childTnLst>
                                    <p:animScale>
                                      <p:cBhvr>
                                        <p:cTn id="11" dur="3000" fill="hold"/>
                                        <p:tgtEl>
                                          <p:spTgt spid="37"/>
                                        </p:tgtEl>
                                      </p:cBhvr>
                                      <p:by x="110000" y="110000"/>
                                    </p:animScale>
                                  </p:childTnLst>
                                </p:cTn>
                              </p:par>
                              <p:par>
                                <p:cTn id="12" presetID="10" presetClass="entr" presetSubtype="0" fill="hold" grpId="0" nodeType="withEffect">
                                  <p:stCondLst>
                                    <p:cond delay="250"/>
                                  </p:stCondLst>
                                  <p:childTnLst>
                                    <p:set>
                                      <p:cBhvr>
                                        <p:cTn id="13" dur="1" fill="hold">
                                          <p:stCondLst>
                                            <p:cond delay="0"/>
                                          </p:stCondLst>
                                        </p:cTn>
                                        <p:tgtEl>
                                          <p:spTgt spid="36"/>
                                        </p:tgtEl>
                                        <p:attrNameLst>
                                          <p:attrName>style.visibility</p:attrName>
                                        </p:attrNameLst>
                                      </p:cBhvr>
                                      <p:to>
                                        <p:strVal val="visible"/>
                                      </p:to>
                                    </p:set>
                                    <p:animEffect transition="in" filter="fade">
                                      <p:cBhvr>
                                        <p:cTn id="14" dur="1000"/>
                                        <p:tgtEl>
                                          <p:spTgt spid="36"/>
                                        </p:tgtEl>
                                      </p:cBhvr>
                                    </p:animEffect>
                                  </p:childTnLst>
                                </p:cTn>
                              </p:par>
                              <p:par>
                                <p:cTn id="15" presetID="8" presetClass="emph" presetSubtype="0" repeatCount="indefinite" fill="hold" grpId="1" nodeType="withEffect">
                                  <p:stCondLst>
                                    <p:cond delay="250"/>
                                  </p:stCondLst>
                                  <p:childTnLst>
                                    <p:animRot by="-21600000">
                                      <p:cBhvr>
                                        <p:cTn id="16" dur="15000" fill="hold"/>
                                        <p:tgtEl>
                                          <p:spTgt spid="36"/>
                                        </p:tgtEl>
                                        <p:attrNameLst>
                                          <p:attrName>r</p:attrName>
                                        </p:attrNameLst>
                                      </p:cBhvr>
                                    </p:animRot>
                                  </p:childTnLst>
                                </p:cTn>
                              </p:par>
                              <p:par>
                                <p:cTn id="17" presetID="6" presetClass="emph" presetSubtype="0" accel="50000" decel="50000" autoRev="1" fill="hold" grpId="2" nodeType="withEffect">
                                  <p:stCondLst>
                                    <p:cond delay="250"/>
                                  </p:stCondLst>
                                  <p:childTnLst>
                                    <p:animScale>
                                      <p:cBhvr>
                                        <p:cTn id="18" dur="3000" fill="hold"/>
                                        <p:tgtEl>
                                          <p:spTgt spid="36"/>
                                        </p:tgtEl>
                                      </p:cBhvr>
                                      <p:by x="110000" y="110000"/>
                                    </p:animScale>
                                  </p:childTnLst>
                                </p:cTn>
                              </p:par>
                              <p:par>
                                <p:cTn id="19" presetID="10" presetClass="entr" presetSubtype="0" fill="hold" nodeType="withEffect">
                                  <p:stCondLst>
                                    <p:cond delay="500"/>
                                  </p:stCondLst>
                                  <p:childTnLst>
                                    <p:set>
                                      <p:cBhvr>
                                        <p:cTn id="20" dur="1" fill="hold">
                                          <p:stCondLst>
                                            <p:cond delay="0"/>
                                          </p:stCondLst>
                                        </p:cTn>
                                        <p:tgtEl>
                                          <p:spTgt spid="38"/>
                                        </p:tgtEl>
                                        <p:attrNameLst>
                                          <p:attrName>style.visibility</p:attrName>
                                        </p:attrNameLst>
                                      </p:cBhvr>
                                      <p:to>
                                        <p:strVal val="visible"/>
                                      </p:to>
                                    </p:set>
                                    <p:animEffect transition="in" filter="fade">
                                      <p:cBhvr>
                                        <p:cTn id="21" dur="1000"/>
                                        <p:tgtEl>
                                          <p:spTgt spid="38"/>
                                        </p:tgtEl>
                                      </p:cBhvr>
                                    </p:animEffect>
                                  </p:childTnLst>
                                </p:cTn>
                              </p:par>
                              <p:par>
                                <p:cTn id="22" presetID="8" presetClass="emph" presetSubtype="0" repeatCount="indefinite" fill="hold" nodeType="withEffect">
                                  <p:stCondLst>
                                    <p:cond delay="500"/>
                                  </p:stCondLst>
                                  <p:childTnLst>
                                    <p:animRot by="21600000">
                                      <p:cBhvr>
                                        <p:cTn id="23" dur="15000" fill="hold"/>
                                        <p:tgtEl>
                                          <p:spTgt spid="38"/>
                                        </p:tgtEl>
                                        <p:attrNameLst>
                                          <p:attrName>r</p:attrName>
                                        </p:attrNameLst>
                                      </p:cBhvr>
                                    </p:animRot>
                                  </p:childTnLst>
                                </p:cTn>
                              </p:par>
                              <p:par>
                                <p:cTn id="24" presetID="6" presetClass="emph" presetSubtype="0" accel="50000" decel="50000" autoRev="1" fill="hold" nodeType="withEffect">
                                  <p:stCondLst>
                                    <p:cond delay="500"/>
                                  </p:stCondLst>
                                  <p:childTnLst>
                                    <p:animScale>
                                      <p:cBhvr>
                                        <p:cTn id="25" dur="3000" fill="hold"/>
                                        <p:tgtEl>
                                          <p:spTgt spid="38"/>
                                        </p:tgtEl>
                                      </p:cBhvr>
                                      <p:by x="110000" y="110000"/>
                                    </p:animScale>
                                  </p:childTnLst>
                                </p:cTn>
                              </p:par>
                              <p:par>
                                <p:cTn id="26" presetID="10" presetClass="entr" presetSubtype="0" fill="hold" nodeType="withEffect">
                                  <p:stCondLst>
                                    <p:cond delay="75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1000"/>
                                        <p:tgtEl>
                                          <p:spTgt spid="39"/>
                                        </p:tgtEl>
                                      </p:cBhvr>
                                    </p:animEffect>
                                  </p:childTnLst>
                                </p:cTn>
                              </p:par>
                              <p:par>
                                <p:cTn id="29" presetID="8" presetClass="emph" presetSubtype="0" repeatCount="indefinite" fill="hold" nodeType="withEffect">
                                  <p:stCondLst>
                                    <p:cond delay="750"/>
                                  </p:stCondLst>
                                  <p:childTnLst>
                                    <p:animRot by="-21600000">
                                      <p:cBhvr>
                                        <p:cTn id="30" dur="15000" fill="hold"/>
                                        <p:tgtEl>
                                          <p:spTgt spid="39"/>
                                        </p:tgtEl>
                                        <p:attrNameLst>
                                          <p:attrName>r</p:attrName>
                                        </p:attrNameLst>
                                      </p:cBhvr>
                                    </p:animRot>
                                  </p:childTnLst>
                                </p:cTn>
                              </p:par>
                              <p:par>
                                <p:cTn id="31" presetID="6" presetClass="emph" presetSubtype="0" accel="50000" decel="50000" autoRev="1" fill="hold" nodeType="withEffect">
                                  <p:stCondLst>
                                    <p:cond delay="750"/>
                                  </p:stCondLst>
                                  <p:childTnLst>
                                    <p:animScale>
                                      <p:cBhvr>
                                        <p:cTn id="32" dur="3000" fill="hold"/>
                                        <p:tgtEl>
                                          <p:spTgt spid="39"/>
                                        </p:tgtEl>
                                      </p:cBhvr>
                                      <p:by x="110000" y="110000"/>
                                    </p:animScale>
                                  </p:childTnLst>
                                </p:cTn>
                              </p:par>
                              <p:par>
                                <p:cTn id="33" presetID="10" presetClass="entr" presetSubtype="0" fill="hold" nodeType="withEffect">
                                  <p:stCondLst>
                                    <p:cond delay="1000"/>
                                  </p:stCondLst>
                                  <p:childTnLst>
                                    <p:set>
                                      <p:cBhvr>
                                        <p:cTn id="34" dur="1" fill="hold">
                                          <p:stCondLst>
                                            <p:cond delay="0"/>
                                          </p:stCondLst>
                                        </p:cTn>
                                        <p:tgtEl>
                                          <p:spTgt spid="40"/>
                                        </p:tgtEl>
                                        <p:attrNameLst>
                                          <p:attrName>style.visibility</p:attrName>
                                        </p:attrNameLst>
                                      </p:cBhvr>
                                      <p:to>
                                        <p:strVal val="visible"/>
                                      </p:to>
                                    </p:set>
                                    <p:animEffect transition="in" filter="fade">
                                      <p:cBhvr>
                                        <p:cTn id="35" dur="1000"/>
                                        <p:tgtEl>
                                          <p:spTgt spid="40"/>
                                        </p:tgtEl>
                                      </p:cBhvr>
                                    </p:animEffect>
                                  </p:childTnLst>
                                </p:cTn>
                              </p:par>
                              <p:par>
                                <p:cTn id="36" presetID="8" presetClass="emph" presetSubtype="0" repeatCount="indefinite" fill="hold" nodeType="withEffect">
                                  <p:stCondLst>
                                    <p:cond delay="1000"/>
                                  </p:stCondLst>
                                  <p:childTnLst>
                                    <p:animRot by="21600000">
                                      <p:cBhvr>
                                        <p:cTn id="37" dur="15000" fill="hold"/>
                                        <p:tgtEl>
                                          <p:spTgt spid="40"/>
                                        </p:tgtEl>
                                        <p:attrNameLst>
                                          <p:attrName>r</p:attrName>
                                        </p:attrNameLst>
                                      </p:cBhvr>
                                    </p:animRot>
                                  </p:childTnLst>
                                </p:cTn>
                              </p:par>
                              <p:par>
                                <p:cTn id="38" presetID="6" presetClass="emph" presetSubtype="0" accel="50000" decel="50000" autoRev="1" fill="hold" nodeType="withEffect">
                                  <p:stCondLst>
                                    <p:cond delay="1000"/>
                                  </p:stCondLst>
                                  <p:childTnLst>
                                    <p:animScale>
                                      <p:cBhvr>
                                        <p:cTn id="39" dur="3000" fill="hold"/>
                                        <p:tgtEl>
                                          <p:spTgt spid="40"/>
                                        </p:tgtEl>
                                      </p:cBhvr>
                                      <p:by x="110000" y="110000"/>
                                    </p:animScale>
                                  </p:childTnLst>
                                </p:cTn>
                              </p:par>
                              <p:par>
                                <p:cTn id="40" presetID="10" presetClass="entr" presetSubtype="0" fill="hold" nodeType="withEffect">
                                  <p:stCondLst>
                                    <p:cond delay="1250"/>
                                  </p:stCondLst>
                                  <p:childTnLst>
                                    <p:set>
                                      <p:cBhvr>
                                        <p:cTn id="41" dur="1" fill="hold">
                                          <p:stCondLst>
                                            <p:cond delay="0"/>
                                          </p:stCondLst>
                                        </p:cTn>
                                        <p:tgtEl>
                                          <p:spTgt spid="41"/>
                                        </p:tgtEl>
                                        <p:attrNameLst>
                                          <p:attrName>style.visibility</p:attrName>
                                        </p:attrNameLst>
                                      </p:cBhvr>
                                      <p:to>
                                        <p:strVal val="visible"/>
                                      </p:to>
                                    </p:set>
                                    <p:animEffect transition="in" filter="fade">
                                      <p:cBhvr>
                                        <p:cTn id="42" dur="1000"/>
                                        <p:tgtEl>
                                          <p:spTgt spid="41"/>
                                        </p:tgtEl>
                                      </p:cBhvr>
                                    </p:animEffect>
                                  </p:childTnLst>
                                </p:cTn>
                              </p:par>
                              <p:par>
                                <p:cTn id="43" presetID="8" presetClass="emph" presetSubtype="0" repeatCount="indefinite" fill="hold" nodeType="withEffect">
                                  <p:stCondLst>
                                    <p:cond delay="1250"/>
                                  </p:stCondLst>
                                  <p:childTnLst>
                                    <p:animRot by="-21600000">
                                      <p:cBhvr>
                                        <p:cTn id="44" dur="15000" fill="hold"/>
                                        <p:tgtEl>
                                          <p:spTgt spid="41"/>
                                        </p:tgtEl>
                                        <p:attrNameLst>
                                          <p:attrName>r</p:attrName>
                                        </p:attrNameLst>
                                      </p:cBhvr>
                                    </p:animRot>
                                  </p:childTnLst>
                                </p:cTn>
                              </p:par>
                              <p:par>
                                <p:cTn id="45" presetID="6" presetClass="emph" presetSubtype="0" accel="50000" decel="50000" autoRev="1" fill="hold" nodeType="withEffect">
                                  <p:stCondLst>
                                    <p:cond delay="1250"/>
                                  </p:stCondLst>
                                  <p:childTnLst>
                                    <p:animScale>
                                      <p:cBhvr>
                                        <p:cTn id="46" dur="3000" fill="hold"/>
                                        <p:tgtEl>
                                          <p:spTgt spid="41"/>
                                        </p:tgtEl>
                                      </p:cBhvr>
                                      <p:by x="110000" y="110000"/>
                                    </p:animScale>
                                  </p:childTnLst>
                                </p:cTn>
                              </p:par>
                              <p:par>
                                <p:cTn id="47" presetID="10" presetClass="entr" presetSubtype="0" fill="hold" nodeType="withEffect">
                                  <p:stCondLst>
                                    <p:cond delay="1500"/>
                                  </p:stCondLst>
                                  <p:childTnLst>
                                    <p:set>
                                      <p:cBhvr>
                                        <p:cTn id="48" dur="1" fill="hold">
                                          <p:stCondLst>
                                            <p:cond delay="0"/>
                                          </p:stCondLst>
                                        </p:cTn>
                                        <p:tgtEl>
                                          <p:spTgt spid="42"/>
                                        </p:tgtEl>
                                        <p:attrNameLst>
                                          <p:attrName>style.visibility</p:attrName>
                                        </p:attrNameLst>
                                      </p:cBhvr>
                                      <p:to>
                                        <p:strVal val="visible"/>
                                      </p:to>
                                    </p:set>
                                    <p:animEffect transition="in" filter="fade">
                                      <p:cBhvr>
                                        <p:cTn id="49" dur="1000"/>
                                        <p:tgtEl>
                                          <p:spTgt spid="42"/>
                                        </p:tgtEl>
                                      </p:cBhvr>
                                    </p:animEffect>
                                  </p:childTnLst>
                                </p:cTn>
                              </p:par>
                              <p:par>
                                <p:cTn id="50" presetID="8" presetClass="emph" presetSubtype="0" repeatCount="indefinite" fill="hold" nodeType="withEffect">
                                  <p:stCondLst>
                                    <p:cond delay="1500"/>
                                  </p:stCondLst>
                                  <p:childTnLst>
                                    <p:animRot by="21600000">
                                      <p:cBhvr>
                                        <p:cTn id="51" dur="15000" fill="hold"/>
                                        <p:tgtEl>
                                          <p:spTgt spid="42"/>
                                        </p:tgtEl>
                                        <p:attrNameLst>
                                          <p:attrName>r</p:attrName>
                                        </p:attrNameLst>
                                      </p:cBhvr>
                                    </p:animRot>
                                  </p:childTnLst>
                                </p:cTn>
                              </p:par>
                              <p:par>
                                <p:cTn id="52" presetID="6" presetClass="emph" presetSubtype="0" accel="50000" decel="50000" autoRev="1" fill="hold" nodeType="withEffect">
                                  <p:stCondLst>
                                    <p:cond delay="1500"/>
                                  </p:stCondLst>
                                  <p:childTnLst>
                                    <p:animScale>
                                      <p:cBhvr>
                                        <p:cTn id="53" dur="3000" fill="hold"/>
                                        <p:tgtEl>
                                          <p:spTgt spid="42"/>
                                        </p:tgtEl>
                                      </p:cBhvr>
                                      <p:by x="110000" y="110000"/>
                                    </p:animScale>
                                  </p:childTnLst>
                                </p:cTn>
                              </p:par>
                              <p:par>
                                <p:cTn id="54" presetID="10" presetClass="entr" presetSubtype="0" fill="hold" nodeType="withEffect">
                                  <p:stCondLst>
                                    <p:cond delay="1750"/>
                                  </p:stCondLst>
                                  <p:childTnLst>
                                    <p:set>
                                      <p:cBhvr>
                                        <p:cTn id="55" dur="1" fill="hold">
                                          <p:stCondLst>
                                            <p:cond delay="0"/>
                                          </p:stCondLst>
                                        </p:cTn>
                                        <p:tgtEl>
                                          <p:spTgt spid="43"/>
                                        </p:tgtEl>
                                        <p:attrNameLst>
                                          <p:attrName>style.visibility</p:attrName>
                                        </p:attrNameLst>
                                      </p:cBhvr>
                                      <p:to>
                                        <p:strVal val="visible"/>
                                      </p:to>
                                    </p:set>
                                    <p:animEffect transition="in" filter="fade">
                                      <p:cBhvr>
                                        <p:cTn id="56" dur="1000"/>
                                        <p:tgtEl>
                                          <p:spTgt spid="43"/>
                                        </p:tgtEl>
                                      </p:cBhvr>
                                    </p:animEffect>
                                  </p:childTnLst>
                                </p:cTn>
                              </p:par>
                              <p:par>
                                <p:cTn id="57" presetID="8" presetClass="emph" presetSubtype="0" repeatCount="indefinite" fill="hold" nodeType="withEffect">
                                  <p:stCondLst>
                                    <p:cond delay="1750"/>
                                  </p:stCondLst>
                                  <p:childTnLst>
                                    <p:animRot by="-21600000">
                                      <p:cBhvr>
                                        <p:cTn id="58" dur="15000" fill="hold"/>
                                        <p:tgtEl>
                                          <p:spTgt spid="43"/>
                                        </p:tgtEl>
                                        <p:attrNameLst>
                                          <p:attrName>r</p:attrName>
                                        </p:attrNameLst>
                                      </p:cBhvr>
                                    </p:animRot>
                                  </p:childTnLst>
                                </p:cTn>
                              </p:par>
                              <p:par>
                                <p:cTn id="59" presetID="6" presetClass="emph" presetSubtype="0" accel="50000" decel="50000" autoRev="1" fill="hold" nodeType="withEffect">
                                  <p:stCondLst>
                                    <p:cond delay="1750"/>
                                  </p:stCondLst>
                                  <p:childTnLst>
                                    <p:animScale>
                                      <p:cBhvr>
                                        <p:cTn id="60" dur="3000" fill="hold"/>
                                        <p:tgtEl>
                                          <p:spTgt spid="43"/>
                                        </p:tgtEl>
                                      </p:cBhvr>
                                      <p:by x="110000" y="110000"/>
                                    </p:animScale>
                                  </p:childTnLst>
                                </p:cTn>
                              </p:par>
                              <p:par>
                                <p:cTn id="61" presetID="10" presetClass="entr" presetSubtype="0" fill="hold" nodeType="withEffect">
                                  <p:stCondLst>
                                    <p:cond delay="2000"/>
                                  </p:stCondLst>
                                  <p:childTnLst>
                                    <p:set>
                                      <p:cBhvr>
                                        <p:cTn id="62" dur="1" fill="hold">
                                          <p:stCondLst>
                                            <p:cond delay="0"/>
                                          </p:stCondLst>
                                        </p:cTn>
                                        <p:tgtEl>
                                          <p:spTgt spid="44"/>
                                        </p:tgtEl>
                                        <p:attrNameLst>
                                          <p:attrName>style.visibility</p:attrName>
                                        </p:attrNameLst>
                                      </p:cBhvr>
                                      <p:to>
                                        <p:strVal val="visible"/>
                                      </p:to>
                                    </p:set>
                                    <p:animEffect transition="in" filter="fade">
                                      <p:cBhvr>
                                        <p:cTn id="63" dur="1000"/>
                                        <p:tgtEl>
                                          <p:spTgt spid="44"/>
                                        </p:tgtEl>
                                      </p:cBhvr>
                                    </p:animEffect>
                                  </p:childTnLst>
                                </p:cTn>
                              </p:par>
                              <p:par>
                                <p:cTn id="64" presetID="8" presetClass="emph" presetSubtype="0" repeatCount="indefinite" fill="hold" nodeType="withEffect">
                                  <p:stCondLst>
                                    <p:cond delay="2000"/>
                                  </p:stCondLst>
                                  <p:childTnLst>
                                    <p:animRot by="21600000">
                                      <p:cBhvr>
                                        <p:cTn id="65" dur="15000" fill="hold"/>
                                        <p:tgtEl>
                                          <p:spTgt spid="44"/>
                                        </p:tgtEl>
                                        <p:attrNameLst>
                                          <p:attrName>r</p:attrName>
                                        </p:attrNameLst>
                                      </p:cBhvr>
                                    </p:animRot>
                                  </p:childTnLst>
                                </p:cTn>
                              </p:par>
                              <p:par>
                                <p:cTn id="66" presetID="6" presetClass="emph" presetSubtype="0" accel="50000" decel="50000" autoRev="1" fill="hold" nodeType="withEffect">
                                  <p:stCondLst>
                                    <p:cond delay="2000"/>
                                  </p:stCondLst>
                                  <p:childTnLst>
                                    <p:animScale>
                                      <p:cBhvr>
                                        <p:cTn id="67" dur="3000" fill="hold"/>
                                        <p:tgtEl>
                                          <p:spTgt spid="44"/>
                                        </p:tgtEl>
                                      </p:cBhvr>
                                      <p:by x="110000" y="110000"/>
                                    </p:animScale>
                                  </p:childTnLst>
                                </p:cTn>
                              </p:par>
                              <p:par>
                                <p:cTn id="68" presetID="12" presetClass="entr" presetSubtype="4" fill="hold" grpId="0" nodeType="withEffect">
                                  <p:stCondLst>
                                    <p:cond delay="1000"/>
                                  </p:stCondLst>
                                  <p:childTnLst>
                                    <p:set>
                                      <p:cBhvr>
                                        <p:cTn id="69" dur="1" fill="hold">
                                          <p:stCondLst>
                                            <p:cond delay="0"/>
                                          </p:stCondLst>
                                        </p:cTn>
                                        <p:tgtEl>
                                          <p:spTgt spid="4"/>
                                        </p:tgtEl>
                                        <p:attrNameLst>
                                          <p:attrName>style.visibility</p:attrName>
                                        </p:attrNameLst>
                                      </p:cBhvr>
                                      <p:to>
                                        <p:strVal val="visible"/>
                                      </p:to>
                                    </p:set>
                                    <p:anim calcmode="lin" valueType="num">
                                      <p:cBhvr additive="base">
                                        <p:cTn id="70" dur="1500"/>
                                        <p:tgtEl>
                                          <p:spTgt spid="4"/>
                                        </p:tgtEl>
                                        <p:attrNameLst>
                                          <p:attrName>ppt_y</p:attrName>
                                        </p:attrNameLst>
                                      </p:cBhvr>
                                      <p:tavLst>
                                        <p:tav tm="0">
                                          <p:val>
                                            <p:strVal val="#ppt_y+#ppt_h*1.125000"/>
                                          </p:val>
                                        </p:tav>
                                        <p:tav tm="100000">
                                          <p:val>
                                            <p:strVal val="#ppt_y"/>
                                          </p:val>
                                        </p:tav>
                                      </p:tavLst>
                                    </p:anim>
                                    <p:animEffect transition="in" filter="wipe(up)">
                                      <p:cBhvr>
                                        <p:cTn id="71" dur="1500"/>
                                        <p:tgtEl>
                                          <p:spTgt spid="4"/>
                                        </p:tgtEl>
                                      </p:cBhvr>
                                    </p:animEffect>
                                  </p:childTnLst>
                                </p:cTn>
                              </p:par>
                              <p:par>
                                <p:cTn id="72" presetID="12" presetClass="entr" presetSubtype="1" fill="hold" grpId="0" nodeType="withEffect">
                                  <p:stCondLst>
                                    <p:cond delay="1000"/>
                                  </p:stCondLst>
                                  <p:childTnLst>
                                    <p:set>
                                      <p:cBhvr>
                                        <p:cTn id="73" dur="1" fill="hold">
                                          <p:stCondLst>
                                            <p:cond delay="0"/>
                                          </p:stCondLst>
                                        </p:cTn>
                                        <p:tgtEl>
                                          <p:spTgt spid="5"/>
                                        </p:tgtEl>
                                        <p:attrNameLst>
                                          <p:attrName>style.visibility</p:attrName>
                                        </p:attrNameLst>
                                      </p:cBhvr>
                                      <p:to>
                                        <p:strVal val="visible"/>
                                      </p:to>
                                    </p:set>
                                    <p:anim calcmode="lin" valueType="num">
                                      <p:cBhvr additive="base">
                                        <p:cTn id="74" dur="1500"/>
                                        <p:tgtEl>
                                          <p:spTgt spid="5"/>
                                        </p:tgtEl>
                                        <p:attrNameLst>
                                          <p:attrName>ppt_y</p:attrName>
                                        </p:attrNameLst>
                                      </p:cBhvr>
                                      <p:tavLst>
                                        <p:tav tm="0">
                                          <p:val>
                                            <p:strVal val="#ppt_y-#ppt_h*1.125000"/>
                                          </p:val>
                                        </p:tav>
                                        <p:tav tm="100000">
                                          <p:val>
                                            <p:strVal val="#ppt_y"/>
                                          </p:val>
                                        </p:tav>
                                      </p:tavLst>
                                    </p:anim>
                                    <p:animEffect transition="in" filter="wipe(down)">
                                      <p:cBhvr>
                                        <p:cTn id="75" dur="1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6" grpId="1" animBg="1"/>
      <p:bldP spid="36" grpId="2" animBg="1"/>
      <p:bldP spid="37" grpId="0" animBg="1"/>
      <p:bldP spid="37" grpId="1" animBg="1"/>
      <p:bldP spid="37" grpId="2" animBg="1"/>
      <p:bldP spid="4" grpId="0"/>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F319A3D4-1A6A-424A-B075-1733AC5E7074}"/>
              </a:ext>
            </a:extLst>
          </p:cNvPr>
          <p:cNvGrpSpPr/>
          <p:nvPr/>
        </p:nvGrpSpPr>
        <p:grpSpPr>
          <a:xfrm>
            <a:off x="861210" y="765786"/>
            <a:ext cx="10672780" cy="5326428"/>
            <a:chOff x="623706" y="765786"/>
            <a:chExt cx="10672780" cy="5326428"/>
          </a:xfrm>
        </p:grpSpPr>
        <p:grpSp>
          <p:nvGrpSpPr>
            <p:cNvPr id="10" name="Group 9">
              <a:extLst>
                <a:ext uri="{FF2B5EF4-FFF2-40B4-BE49-F238E27FC236}">
                  <a16:creationId xmlns:a16="http://schemas.microsoft.com/office/drawing/2014/main" id="{8FDDE85B-90F9-4FEF-B9DC-D7916E764636}"/>
                </a:ext>
              </a:extLst>
            </p:cNvPr>
            <p:cNvGrpSpPr/>
            <p:nvPr/>
          </p:nvGrpSpPr>
          <p:grpSpPr>
            <a:xfrm>
              <a:off x="623706" y="765786"/>
              <a:ext cx="5311164" cy="5326428"/>
              <a:chOff x="2236588" y="752475"/>
              <a:chExt cx="5311164" cy="5326428"/>
            </a:xfrm>
          </p:grpSpPr>
          <p:grpSp>
            <p:nvGrpSpPr>
              <p:cNvPr id="7" name="Group 6">
                <a:extLst>
                  <a:ext uri="{FF2B5EF4-FFF2-40B4-BE49-F238E27FC236}">
                    <a16:creationId xmlns:a16="http://schemas.microsoft.com/office/drawing/2014/main" id="{0FFD763A-8878-4D14-8AD5-DA10628FD40C}"/>
                  </a:ext>
                </a:extLst>
              </p:cNvPr>
              <p:cNvGrpSpPr/>
              <p:nvPr/>
            </p:nvGrpSpPr>
            <p:grpSpPr>
              <a:xfrm>
                <a:off x="2341454" y="864973"/>
                <a:ext cx="5101432" cy="5101432"/>
                <a:chOff x="2341454" y="864973"/>
                <a:chExt cx="5101432" cy="5101432"/>
              </a:xfrm>
            </p:grpSpPr>
            <p:sp>
              <p:nvSpPr>
                <p:cNvPr id="6" name="Arc 5">
                  <a:extLst>
                    <a:ext uri="{FF2B5EF4-FFF2-40B4-BE49-F238E27FC236}">
                      <a16:creationId xmlns:a16="http://schemas.microsoft.com/office/drawing/2014/main" id="{18F3F395-1B1F-48C9-8069-AB9CDB643EE5}"/>
                    </a:ext>
                  </a:extLst>
                </p:cNvPr>
                <p:cNvSpPr/>
                <p:nvPr/>
              </p:nvSpPr>
              <p:spPr>
                <a:xfrm>
                  <a:off x="2341454" y="864973"/>
                  <a:ext cx="5101432" cy="5101432"/>
                </a:xfrm>
                <a:prstGeom prst="arc">
                  <a:avLst>
                    <a:gd name="adj1" fmla="val 16918259"/>
                    <a:gd name="adj2" fmla="val 20855196"/>
                  </a:avLst>
                </a:prstGeom>
                <a:noFill/>
                <a:ln w="101600">
                  <a:solidFill>
                    <a:schemeClr val="tx2">
                      <a:lumMod val="20000"/>
                      <a:lumOff val="80000"/>
                      <a:alpha val="50000"/>
                    </a:schemeClr>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Arc 75">
                  <a:extLst>
                    <a:ext uri="{FF2B5EF4-FFF2-40B4-BE49-F238E27FC236}">
                      <a16:creationId xmlns:a16="http://schemas.microsoft.com/office/drawing/2014/main" id="{909C4D11-C08A-46D0-BECC-B59BC6453D91}"/>
                    </a:ext>
                  </a:extLst>
                </p:cNvPr>
                <p:cNvSpPr/>
                <p:nvPr/>
              </p:nvSpPr>
              <p:spPr>
                <a:xfrm flipV="1">
                  <a:off x="2341454" y="864973"/>
                  <a:ext cx="5101432" cy="5101432"/>
                </a:xfrm>
                <a:prstGeom prst="arc">
                  <a:avLst>
                    <a:gd name="adj1" fmla="val 16918259"/>
                    <a:gd name="adj2" fmla="val 20855196"/>
                  </a:avLst>
                </a:prstGeom>
                <a:noFill/>
                <a:ln w="101600">
                  <a:solidFill>
                    <a:schemeClr val="tx2">
                      <a:lumMod val="20000"/>
                      <a:lumOff val="80000"/>
                      <a:alpha val="50000"/>
                    </a:schemeClr>
                  </a:solidFill>
                  <a:headEnd type="triangle" w="sm" len="sm"/>
                  <a:tailEnd type="non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Arc 76">
                  <a:extLst>
                    <a:ext uri="{FF2B5EF4-FFF2-40B4-BE49-F238E27FC236}">
                      <a16:creationId xmlns:a16="http://schemas.microsoft.com/office/drawing/2014/main" id="{66FB94FC-365F-49A5-B4B4-E5999F57F1AE}"/>
                    </a:ext>
                  </a:extLst>
                </p:cNvPr>
                <p:cNvSpPr/>
                <p:nvPr/>
              </p:nvSpPr>
              <p:spPr>
                <a:xfrm flipH="1">
                  <a:off x="2341454" y="864973"/>
                  <a:ext cx="5101432" cy="5101432"/>
                </a:xfrm>
                <a:prstGeom prst="arc">
                  <a:avLst>
                    <a:gd name="adj1" fmla="val 16918259"/>
                    <a:gd name="adj2" fmla="val 20855196"/>
                  </a:avLst>
                </a:prstGeom>
                <a:noFill/>
                <a:ln w="101600">
                  <a:solidFill>
                    <a:schemeClr val="tx2">
                      <a:lumMod val="20000"/>
                      <a:lumOff val="80000"/>
                      <a:alpha val="50000"/>
                    </a:schemeClr>
                  </a:solidFill>
                  <a:headEnd type="triangle" w="sm" len="sm"/>
                  <a:tailEnd type="non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Arc 77">
                  <a:extLst>
                    <a:ext uri="{FF2B5EF4-FFF2-40B4-BE49-F238E27FC236}">
                      <a16:creationId xmlns:a16="http://schemas.microsoft.com/office/drawing/2014/main" id="{3C53106E-A26E-44AF-A76C-E5665875D641}"/>
                    </a:ext>
                  </a:extLst>
                </p:cNvPr>
                <p:cNvSpPr/>
                <p:nvPr/>
              </p:nvSpPr>
              <p:spPr>
                <a:xfrm flipH="1" flipV="1">
                  <a:off x="2341454" y="864973"/>
                  <a:ext cx="5101432" cy="5101432"/>
                </a:xfrm>
                <a:prstGeom prst="arc">
                  <a:avLst>
                    <a:gd name="adj1" fmla="val 16918259"/>
                    <a:gd name="adj2" fmla="val 20855196"/>
                  </a:avLst>
                </a:prstGeom>
                <a:noFill/>
                <a:ln w="101600">
                  <a:solidFill>
                    <a:schemeClr val="tx2">
                      <a:lumMod val="20000"/>
                      <a:lumOff val="80000"/>
                      <a:alpha val="50000"/>
                    </a:schemeClr>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 name="Group 3">
                <a:extLst>
                  <a:ext uri="{FF2B5EF4-FFF2-40B4-BE49-F238E27FC236}">
                    <a16:creationId xmlns:a16="http://schemas.microsoft.com/office/drawing/2014/main" id="{B44E3AFB-49F0-4B6E-984E-5B62D787DB92}"/>
                  </a:ext>
                </a:extLst>
              </p:cNvPr>
              <p:cNvGrpSpPr/>
              <p:nvPr/>
            </p:nvGrpSpPr>
            <p:grpSpPr>
              <a:xfrm>
                <a:off x="2828962" y="1340596"/>
                <a:ext cx="4126416" cy="3952682"/>
                <a:chOff x="3107832" y="-276417"/>
                <a:chExt cx="5976338" cy="5724717"/>
              </a:xfrm>
            </p:grpSpPr>
            <p:sp>
              <p:nvSpPr>
                <p:cNvPr id="59" name="Freeform: Shape 58">
                  <a:extLst>
                    <a:ext uri="{FF2B5EF4-FFF2-40B4-BE49-F238E27FC236}">
                      <a16:creationId xmlns:a16="http://schemas.microsoft.com/office/drawing/2014/main" id="{3D6892C3-8CF0-4988-816D-836CD141D160}"/>
                    </a:ext>
                  </a:extLst>
                </p:cNvPr>
                <p:cNvSpPr/>
                <p:nvPr/>
              </p:nvSpPr>
              <p:spPr>
                <a:xfrm>
                  <a:off x="3107832" y="-276417"/>
                  <a:ext cx="5976338" cy="5724717"/>
                </a:xfrm>
                <a:custGeom>
                  <a:avLst/>
                  <a:gdLst>
                    <a:gd name="connsiteX0" fmla="*/ 2988169 w 5976338"/>
                    <a:gd name="connsiteY0" fmla="*/ 0 h 5724717"/>
                    <a:gd name="connsiteX1" fmla="*/ 4958392 w 5976338"/>
                    <a:gd name="connsiteY1" fmla="*/ 1777958 h 5724717"/>
                    <a:gd name="connsiteX2" fmla="*/ 4967532 w 5976338"/>
                    <a:gd name="connsiteY2" fmla="*/ 1958982 h 5724717"/>
                    <a:gd name="connsiteX3" fmla="*/ 5086047 w 5976338"/>
                    <a:gd name="connsiteY3" fmla="*/ 2030982 h 5724717"/>
                    <a:gd name="connsiteX4" fmla="*/ 5976338 w 5976338"/>
                    <a:gd name="connsiteY4" fmla="*/ 3705417 h 5724717"/>
                    <a:gd name="connsiteX5" fmla="*/ 3957036 w 5976338"/>
                    <a:gd name="connsiteY5" fmla="*/ 5724717 h 5724717"/>
                    <a:gd name="connsiteX6" fmla="*/ 2994517 w 5976338"/>
                    <a:gd name="connsiteY6" fmla="*/ 5480999 h 5724717"/>
                    <a:gd name="connsiteX7" fmla="*/ 2988169 w 5976338"/>
                    <a:gd name="connsiteY7" fmla="*/ 5477142 h 5724717"/>
                    <a:gd name="connsiteX8" fmla="*/ 2981822 w 5976338"/>
                    <a:gd name="connsiteY8" fmla="*/ 5480999 h 5724717"/>
                    <a:gd name="connsiteX9" fmla="*/ 2019302 w 5976338"/>
                    <a:gd name="connsiteY9" fmla="*/ 5724717 h 5724717"/>
                    <a:gd name="connsiteX10" fmla="*/ 0 w 5976338"/>
                    <a:gd name="connsiteY10" fmla="*/ 3705417 h 5724717"/>
                    <a:gd name="connsiteX11" fmla="*/ 890291 w 5976338"/>
                    <a:gd name="connsiteY11" fmla="*/ 2030982 h 5724717"/>
                    <a:gd name="connsiteX12" fmla="*/ 1008806 w 5976338"/>
                    <a:gd name="connsiteY12" fmla="*/ 1958982 h 5724717"/>
                    <a:gd name="connsiteX13" fmla="*/ 1017947 w 5976338"/>
                    <a:gd name="connsiteY13" fmla="*/ 1777958 h 5724717"/>
                    <a:gd name="connsiteX14" fmla="*/ 2988169 w 5976338"/>
                    <a:gd name="connsiteY14" fmla="*/ 0 h 5724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76338" h="5724717">
                      <a:moveTo>
                        <a:pt x="2988169" y="0"/>
                      </a:moveTo>
                      <a:cubicBezTo>
                        <a:pt x="4013580" y="0"/>
                        <a:pt x="4856973" y="779305"/>
                        <a:pt x="4958392" y="1777958"/>
                      </a:cubicBezTo>
                      <a:lnTo>
                        <a:pt x="4967532" y="1958982"/>
                      </a:lnTo>
                      <a:lnTo>
                        <a:pt x="5086047" y="2030982"/>
                      </a:lnTo>
                      <a:cubicBezTo>
                        <a:pt x="5623185" y="2393865"/>
                        <a:pt x="5976338" y="3008399"/>
                        <a:pt x="5976338" y="3705417"/>
                      </a:cubicBezTo>
                      <a:cubicBezTo>
                        <a:pt x="5976338" y="4820646"/>
                        <a:pt x="5072266" y="5724717"/>
                        <a:pt x="3957036" y="5724717"/>
                      </a:cubicBezTo>
                      <a:cubicBezTo>
                        <a:pt x="3608527" y="5724717"/>
                        <a:pt x="3280638" y="5636429"/>
                        <a:pt x="2994517" y="5480999"/>
                      </a:cubicBezTo>
                      <a:lnTo>
                        <a:pt x="2988169" y="5477142"/>
                      </a:lnTo>
                      <a:lnTo>
                        <a:pt x="2981822" y="5480999"/>
                      </a:lnTo>
                      <a:cubicBezTo>
                        <a:pt x="2695700" y="5636429"/>
                        <a:pt x="2367812" y="5724717"/>
                        <a:pt x="2019302" y="5724717"/>
                      </a:cubicBezTo>
                      <a:cubicBezTo>
                        <a:pt x="904072" y="5724717"/>
                        <a:pt x="0" y="4820646"/>
                        <a:pt x="0" y="3705417"/>
                      </a:cubicBezTo>
                      <a:cubicBezTo>
                        <a:pt x="0" y="3008399"/>
                        <a:pt x="353153" y="2393865"/>
                        <a:pt x="890291" y="2030982"/>
                      </a:cubicBezTo>
                      <a:lnTo>
                        <a:pt x="1008806" y="1958982"/>
                      </a:lnTo>
                      <a:lnTo>
                        <a:pt x="1017947" y="1777958"/>
                      </a:lnTo>
                      <a:cubicBezTo>
                        <a:pt x="1119366" y="779305"/>
                        <a:pt x="1962759" y="0"/>
                        <a:pt x="2988169" y="0"/>
                      </a:cubicBezTo>
                      <a:close/>
                    </a:path>
                  </a:pathLst>
                </a:custGeom>
                <a:gradFill>
                  <a:gsLst>
                    <a:gs pos="50000">
                      <a:schemeClr val="accent3">
                        <a:alpha val="20000"/>
                      </a:schemeClr>
                    </a:gs>
                    <a:gs pos="100000">
                      <a:schemeClr val="accent4">
                        <a:alpha val="25000"/>
                      </a:schemeClr>
                    </a:gs>
                    <a:gs pos="0">
                      <a:schemeClr val="accent1">
                        <a:alpha val="30000"/>
                      </a:schemeClr>
                    </a:gs>
                  </a:gsLst>
                  <a:lin ang="0" scaled="0"/>
                </a:gradFill>
                <a:ln w="254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66" name="Freeform: Shape 65">
                  <a:extLst>
                    <a:ext uri="{FF2B5EF4-FFF2-40B4-BE49-F238E27FC236}">
                      <a16:creationId xmlns:a16="http://schemas.microsoft.com/office/drawing/2014/main" id="{CE74873A-0F65-40D5-A431-A212FECB2740}"/>
                    </a:ext>
                  </a:extLst>
                </p:cNvPr>
                <p:cNvSpPr/>
                <p:nvPr/>
              </p:nvSpPr>
              <p:spPr>
                <a:xfrm>
                  <a:off x="4444199" y="1763068"/>
                  <a:ext cx="1651802" cy="1459369"/>
                </a:xfrm>
                <a:custGeom>
                  <a:avLst/>
                  <a:gdLst>
                    <a:gd name="connsiteX0" fmla="*/ 682934 w 1651802"/>
                    <a:gd name="connsiteY0" fmla="*/ 0 h 1459369"/>
                    <a:gd name="connsiteX1" fmla="*/ 1614373 w 1651802"/>
                    <a:gd name="connsiteY1" fmla="*/ 284515 h 1459369"/>
                    <a:gd name="connsiteX2" fmla="*/ 1651802 w 1651802"/>
                    <a:gd name="connsiteY2" fmla="*/ 312504 h 1459369"/>
                    <a:gd name="connsiteX3" fmla="*/ 1560981 w 1651802"/>
                    <a:gd name="connsiteY3" fmla="*/ 380418 h 1459369"/>
                    <a:gd name="connsiteX4" fmla="*/ 988582 w 1651802"/>
                    <a:gd name="connsiteY4" fmla="*/ 1330190 h 1459369"/>
                    <a:gd name="connsiteX5" fmla="*/ 968867 w 1651802"/>
                    <a:gd name="connsiteY5" fmla="*/ 1459369 h 1459369"/>
                    <a:gd name="connsiteX6" fmla="*/ 857720 w 1651802"/>
                    <a:gd name="connsiteY6" fmla="*/ 1405826 h 1459369"/>
                    <a:gd name="connsiteX7" fmla="*/ 19715 w 1651802"/>
                    <a:gd name="connsiteY7" fmla="*/ 276705 h 1459369"/>
                    <a:gd name="connsiteX8" fmla="*/ 0 w 1651802"/>
                    <a:gd name="connsiteY8" fmla="*/ 147526 h 1459369"/>
                    <a:gd name="connsiteX9" fmla="*/ 34478 w 1651802"/>
                    <a:gd name="connsiteY9" fmla="*/ 130917 h 1459369"/>
                    <a:gd name="connsiteX10" fmla="*/ 682934 w 1651802"/>
                    <a:gd name="connsiteY10" fmla="*/ 0 h 1459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1802" h="1459369">
                      <a:moveTo>
                        <a:pt x="682934" y="0"/>
                      </a:moveTo>
                      <a:cubicBezTo>
                        <a:pt x="1027960" y="0"/>
                        <a:pt x="1348488" y="104887"/>
                        <a:pt x="1614373" y="284515"/>
                      </a:cubicBezTo>
                      <a:lnTo>
                        <a:pt x="1651802" y="312504"/>
                      </a:lnTo>
                      <a:lnTo>
                        <a:pt x="1560981" y="380418"/>
                      </a:lnTo>
                      <a:cubicBezTo>
                        <a:pt x="1273010" y="618074"/>
                        <a:pt x="1066253" y="950621"/>
                        <a:pt x="988582" y="1330190"/>
                      </a:cubicBezTo>
                      <a:lnTo>
                        <a:pt x="968867" y="1459369"/>
                      </a:lnTo>
                      <a:lnTo>
                        <a:pt x="857720" y="1405826"/>
                      </a:lnTo>
                      <a:cubicBezTo>
                        <a:pt x="432827" y="1175010"/>
                        <a:pt x="119578" y="764723"/>
                        <a:pt x="19715" y="276705"/>
                      </a:cubicBezTo>
                      <a:lnTo>
                        <a:pt x="0" y="147526"/>
                      </a:lnTo>
                      <a:lnTo>
                        <a:pt x="34478" y="130917"/>
                      </a:lnTo>
                      <a:cubicBezTo>
                        <a:pt x="233788" y="46617"/>
                        <a:pt x="452917" y="0"/>
                        <a:pt x="682934" y="0"/>
                      </a:cubicBezTo>
                      <a:close/>
                    </a:path>
                  </a:pathLst>
                </a:custGeom>
                <a:solidFill>
                  <a:schemeClr val="accent1"/>
                </a:solidFill>
                <a:ln w="254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65" name="Freeform: Shape 64">
                  <a:extLst>
                    <a:ext uri="{FF2B5EF4-FFF2-40B4-BE49-F238E27FC236}">
                      <a16:creationId xmlns:a16="http://schemas.microsoft.com/office/drawing/2014/main" id="{EEFAD9E0-F7DC-490F-AC77-C3293A9DACD6}"/>
                    </a:ext>
                  </a:extLst>
                </p:cNvPr>
                <p:cNvSpPr/>
                <p:nvPr/>
              </p:nvSpPr>
              <p:spPr>
                <a:xfrm>
                  <a:off x="6096001" y="1763068"/>
                  <a:ext cx="1651802" cy="1459369"/>
                </a:xfrm>
                <a:custGeom>
                  <a:avLst/>
                  <a:gdLst>
                    <a:gd name="connsiteX0" fmla="*/ 968867 w 1651802"/>
                    <a:gd name="connsiteY0" fmla="*/ 0 h 1459369"/>
                    <a:gd name="connsiteX1" fmla="*/ 1617323 w 1651802"/>
                    <a:gd name="connsiteY1" fmla="*/ 130917 h 1459369"/>
                    <a:gd name="connsiteX2" fmla="*/ 1651802 w 1651802"/>
                    <a:gd name="connsiteY2" fmla="*/ 147527 h 1459369"/>
                    <a:gd name="connsiteX3" fmla="*/ 1632087 w 1651802"/>
                    <a:gd name="connsiteY3" fmla="*/ 276705 h 1459369"/>
                    <a:gd name="connsiteX4" fmla="*/ 794082 w 1651802"/>
                    <a:gd name="connsiteY4" fmla="*/ 1405826 h 1459369"/>
                    <a:gd name="connsiteX5" fmla="*/ 682935 w 1651802"/>
                    <a:gd name="connsiteY5" fmla="*/ 1459369 h 1459369"/>
                    <a:gd name="connsiteX6" fmla="*/ 663219 w 1651802"/>
                    <a:gd name="connsiteY6" fmla="*/ 1330190 h 1459369"/>
                    <a:gd name="connsiteX7" fmla="*/ 90820 w 1651802"/>
                    <a:gd name="connsiteY7" fmla="*/ 380418 h 1459369"/>
                    <a:gd name="connsiteX8" fmla="*/ 0 w 1651802"/>
                    <a:gd name="connsiteY8" fmla="*/ 312504 h 1459369"/>
                    <a:gd name="connsiteX9" fmla="*/ 37428 w 1651802"/>
                    <a:gd name="connsiteY9" fmla="*/ 284515 h 1459369"/>
                    <a:gd name="connsiteX10" fmla="*/ 968867 w 1651802"/>
                    <a:gd name="connsiteY10" fmla="*/ 0 h 1459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51802" h="1459369">
                      <a:moveTo>
                        <a:pt x="968867" y="0"/>
                      </a:moveTo>
                      <a:cubicBezTo>
                        <a:pt x="1198884" y="0"/>
                        <a:pt x="1418014" y="46617"/>
                        <a:pt x="1617323" y="130917"/>
                      </a:cubicBezTo>
                      <a:lnTo>
                        <a:pt x="1651802" y="147527"/>
                      </a:lnTo>
                      <a:lnTo>
                        <a:pt x="1632087" y="276705"/>
                      </a:lnTo>
                      <a:cubicBezTo>
                        <a:pt x="1532225" y="764723"/>
                        <a:pt x="1218975" y="1175010"/>
                        <a:pt x="794082" y="1405826"/>
                      </a:cubicBezTo>
                      <a:lnTo>
                        <a:pt x="682935" y="1459369"/>
                      </a:lnTo>
                      <a:lnTo>
                        <a:pt x="663219" y="1330190"/>
                      </a:lnTo>
                      <a:cubicBezTo>
                        <a:pt x="585548" y="950621"/>
                        <a:pt x="378792" y="618074"/>
                        <a:pt x="90820" y="380418"/>
                      </a:cubicBezTo>
                      <a:lnTo>
                        <a:pt x="0" y="312504"/>
                      </a:lnTo>
                      <a:lnTo>
                        <a:pt x="37428" y="284515"/>
                      </a:lnTo>
                      <a:cubicBezTo>
                        <a:pt x="303313" y="104887"/>
                        <a:pt x="623841" y="0"/>
                        <a:pt x="968867" y="0"/>
                      </a:cubicBezTo>
                      <a:close/>
                    </a:path>
                  </a:pathLst>
                </a:custGeom>
                <a:solidFill>
                  <a:schemeClr val="accent3"/>
                </a:solidFill>
                <a:ln w="25400" cap="flat">
                  <a:noFill/>
                  <a:miter lim="400000"/>
                </a:ln>
                <a:effectLst/>
              </p:spPr>
              <p:txBody>
                <a:bodyPr wrap="square" lIns="0" tIns="0" rIns="0" bIns="0" numCol="1" anchor="ctr">
                  <a:noAutofit/>
                </a:bodyPr>
                <a:lstStyle/>
                <a:p>
                  <a:pPr algn="ctr" defTabSz="412750" hangingPunct="0"/>
                  <a:endParaRPr sz="1600" kern="0" dirty="0">
                    <a:solidFill>
                      <a:srgbClr val="FFFFFF"/>
                    </a:solidFill>
                    <a:latin typeface="Helvetica Neue Medium"/>
                    <a:sym typeface="Helvetica Neue Medium"/>
                  </a:endParaRPr>
                </a:p>
              </p:txBody>
            </p:sp>
            <p:sp>
              <p:nvSpPr>
                <p:cNvPr id="64" name="Freeform: Shape 63">
                  <a:extLst>
                    <a:ext uri="{FF2B5EF4-FFF2-40B4-BE49-F238E27FC236}">
                      <a16:creationId xmlns:a16="http://schemas.microsoft.com/office/drawing/2014/main" id="{841770AF-C028-4E8B-B39D-6E4759C8CE37}"/>
                    </a:ext>
                  </a:extLst>
                </p:cNvPr>
                <p:cNvSpPr/>
                <p:nvPr/>
              </p:nvSpPr>
              <p:spPr>
                <a:xfrm>
                  <a:off x="5398936" y="3222437"/>
                  <a:ext cx="1394131" cy="1559994"/>
                </a:xfrm>
                <a:custGeom>
                  <a:avLst/>
                  <a:gdLst>
                    <a:gd name="connsiteX0" fmla="*/ 14131 w 1394131"/>
                    <a:gd name="connsiteY0" fmla="*/ 0 h 1559994"/>
                    <a:gd name="connsiteX1" fmla="*/ 48610 w 1394131"/>
                    <a:gd name="connsiteY1" fmla="*/ 16609 h 1559994"/>
                    <a:gd name="connsiteX2" fmla="*/ 697066 w 1394131"/>
                    <a:gd name="connsiteY2" fmla="*/ 147526 h 1559994"/>
                    <a:gd name="connsiteX3" fmla="*/ 1345522 w 1394131"/>
                    <a:gd name="connsiteY3" fmla="*/ 16609 h 1559994"/>
                    <a:gd name="connsiteX4" fmla="*/ 1380001 w 1394131"/>
                    <a:gd name="connsiteY4" fmla="*/ 0 h 1559994"/>
                    <a:gd name="connsiteX5" fmla="*/ 1385530 w 1394131"/>
                    <a:gd name="connsiteY5" fmla="*/ 36232 h 1559994"/>
                    <a:gd name="connsiteX6" fmla="*/ 1394131 w 1394131"/>
                    <a:gd name="connsiteY6" fmla="*/ 206564 h 1559994"/>
                    <a:gd name="connsiteX7" fmla="*/ 787886 w 1394131"/>
                    <a:gd name="connsiteY7" fmla="*/ 1492079 h 1559994"/>
                    <a:gd name="connsiteX8" fmla="*/ 697066 w 1394131"/>
                    <a:gd name="connsiteY8" fmla="*/ 1559994 h 1559994"/>
                    <a:gd name="connsiteX9" fmla="*/ 606245 w 1394131"/>
                    <a:gd name="connsiteY9" fmla="*/ 1492079 h 1559994"/>
                    <a:gd name="connsiteX10" fmla="*/ 0 w 1394131"/>
                    <a:gd name="connsiteY10" fmla="*/ 206564 h 1559994"/>
                    <a:gd name="connsiteX11" fmla="*/ 8601 w 1394131"/>
                    <a:gd name="connsiteY11" fmla="*/ 36232 h 1559994"/>
                    <a:gd name="connsiteX12" fmla="*/ 14131 w 1394131"/>
                    <a:gd name="connsiteY12" fmla="*/ 0 h 155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94131" h="1559994">
                      <a:moveTo>
                        <a:pt x="14131" y="0"/>
                      </a:moveTo>
                      <a:lnTo>
                        <a:pt x="48610" y="16609"/>
                      </a:lnTo>
                      <a:cubicBezTo>
                        <a:pt x="247920" y="100910"/>
                        <a:pt x="467049" y="147526"/>
                        <a:pt x="697066" y="147526"/>
                      </a:cubicBezTo>
                      <a:cubicBezTo>
                        <a:pt x="927083" y="147526"/>
                        <a:pt x="1146213" y="100910"/>
                        <a:pt x="1345522" y="16609"/>
                      </a:cubicBezTo>
                      <a:lnTo>
                        <a:pt x="1380001" y="0"/>
                      </a:lnTo>
                      <a:lnTo>
                        <a:pt x="1385530" y="36232"/>
                      </a:lnTo>
                      <a:cubicBezTo>
                        <a:pt x="1391218" y="92236"/>
                        <a:pt x="1394131" y="149060"/>
                        <a:pt x="1394131" y="206564"/>
                      </a:cubicBezTo>
                      <a:cubicBezTo>
                        <a:pt x="1394131" y="724103"/>
                        <a:pt x="1158135" y="1186522"/>
                        <a:pt x="787886" y="1492079"/>
                      </a:cubicBezTo>
                      <a:lnTo>
                        <a:pt x="697066" y="1559994"/>
                      </a:lnTo>
                      <a:lnTo>
                        <a:pt x="606245" y="1492079"/>
                      </a:lnTo>
                      <a:cubicBezTo>
                        <a:pt x="235996" y="1186522"/>
                        <a:pt x="0" y="724103"/>
                        <a:pt x="0" y="206564"/>
                      </a:cubicBezTo>
                      <a:cubicBezTo>
                        <a:pt x="0" y="149060"/>
                        <a:pt x="2914" y="92236"/>
                        <a:pt x="8601" y="36232"/>
                      </a:cubicBezTo>
                      <a:lnTo>
                        <a:pt x="14131" y="0"/>
                      </a:lnTo>
                      <a:close/>
                    </a:path>
                  </a:pathLst>
                </a:custGeom>
                <a:solidFill>
                  <a:schemeClr val="accent4"/>
                </a:solidFill>
                <a:ln w="254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63" name="Freeform: Shape 62">
                  <a:extLst>
                    <a:ext uri="{FF2B5EF4-FFF2-40B4-BE49-F238E27FC236}">
                      <a16:creationId xmlns:a16="http://schemas.microsoft.com/office/drawing/2014/main" id="{54EBFD73-CCC7-4567-800D-3B536CBA5BE0}"/>
                    </a:ext>
                  </a:extLst>
                </p:cNvPr>
                <p:cNvSpPr/>
                <p:nvPr/>
              </p:nvSpPr>
              <p:spPr>
                <a:xfrm>
                  <a:off x="4430068" y="38097"/>
                  <a:ext cx="3331866" cy="2037475"/>
                </a:xfrm>
                <a:custGeom>
                  <a:avLst/>
                  <a:gdLst>
                    <a:gd name="connsiteX0" fmla="*/ 1665933 w 3331866"/>
                    <a:gd name="connsiteY0" fmla="*/ 0 h 2037475"/>
                    <a:gd name="connsiteX1" fmla="*/ 3331866 w 3331866"/>
                    <a:gd name="connsiteY1" fmla="*/ 1665933 h 2037475"/>
                    <a:gd name="connsiteX2" fmla="*/ 3323265 w 3331866"/>
                    <a:gd name="connsiteY2" fmla="*/ 1836265 h 2037475"/>
                    <a:gd name="connsiteX3" fmla="*/ 3317735 w 3331866"/>
                    <a:gd name="connsiteY3" fmla="*/ 1872498 h 2037475"/>
                    <a:gd name="connsiteX4" fmla="*/ 3283256 w 3331866"/>
                    <a:gd name="connsiteY4" fmla="*/ 1855888 h 2037475"/>
                    <a:gd name="connsiteX5" fmla="*/ 2634800 w 3331866"/>
                    <a:gd name="connsiteY5" fmla="*/ 1724971 h 2037475"/>
                    <a:gd name="connsiteX6" fmla="*/ 1703361 w 3331866"/>
                    <a:gd name="connsiteY6" fmla="*/ 2009486 h 2037475"/>
                    <a:gd name="connsiteX7" fmla="*/ 1665933 w 3331866"/>
                    <a:gd name="connsiteY7" fmla="*/ 2037475 h 2037475"/>
                    <a:gd name="connsiteX8" fmla="*/ 1628504 w 3331866"/>
                    <a:gd name="connsiteY8" fmla="*/ 2009486 h 2037475"/>
                    <a:gd name="connsiteX9" fmla="*/ 697065 w 3331866"/>
                    <a:gd name="connsiteY9" fmla="*/ 1724971 h 2037475"/>
                    <a:gd name="connsiteX10" fmla="*/ 48609 w 3331866"/>
                    <a:gd name="connsiteY10" fmla="*/ 1855888 h 2037475"/>
                    <a:gd name="connsiteX11" fmla="*/ 14131 w 3331866"/>
                    <a:gd name="connsiteY11" fmla="*/ 1872497 h 2037475"/>
                    <a:gd name="connsiteX12" fmla="*/ 8601 w 3331866"/>
                    <a:gd name="connsiteY12" fmla="*/ 1836265 h 2037475"/>
                    <a:gd name="connsiteX13" fmla="*/ 0 w 3331866"/>
                    <a:gd name="connsiteY13" fmla="*/ 1665933 h 2037475"/>
                    <a:gd name="connsiteX14" fmla="*/ 1665933 w 3331866"/>
                    <a:gd name="connsiteY14" fmla="*/ 0 h 203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31866" h="2037475">
                      <a:moveTo>
                        <a:pt x="1665933" y="0"/>
                      </a:moveTo>
                      <a:cubicBezTo>
                        <a:pt x="2586002" y="0"/>
                        <a:pt x="3331866" y="745864"/>
                        <a:pt x="3331866" y="1665933"/>
                      </a:cubicBezTo>
                      <a:cubicBezTo>
                        <a:pt x="3331866" y="1723437"/>
                        <a:pt x="3328953" y="1780261"/>
                        <a:pt x="3323265" y="1836265"/>
                      </a:cubicBezTo>
                      <a:lnTo>
                        <a:pt x="3317735" y="1872498"/>
                      </a:lnTo>
                      <a:lnTo>
                        <a:pt x="3283256" y="1855888"/>
                      </a:lnTo>
                      <a:cubicBezTo>
                        <a:pt x="3083947" y="1771588"/>
                        <a:pt x="2864817" y="1724971"/>
                        <a:pt x="2634800" y="1724971"/>
                      </a:cubicBezTo>
                      <a:cubicBezTo>
                        <a:pt x="2289774" y="1724971"/>
                        <a:pt x="1969246" y="1829858"/>
                        <a:pt x="1703361" y="2009486"/>
                      </a:cubicBezTo>
                      <a:lnTo>
                        <a:pt x="1665933" y="2037475"/>
                      </a:lnTo>
                      <a:lnTo>
                        <a:pt x="1628504" y="2009486"/>
                      </a:lnTo>
                      <a:cubicBezTo>
                        <a:pt x="1362619" y="1829858"/>
                        <a:pt x="1042091" y="1724971"/>
                        <a:pt x="697065" y="1724971"/>
                      </a:cubicBezTo>
                      <a:cubicBezTo>
                        <a:pt x="467048" y="1724971"/>
                        <a:pt x="247919" y="1771588"/>
                        <a:pt x="48609" y="1855888"/>
                      </a:cubicBezTo>
                      <a:lnTo>
                        <a:pt x="14131" y="1872497"/>
                      </a:lnTo>
                      <a:lnTo>
                        <a:pt x="8601" y="1836265"/>
                      </a:lnTo>
                      <a:cubicBezTo>
                        <a:pt x="2914" y="1780261"/>
                        <a:pt x="0" y="1723437"/>
                        <a:pt x="0" y="1665933"/>
                      </a:cubicBezTo>
                      <a:cubicBezTo>
                        <a:pt x="0" y="745864"/>
                        <a:pt x="745864" y="0"/>
                        <a:pt x="1665933" y="0"/>
                      </a:cubicBezTo>
                      <a:close/>
                    </a:path>
                  </a:pathLst>
                </a:custGeom>
                <a:solidFill>
                  <a:schemeClr val="bg1"/>
                </a:solidFill>
                <a:ln w="254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62" name="Freeform: Shape 61">
                  <a:extLst>
                    <a:ext uri="{FF2B5EF4-FFF2-40B4-BE49-F238E27FC236}">
                      <a16:creationId xmlns:a16="http://schemas.microsoft.com/office/drawing/2014/main" id="{EFE2520F-DE3D-4EDD-BA9B-74B967CF691A}"/>
                    </a:ext>
                  </a:extLst>
                </p:cNvPr>
                <p:cNvSpPr/>
                <p:nvPr/>
              </p:nvSpPr>
              <p:spPr>
                <a:xfrm>
                  <a:off x="3461201" y="1910594"/>
                  <a:ext cx="2634801" cy="3184340"/>
                </a:xfrm>
                <a:custGeom>
                  <a:avLst/>
                  <a:gdLst>
                    <a:gd name="connsiteX0" fmla="*/ 982999 w 2634801"/>
                    <a:gd name="connsiteY0" fmla="*/ 0 h 3184340"/>
                    <a:gd name="connsiteX1" fmla="*/ 1002714 w 2634801"/>
                    <a:gd name="connsiteY1" fmla="*/ 129179 h 3184340"/>
                    <a:gd name="connsiteX2" fmla="*/ 1840719 w 2634801"/>
                    <a:gd name="connsiteY2" fmla="*/ 1258300 h 3184340"/>
                    <a:gd name="connsiteX3" fmla="*/ 1951866 w 2634801"/>
                    <a:gd name="connsiteY3" fmla="*/ 1311843 h 3184340"/>
                    <a:gd name="connsiteX4" fmla="*/ 1946336 w 2634801"/>
                    <a:gd name="connsiteY4" fmla="*/ 1348075 h 3184340"/>
                    <a:gd name="connsiteX5" fmla="*/ 1937735 w 2634801"/>
                    <a:gd name="connsiteY5" fmla="*/ 1518407 h 3184340"/>
                    <a:gd name="connsiteX6" fmla="*/ 2543980 w 2634801"/>
                    <a:gd name="connsiteY6" fmla="*/ 2803922 h 3184340"/>
                    <a:gd name="connsiteX7" fmla="*/ 2634801 w 2634801"/>
                    <a:gd name="connsiteY7" fmla="*/ 2871837 h 3184340"/>
                    <a:gd name="connsiteX8" fmla="*/ 2597372 w 2634801"/>
                    <a:gd name="connsiteY8" fmla="*/ 2899825 h 3184340"/>
                    <a:gd name="connsiteX9" fmla="*/ 1665933 w 2634801"/>
                    <a:gd name="connsiteY9" fmla="*/ 3184340 h 3184340"/>
                    <a:gd name="connsiteX10" fmla="*/ 0 w 2634801"/>
                    <a:gd name="connsiteY10" fmla="*/ 1518407 h 3184340"/>
                    <a:gd name="connsiteX11" fmla="*/ 871851 w 2634801"/>
                    <a:gd name="connsiteY11" fmla="*/ 53543 h 3184340"/>
                    <a:gd name="connsiteX12" fmla="*/ 982999 w 2634801"/>
                    <a:gd name="connsiteY12" fmla="*/ 0 h 318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4801" h="3184340">
                      <a:moveTo>
                        <a:pt x="982999" y="0"/>
                      </a:moveTo>
                      <a:lnTo>
                        <a:pt x="1002714" y="129179"/>
                      </a:lnTo>
                      <a:cubicBezTo>
                        <a:pt x="1102577" y="617197"/>
                        <a:pt x="1415826" y="1027484"/>
                        <a:pt x="1840719" y="1258300"/>
                      </a:cubicBezTo>
                      <a:lnTo>
                        <a:pt x="1951866" y="1311843"/>
                      </a:lnTo>
                      <a:lnTo>
                        <a:pt x="1946336" y="1348075"/>
                      </a:lnTo>
                      <a:cubicBezTo>
                        <a:pt x="1940649" y="1404079"/>
                        <a:pt x="1937735" y="1460903"/>
                        <a:pt x="1937735" y="1518407"/>
                      </a:cubicBezTo>
                      <a:cubicBezTo>
                        <a:pt x="1937735" y="2035946"/>
                        <a:pt x="2173731" y="2498365"/>
                        <a:pt x="2543980" y="2803922"/>
                      </a:cubicBezTo>
                      <a:lnTo>
                        <a:pt x="2634801" y="2871837"/>
                      </a:lnTo>
                      <a:lnTo>
                        <a:pt x="2597372" y="2899825"/>
                      </a:lnTo>
                      <a:cubicBezTo>
                        <a:pt x="2331487" y="3079453"/>
                        <a:pt x="2010959" y="3184340"/>
                        <a:pt x="1665933" y="3184340"/>
                      </a:cubicBezTo>
                      <a:cubicBezTo>
                        <a:pt x="745864" y="3184340"/>
                        <a:pt x="0" y="2438476"/>
                        <a:pt x="0" y="1518407"/>
                      </a:cubicBezTo>
                      <a:cubicBezTo>
                        <a:pt x="0" y="885860"/>
                        <a:pt x="352537" y="335651"/>
                        <a:pt x="871851" y="53543"/>
                      </a:cubicBezTo>
                      <a:lnTo>
                        <a:pt x="982999" y="0"/>
                      </a:lnTo>
                      <a:close/>
                    </a:path>
                  </a:pathLst>
                </a:custGeom>
                <a:solidFill>
                  <a:schemeClr val="bg1"/>
                </a:solidFill>
                <a:ln w="254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61" name="Freeform: Shape 60">
                  <a:extLst>
                    <a:ext uri="{FF2B5EF4-FFF2-40B4-BE49-F238E27FC236}">
                      <a16:creationId xmlns:a16="http://schemas.microsoft.com/office/drawing/2014/main" id="{0529043C-ACEF-4C83-A4EB-912D256A7871}"/>
                    </a:ext>
                  </a:extLst>
                </p:cNvPr>
                <p:cNvSpPr/>
                <p:nvPr/>
              </p:nvSpPr>
              <p:spPr>
                <a:xfrm>
                  <a:off x="6096001" y="1910595"/>
                  <a:ext cx="2634800" cy="3184339"/>
                </a:xfrm>
                <a:custGeom>
                  <a:avLst/>
                  <a:gdLst>
                    <a:gd name="connsiteX0" fmla="*/ 1651802 w 2634800"/>
                    <a:gd name="connsiteY0" fmla="*/ 0 h 3184339"/>
                    <a:gd name="connsiteX1" fmla="*/ 1762949 w 2634800"/>
                    <a:gd name="connsiteY1" fmla="*/ 53542 h 3184339"/>
                    <a:gd name="connsiteX2" fmla="*/ 2634800 w 2634800"/>
                    <a:gd name="connsiteY2" fmla="*/ 1518406 h 3184339"/>
                    <a:gd name="connsiteX3" fmla="*/ 968867 w 2634800"/>
                    <a:gd name="connsiteY3" fmla="*/ 3184339 h 3184339"/>
                    <a:gd name="connsiteX4" fmla="*/ 37428 w 2634800"/>
                    <a:gd name="connsiteY4" fmla="*/ 2899824 h 3184339"/>
                    <a:gd name="connsiteX5" fmla="*/ 0 w 2634800"/>
                    <a:gd name="connsiteY5" fmla="*/ 2871836 h 3184339"/>
                    <a:gd name="connsiteX6" fmla="*/ 90820 w 2634800"/>
                    <a:gd name="connsiteY6" fmla="*/ 2803921 h 3184339"/>
                    <a:gd name="connsiteX7" fmla="*/ 697065 w 2634800"/>
                    <a:gd name="connsiteY7" fmla="*/ 1518406 h 3184339"/>
                    <a:gd name="connsiteX8" fmla="*/ 688464 w 2634800"/>
                    <a:gd name="connsiteY8" fmla="*/ 1348074 h 3184339"/>
                    <a:gd name="connsiteX9" fmla="*/ 682935 w 2634800"/>
                    <a:gd name="connsiteY9" fmla="*/ 1311842 h 3184339"/>
                    <a:gd name="connsiteX10" fmla="*/ 794082 w 2634800"/>
                    <a:gd name="connsiteY10" fmla="*/ 1258299 h 3184339"/>
                    <a:gd name="connsiteX11" fmla="*/ 1632087 w 2634800"/>
                    <a:gd name="connsiteY11" fmla="*/ 129178 h 3184339"/>
                    <a:gd name="connsiteX12" fmla="*/ 1651802 w 2634800"/>
                    <a:gd name="connsiteY12" fmla="*/ 0 h 3184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4800" h="3184339">
                      <a:moveTo>
                        <a:pt x="1651802" y="0"/>
                      </a:moveTo>
                      <a:lnTo>
                        <a:pt x="1762949" y="53542"/>
                      </a:lnTo>
                      <a:cubicBezTo>
                        <a:pt x="2282263" y="335650"/>
                        <a:pt x="2634800" y="885859"/>
                        <a:pt x="2634800" y="1518406"/>
                      </a:cubicBezTo>
                      <a:cubicBezTo>
                        <a:pt x="2634800" y="2438475"/>
                        <a:pt x="1888936" y="3184339"/>
                        <a:pt x="968867" y="3184339"/>
                      </a:cubicBezTo>
                      <a:cubicBezTo>
                        <a:pt x="623841" y="3184339"/>
                        <a:pt x="303313" y="3079452"/>
                        <a:pt x="37428" y="2899824"/>
                      </a:cubicBezTo>
                      <a:lnTo>
                        <a:pt x="0" y="2871836"/>
                      </a:lnTo>
                      <a:lnTo>
                        <a:pt x="90820" y="2803921"/>
                      </a:lnTo>
                      <a:cubicBezTo>
                        <a:pt x="461069" y="2498364"/>
                        <a:pt x="697065" y="2035945"/>
                        <a:pt x="697065" y="1518406"/>
                      </a:cubicBezTo>
                      <a:cubicBezTo>
                        <a:pt x="697065" y="1460902"/>
                        <a:pt x="694152" y="1404078"/>
                        <a:pt x="688464" y="1348074"/>
                      </a:cubicBezTo>
                      <a:lnTo>
                        <a:pt x="682935" y="1311842"/>
                      </a:lnTo>
                      <a:lnTo>
                        <a:pt x="794082" y="1258299"/>
                      </a:lnTo>
                      <a:cubicBezTo>
                        <a:pt x="1218975" y="1027483"/>
                        <a:pt x="1532225" y="617196"/>
                        <a:pt x="1632087" y="129178"/>
                      </a:cubicBezTo>
                      <a:lnTo>
                        <a:pt x="1651802" y="0"/>
                      </a:lnTo>
                      <a:close/>
                    </a:path>
                  </a:pathLst>
                </a:custGeom>
                <a:solidFill>
                  <a:schemeClr val="bg1"/>
                </a:solidFill>
                <a:ln w="254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60" name="Freeform: Shape 59">
                  <a:extLst>
                    <a:ext uri="{FF2B5EF4-FFF2-40B4-BE49-F238E27FC236}">
                      <a16:creationId xmlns:a16="http://schemas.microsoft.com/office/drawing/2014/main" id="{E1AC938D-69DE-4DCC-BF23-8AA9638F0CA8}"/>
                    </a:ext>
                  </a:extLst>
                </p:cNvPr>
                <p:cNvSpPr/>
                <p:nvPr/>
              </p:nvSpPr>
              <p:spPr>
                <a:xfrm>
                  <a:off x="5413066" y="2075572"/>
                  <a:ext cx="1365870" cy="1294391"/>
                </a:xfrm>
                <a:custGeom>
                  <a:avLst/>
                  <a:gdLst>
                    <a:gd name="connsiteX0" fmla="*/ 682935 w 1365870"/>
                    <a:gd name="connsiteY0" fmla="*/ 0 h 1294391"/>
                    <a:gd name="connsiteX1" fmla="*/ 773755 w 1365870"/>
                    <a:gd name="connsiteY1" fmla="*/ 67914 h 1294391"/>
                    <a:gd name="connsiteX2" fmla="*/ 1346154 w 1365870"/>
                    <a:gd name="connsiteY2" fmla="*/ 1017686 h 1294391"/>
                    <a:gd name="connsiteX3" fmla="*/ 1365870 w 1365870"/>
                    <a:gd name="connsiteY3" fmla="*/ 1146865 h 1294391"/>
                    <a:gd name="connsiteX4" fmla="*/ 1331391 w 1365870"/>
                    <a:gd name="connsiteY4" fmla="*/ 1163474 h 1294391"/>
                    <a:gd name="connsiteX5" fmla="*/ 682935 w 1365870"/>
                    <a:gd name="connsiteY5" fmla="*/ 1294391 h 1294391"/>
                    <a:gd name="connsiteX6" fmla="*/ 34479 w 1365870"/>
                    <a:gd name="connsiteY6" fmla="*/ 1163474 h 1294391"/>
                    <a:gd name="connsiteX7" fmla="*/ 0 w 1365870"/>
                    <a:gd name="connsiteY7" fmla="*/ 1146865 h 1294391"/>
                    <a:gd name="connsiteX8" fmla="*/ 19715 w 1365870"/>
                    <a:gd name="connsiteY8" fmla="*/ 1017686 h 1294391"/>
                    <a:gd name="connsiteX9" fmla="*/ 592114 w 1365870"/>
                    <a:gd name="connsiteY9" fmla="*/ 67914 h 1294391"/>
                    <a:gd name="connsiteX10" fmla="*/ 682935 w 1365870"/>
                    <a:gd name="connsiteY10" fmla="*/ 0 h 129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65870" h="1294391">
                      <a:moveTo>
                        <a:pt x="682935" y="0"/>
                      </a:moveTo>
                      <a:lnTo>
                        <a:pt x="773755" y="67914"/>
                      </a:lnTo>
                      <a:cubicBezTo>
                        <a:pt x="1061727" y="305570"/>
                        <a:pt x="1268483" y="638117"/>
                        <a:pt x="1346154" y="1017686"/>
                      </a:cubicBezTo>
                      <a:lnTo>
                        <a:pt x="1365870" y="1146865"/>
                      </a:lnTo>
                      <a:lnTo>
                        <a:pt x="1331391" y="1163474"/>
                      </a:lnTo>
                      <a:cubicBezTo>
                        <a:pt x="1132082" y="1247775"/>
                        <a:pt x="912952" y="1294391"/>
                        <a:pt x="682935" y="1294391"/>
                      </a:cubicBezTo>
                      <a:cubicBezTo>
                        <a:pt x="452918" y="1294391"/>
                        <a:pt x="233789" y="1247775"/>
                        <a:pt x="34479" y="1163474"/>
                      </a:cubicBezTo>
                      <a:lnTo>
                        <a:pt x="0" y="1146865"/>
                      </a:lnTo>
                      <a:lnTo>
                        <a:pt x="19715" y="1017686"/>
                      </a:lnTo>
                      <a:cubicBezTo>
                        <a:pt x="97386" y="638117"/>
                        <a:pt x="304143" y="305570"/>
                        <a:pt x="592114" y="67914"/>
                      </a:cubicBezTo>
                      <a:lnTo>
                        <a:pt x="682935" y="0"/>
                      </a:lnTo>
                      <a:close/>
                    </a:path>
                  </a:pathLst>
                </a:custGeom>
                <a:solidFill>
                  <a:schemeClr val="bg1"/>
                </a:solidFill>
                <a:ln w="254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grpSp>
          <p:sp>
            <p:nvSpPr>
              <p:cNvPr id="68" name="Stage 01">
                <a:extLst>
                  <a:ext uri="{FF2B5EF4-FFF2-40B4-BE49-F238E27FC236}">
                    <a16:creationId xmlns:a16="http://schemas.microsoft.com/office/drawing/2014/main" id="{BDA9F943-D0A0-4559-92D3-1A49267B07D1}"/>
                  </a:ext>
                </a:extLst>
              </p:cNvPr>
              <p:cNvSpPr txBox="1"/>
              <p:nvPr/>
            </p:nvSpPr>
            <p:spPr>
              <a:xfrm>
                <a:off x="4370441" y="752475"/>
                <a:ext cx="1043768" cy="26553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p>
                <a:pPr algn="ctr">
                  <a:defRPr sz="2500" b="0">
                    <a:solidFill>
                      <a:srgbClr val="F7F6F6"/>
                    </a:solidFill>
                    <a:latin typeface="Barlow Medium"/>
                    <a:ea typeface="Barlow Medium"/>
                    <a:cs typeface="Barlow Medium"/>
                    <a:sym typeface="Barlow Medium"/>
                  </a:defRPr>
                </a:pPr>
                <a:r>
                  <a:rPr sz="1250" dirty="0">
                    <a:solidFill>
                      <a:schemeClr val="tx2"/>
                    </a:solidFill>
                    <a:latin typeface="Montserrat" panose="00000500000000000000" pitchFamily="50" charset="0"/>
                  </a:rPr>
                  <a:t>Stage </a:t>
                </a:r>
                <a:r>
                  <a:rPr sz="1250" dirty="0">
                    <a:solidFill>
                      <a:schemeClr val="tx2"/>
                    </a:solidFill>
                    <a:latin typeface="Montserrat" panose="00000500000000000000" pitchFamily="50" charset="0"/>
                    <a:ea typeface="Barlow Bold"/>
                    <a:cs typeface="Barlow Bold"/>
                    <a:sym typeface="Barlow Bold"/>
                  </a:rPr>
                  <a:t>01</a:t>
                </a:r>
              </a:p>
            </p:txBody>
          </p:sp>
          <p:sp>
            <p:nvSpPr>
              <p:cNvPr id="69" name="Stage 03">
                <a:extLst>
                  <a:ext uri="{FF2B5EF4-FFF2-40B4-BE49-F238E27FC236}">
                    <a16:creationId xmlns:a16="http://schemas.microsoft.com/office/drawing/2014/main" id="{C0E4BD60-9E66-40E2-A07F-07DB6DDE796C}"/>
                  </a:ext>
                </a:extLst>
              </p:cNvPr>
              <p:cNvSpPr txBox="1"/>
              <p:nvPr/>
            </p:nvSpPr>
            <p:spPr>
              <a:xfrm>
                <a:off x="4370439" y="5813372"/>
                <a:ext cx="1043768" cy="26553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p>
                <a:pPr algn="ctr">
                  <a:defRPr sz="2500" b="0">
                    <a:solidFill>
                      <a:srgbClr val="F7F6F6"/>
                    </a:solidFill>
                    <a:latin typeface="Barlow Medium"/>
                    <a:ea typeface="Barlow Medium"/>
                    <a:cs typeface="Barlow Medium"/>
                    <a:sym typeface="Barlow Medium"/>
                  </a:defRPr>
                </a:pPr>
                <a:r>
                  <a:rPr sz="1250">
                    <a:solidFill>
                      <a:schemeClr val="tx2"/>
                    </a:solidFill>
                    <a:latin typeface="Montserrat" panose="00000500000000000000" pitchFamily="50" charset="0"/>
                  </a:rPr>
                  <a:t>Stage </a:t>
                </a:r>
                <a:r>
                  <a:rPr sz="1250">
                    <a:solidFill>
                      <a:schemeClr val="tx2"/>
                    </a:solidFill>
                    <a:latin typeface="Montserrat" panose="00000500000000000000" pitchFamily="50" charset="0"/>
                    <a:ea typeface="Barlow Bold"/>
                    <a:cs typeface="Barlow Bold"/>
                    <a:sym typeface="Barlow Bold"/>
                  </a:rPr>
                  <a:t>03</a:t>
                </a:r>
              </a:p>
            </p:txBody>
          </p:sp>
          <p:sp>
            <p:nvSpPr>
              <p:cNvPr id="70" name="Stage 02">
                <a:extLst>
                  <a:ext uri="{FF2B5EF4-FFF2-40B4-BE49-F238E27FC236}">
                    <a16:creationId xmlns:a16="http://schemas.microsoft.com/office/drawing/2014/main" id="{3EF9FE22-E01F-4BC7-8929-8FF8DF7E6F0D}"/>
                  </a:ext>
                </a:extLst>
              </p:cNvPr>
              <p:cNvSpPr txBox="1"/>
              <p:nvPr/>
            </p:nvSpPr>
            <p:spPr>
              <a:xfrm rot="5400000">
                <a:off x="6893102" y="3317983"/>
                <a:ext cx="1043769" cy="26553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p>
                <a:pPr algn="ctr">
                  <a:defRPr sz="2500" b="0">
                    <a:solidFill>
                      <a:srgbClr val="F7F6F6"/>
                    </a:solidFill>
                    <a:latin typeface="Barlow Medium"/>
                    <a:ea typeface="Barlow Medium"/>
                    <a:cs typeface="Barlow Medium"/>
                    <a:sym typeface="Barlow Medium"/>
                  </a:defRPr>
                </a:pPr>
                <a:r>
                  <a:rPr sz="1250">
                    <a:solidFill>
                      <a:schemeClr val="tx2"/>
                    </a:solidFill>
                    <a:latin typeface="Montserrat" panose="00000500000000000000" pitchFamily="50" charset="0"/>
                  </a:rPr>
                  <a:t>Stage </a:t>
                </a:r>
                <a:r>
                  <a:rPr sz="1250">
                    <a:solidFill>
                      <a:schemeClr val="tx2"/>
                    </a:solidFill>
                    <a:latin typeface="Montserrat" panose="00000500000000000000" pitchFamily="50" charset="0"/>
                    <a:ea typeface="Barlow Bold"/>
                    <a:cs typeface="Barlow Bold"/>
                    <a:sym typeface="Barlow Bold"/>
                  </a:rPr>
                  <a:t>02</a:t>
                </a:r>
              </a:p>
            </p:txBody>
          </p:sp>
          <p:sp>
            <p:nvSpPr>
              <p:cNvPr id="71" name="Stage 04">
                <a:extLst>
                  <a:ext uri="{FF2B5EF4-FFF2-40B4-BE49-F238E27FC236}">
                    <a16:creationId xmlns:a16="http://schemas.microsoft.com/office/drawing/2014/main" id="{99E3F97D-07A1-4D70-9EBF-335ABDA1AB3B}"/>
                  </a:ext>
                </a:extLst>
              </p:cNvPr>
              <p:cNvSpPr txBox="1"/>
              <p:nvPr/>
            </p:nvSpPr>
            <p:spPr>
              <a:xfrm rot="16200000">
                <a:off x="1847469" y="3317982"/>
                <a:ext cx="1043769" cy="26553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p>
                <a:pPr algn="ctr">
                  <a:defRPr sz="2500" b="0">
                    <a:solidFill>
                      <a:srgbClr val="F7F6F6"/>
                    </a:solidFill>
                    <a:latin typeface="Barlow Medium"/>
                    <a:ea typeface="Barlow Medium"/>
                    <a:cs typeface="Barlow Medium"/>
                    <a:sym typeface="Barlow Medium"/>
                  </a:defRPr>
                </a:pPr>
                <a:r>
                  <a:rPr sz="1250">
                    <a:solidFill>
                      <a:schemeClr val="tx2"/>
                    </a:solidFill>
                    <a:latin typeface="Montserrat" panose="00000500000000000000" pitchFamily="50" charset="0"/>
                  </a:rPr>
                  <a:t>Stage </a:t>
                </a:r>
                <a:r>
                  <a:rPr sz="1250">
                    <a:solidFill>
                      <a:schemeClr val="tx2"/>
                    </a:solidFill>
                    <a:latin typeface="Montserrat" panose="00000500000000000000" pitchFamily="50" charset="0"/>
                    <a:ea typeface="Barlow Bold"/>
                    <a:cs typeface="Barlow Bold"/>
                    <a:sym typeface="Barlow Bold"/>
                  </a:rPr>
                  <a:t>04</a:t>
                </a:r>
              </a:p>
            </p:txBody>
          </p:sp>
          <p:sp>
            <p:nvSpPr>
              <p:cNvPr id="80" name="Stage 01">
                <a:extLst>
                  <a:ext uri="{FF2B5EF4-FFF2-40B4-BE49-F238E27FC236}">
                    <a16:creationId xmlns:a16="http://schemas.microsoft.com/office/drawing/2014/main" id="{41F73F19-C3C9-40A4-9A30-BF5E9A27B30A}"/>
                  </a:ext>
                </a:extLst>
              </p:cNvPr>
              <p:cNvSpPr txBox="1"/>
              <p:nvPr/>
            </p:nvSpPr>
            <p:spPr>
              <a:xfrm>
                <a:off x="4283010" y="2029054"/>
                <a:ext cx="1218630" cy="45140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p>
                <a:pPr algn="ctr">
                  <a:defRPr sz="2500" b="0">
                    <a:solidFill>
                      <a:srgbClr val="F7F6F6"/>
                    </a:solidFill>
                    <a:latin typeface="Barlow Medium"/>
                    <a:ea typeface="Barlow Medium"/>
                    <a:cs typeface="Barlow Medium"/>
                    <a:sym typeface="Barlow Medium"/>
                  </a:defRPr>
                </a:pPr>
                <a:r>
                  <a:rPr lang="en-US" sz="1300" dirty="0">
                    <a:solidFill>
                      <a:schemeClr val="tx2"/>
                    </a:solidFill>
                    <a:latin typeface="Montserrat" panose="00000500000000000000" pitchFamily="50" charset="0"/>
                  </a:rPr>
                  <a:t>Placeholder Text</a:t>
                </a:r>
              </a:p>
            </p:txBody>
          </p:sp>
          <p:sp>
            <p:nvSpPr>
              <p:cNvPr id="90" name="Stage 01">
                <a:extLst>
                  <a:ext uri="{FF2B5EF4-FFF2-40B4-BE49-F238E27FC236}">
                    <a16:creationId xmlns:a16="http://schemas.microsoft.com/office/drawing/2014/main" id="{4B829EF7-CE3B-4EE7-B00A-FE1C56679219}"/>
                  </a:ext>
                </a:extLst>
              </p:cNvPr>
              <p:cNvSpPr txBox="1"/>
              <p:nvPr/>
            </p:nvSpPr>
            <p:spPr>
              <a:xfrm>
                <a:off x="3167549" y="3940434"/>
                <a:ext cx="1218630" cy="45140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p>
                <a:pPr algn="ctr">
                  <a:defRPr sz="2500" b="0">
                    <a:solidFill>
                      <a:srgbClr val="F7F6F6"/>
                    </a:solidFill>
                    <a:latin typeface="Barlow Medium"/>
                    <a:ea typeface="Barlow Medium"/>
                    <a:cs typeface="Barlow Medium"/>
                    <a:sym typeface="Barlow Medium"/>
                  </a:defRPr>
                </a:pPr>
                <a:r>
                  <a:rPr lang="en-US" sz="1300" dirty="0">
                    <a:solidFill>
                      <a:schemeClr val="tx2"/>
                    </a:solidFill>
                    <a:latin typeface="Montserrat" panose="00000500000000000000" pitchFamily="50" charset="0"/>
                  </a:rPr>
                  <a:t>Placeholder Text</a:t>
                </a:r>
              </a:p>
            </p:txBody>
          </p:sp>
          <p:sp>
            <p:nvSpPr>
              <p:cNvPr id="91" name="Stage 01">
                <a:extLst>
                  <a:ext uri="{FF2B5EF4-FFF2-40B4-BE49-F238E27FC236}">
                    <a16:creationId xmlns:a16="http://schemas.microsoft.com/office/drawing/2014/main" id="{A1E835A0-A4E4-4D0D-963C-41D43A0B852F}"/>
                  </a:ext>
                </a:extLst>
              </p:cNvPr>
              <p:cNvSpPr txBox="1"/>
              <p:nvPr/>
            </p:nvSpPr>
            <p:spPr>
              <a:xfrm>
                <a:off x="5398161" y="3940434"/>
                <a:ext cx="1218630" cy="451406"/>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p>
                <a:pPr algn="ctr">
                  <a:defRPr sz="2500" b="0">
                    <a:solidFill>
                      <a:srgbClr val="F7F6F6"/>
                    </a:solidFill>
                    <a:latin typeface="Barlow Medium"/>
                    <a:ea typeface="Barlow Medium"/>
                    <a:cs typeface="Barlow Medium"/>
                    <a:sym typeface="Barlow Medium"/>
                  </a:defRPr>
                </a:pPr>
                <a:r>
                  <a:rPr lang="en-US" sz="1300" dirty="0">
                    <a:solidFill>
                      <a:schemeClr val="tx2"/>
                    </a:solidFill>
                    <a:latin typeface="Montserrat" panose="00000500000000000000" pitchFamily="50" charset="0"/>
                  </a:rPr>
                  <a:t>Placeholder Text</a:t>
                </a:r>
              </a:p>
            </p:txBody>
          </p:sp>
          <p:sp>
            <p:nvSpPr>
              <p:cNvPr id="94" name="TextBox 93">
                <a:extLst>
                  <a:ext uri="{FF2B5EF4-FFF2-40B4-BE49-F238E27FC236}">
                    <a16:creationId xmlns:a16="http://schemas.microsoft.com/office/drawing/2014/main" id="{AE3C428A-D14F-46FB-8588-771F3190D7EF}"/>
                  </a:ext>
                </a:extLst>
              </p:cNvPr>
              <p:cNvSpPr txBox="1">
                <a:spLocks noChangeAspect="1"/>
              </p:cNvSpPr>
              <p:nvPr/>
            </p:nvSpPr>
            <p:spPr>
              <a:xfrm>
                <a:off x="4712751" y="4089416"/>
                <a:ext cx="358838" cy="358834"/>
              </a:xfrm>
              <a:prstGeom prst="ellipse">
                <a:avLst/>
              </a:prstGeom>
              <a:solidFill>
                <a:schemeClr val="bg1"/>
              </a:solidFill>
              <a:ln w="9525">
                <a:noFill/>
                <a:prstDash val="dash"/>
              </a:ln>
              <a:effectLst/>
            </p:spPr>
            <p:txBody>
              <a:bodyPr wrap="none" lIns="0" tIns="0" rIns="0" bIns="0" rtlCol="0" anchor="ctr" anchorCtr="1">
                <a:noAutofit/>
              </a:bodyPr>
              <a:lstStyle/>
              <a:p>
                <a:pPr algn="ctr">
                  <a:lnSpc>
                    <a:spcPct val="110000"/>
                  </a:lnSpc>
                </a:pPr>
                <a:r>
                  <a:rPr lang="en-US" sz="1100" dirty="0">
                    <a:solidFill>
                      <a:schemeClr val="tx2"/>
                    </a:solidFill>
                    <a:latin typeface="Montserrat" panose="00000500000000000000" pitchFamily="50" charset="0"/>
                  </a:rPr>
                  <a:t>03</a:t>
                </a:r>
                <a:endParaRPr lang="ru-RU" sz="1100" dirty="0">
                  <a:solidFill>
                    <a:schemeClr val="tx2"/>
                  </a:solidFill>
                  <a:latin typeface="Montserrat" panose="00000500000000000000" pitchFamily="50" charset="0"/>
                </a:endParaRPr>
              </a:p>
            </p:txBody>
          </p:sp>
          <p:grpSp>
            <p:nvGrpSpPr>
              <p:cNvPr id="9" name="Group 8">
                <a:extLst>
                  <a:ext uri="{FF2B5EF4-FFF2-40B4-BE49-F238E27FC236}">
                    <a16:creationId xmlns:a16="http://schemas.microsoft.com/office/drawing/2014/main" id="{5C4FA89B-A7D1-42AC-9117-29D9C0AFED49}"/>
                  </a:ext>
                </a:extLst>
              </p:cNvPr>
              <p:cNvGrpSpPr/>
              <p:nvPr/>
            </p:nvGrpSpPr>
            <p:grpSpPr>
              <a:xfrm>
                <a:off x="4058782" y="2942620"/>
                <a:ext cx="1666777" cy="358834"/>
                <a:chOff x="4061793" y="2966430"/>
                <a:chExt cx="1666777" cy="358834"/>
              </a:xfrm>
              <a:solidFill>
                <a:schemeClr val="bg1"/>
              </a:solidFill>
            </p:grpSpPr>
            <p:sp>
              <p:nvSpPr>
                <p:cNvPr id="93" name="TextBox 92">
                  <a:extLst>
                    <a:ext uri="{FF2B5EF4-FFF2-40B4-BE49-F238E27FC236}">
                      <a16:creationId xmlns:a16="http://schemas.microsoft.com/office/drawing/2014/main" id="{05045516-3FDC-439B-B741-4BA9C4C3C086}"/>
                    </a:ext>
                  </a:extLst>
                </p:cNvPr>
                <p:cNvSpPr txBox="1">
                  <a:spLocks noChangeAspect="1"/>
                </p:cNvSpPr>
                <p:nvPr/>
              </p:nvSpPr>
              <p:spPr>
                <a:xfrm>
                  <a:off x="4061793" y="2966430"/>
                  <a:ext cx="358838" cy="358834"/>
                </a:xfrm>
                <a:prstGeom prst="ellipse">
                  <a:avLst/>
                </a:prstGeom>
                <a:grpFill/>
                <a:ln w="9525">
                  <a:noFill/>
                  <a:prstDash val="dash"/>
                </a:ln>
                <a:effectLst/>
              </p:spPr>
              <p:txBody>
                <a:bodyPr wrap="none" lIns="0" tIns="0" rIns="0" bIns="0" rtlCol="0" anchor="ctr" anchorCtr="1">
                  <a:noAutofit/>
                </a:bodyPr>
                <a:lstStyle>
                  <a:defPPr>
                    <a:defRPr lang="en-US"/>
                  </a:defPPr>
                  <a:lvl1pPr algn="ctr">
                    <a:lnSpc>
                      <a:spcPct val="110000"/>
                    </a:lnSpc>
                    <a:defRPr sz="1400">
                      <a:solidFill>
                        <a:schemeClr val="tx1">
                          <a:lumMod val="10000"/>
                          <a:lumOff val="90000"/>
                        </a:schemeClr>
                      </a:solidFill>
                      <a:effectLst>
                        <a:outerShdw blurRad="38100" dist="38100" dir="2700000" algn="tl">
                          <a:srgbClr val="000000">
                            <a:alpha val="43137"/>
                          </a:srgbClr>
                        </a:outerShdw>
                      </a:effectLst>
                      <a:latin typeface="Montserrat" panose="00000500000000000000" pitchFamily="50" charset="0"/>
                    </a:defRPr>
                  </a:lvl1pPr>
                </a:lstStyle>
                <a:p>
                  <a:r>
                    <a:rPr lang="en-US" sz="1100" dirty="0">
                      <a:solidFill>
                        <a:schemeClr val="tx2"/>
                      </a:solidFill>
                      <a:effectLst/>
                    </a:rPr>
                    <a:t>01</a:t>
                  </a:r>
                  <a:endParaRPr lang="ru-RU" sz="1100" dirty="0">
                    <a:solidFill>
                      <a:schemeClr val="tx2"/>
                    </a:solidFill>
                    <a:effectLst/>
                  </a:endParaRPr>
                </a:p>
              </p:txBody>
            </p:sp>
            <p:sp>
              <p:nvSpPr>
                <p:cNvPr id="95" name="TextBox 94">
                  <a:extLst>
                    <a:ext uri="{FF2B5EF4-FFF2-40B4-BE49-F238E27FC236}">
                      <a16:creationId xmlns:a16="http://schemas.microsoft.com/office/drawing/2014/main" id="{743AC469-685E-4CE5-AD93-49FE3E5E323C}"/>
                    </a:ext>
                  </a:extLst>
                </p:cNvPr>
                <p:cNvSpPr txBox="1">
                  <a:spLocks noChangeAspect="1"/>
                </p:cNvSpPr>
                <p:nvPr/>
              </p:nvSpPr>
              <p:spPr>
                <a:xfrm>
                  <a:off x="5369732" y="2966430"/>
                  <a:ext cx="358838" cy="358834"/>
                </a:xfrm>
                <a:prstGeom prst="ellipse">
                  <a:avLst/>
                </a:prstGeom>
                <a:grpFill/>
                <a:ln w="9525">
                  <a:noFill/>
                  <a:prstDash val="dash"/>
                </a:ln>
                <a:effectLst/>
              </p:spPr>
              <p:txBody>
                <a:bodyPr wrap="none" lIns="0" tIns="0" rIns="0" bIns="0" rtlCol="0" anchor="ctr" anchorCtr="1">
                  <a:noAutofit/>
                </a:bodyPr>
                <a:lstStyle/>
                <a:p>
                  <a:pPr algn="ctr">
                    <a:lnSpc>
                      <a:spcPct val="110000"/>
                    </a:lnSpc>
                  </a:pPr>
                  <a:r>
                    <a:rPr lang="en-US" sz="1100" dirty="0">
                      <a:solidFill>
                        <a:schemeClr val="tx2"/>
                      </a:solidFill>
                      <a:latin typeface="Montserrat" panose="00000500000000000000" pitchFamily="50" charset="0"/>
                    </a:rPr>
                    <a:t>02</a:t>
                  </a:r>
                  <a:endParaRPr lang="ru-RU" sz="1100" dirty="0">
                    <a:solidFill>
                      <a:schemeClr val="tx2"/>
                    </a:solidFill>
                    <a:latin typeface="Montserrat" panose="00000500000000000000" pitchFamily="50" charset="0"/>
                  </a:endParaRPr>
                </a:p>
              </p:txBody>
            </p:sp>
          </p:grpSp>
          <p:sp>
            <p:nvSpPr>
              <p:cNvPr id="109" name="TextBox 108">
                <a:extLst>
                  <a:ext uri="{FF2B5EF4-FFF2-40B4-BE49-F238E27FC236}">
                    <a16:creationId xmlns:a16="http://schemas.microsoft.com/office/drawing/2014/main" id="{1B904BC6-1378-46E9-8470-65125B3438B2}"/>
                  </a:ext>
                </a:extLst>
              </p:cNvPr>
              <p:cNvSpPr txBox="1">
                <a:spLocks noChangeAspect="1"/>
              </p:cNvSpPr>
              <p:nvPr/>
            </p:nvSpPr>
            <p:spPr>
              <a:xfrm>
                <a:off x="4712751" y="3324897"/>
                <a:ext cx="358838" cy="358834"/>
              </a:xfrm>
              <a:prstGeom prst="ellipse">
                <a:avLst/>
              </a:prstGeom>
              <a:solidFill>
                <a:schemeClr val="bg1"/>
              </a:solidFill>
              <a:ln w="9525">
                <a:noFill/>
                <a:prstDash val="dash"/>
              </a:ln>
              <a:effectLst/>
            </p:spPr>
            <p:txBody>
              <a:bodyPr wrap="none" lIns="0" tIns="0" rIns="0" bIns="0" rtlCol="0" anchor="ctr" anchorCtr="1">
                <a:noAutofit/>
              </a:bodyPr>
              <a:lstStyle/>
              <a:p>
                <a:pPr algn="ctr">
                  <a:lnSpc>
                    <a:spcPct val="110000"/>
                  </a:lnSpc>
                </a:pPr>
                <a:r>
                  <a:rPr lang="en-US" sz="1100" dirty="0">
                    <a:solidFill>
                      <a:schemeClr val="tx2"/>
                    </a:solidFill>
                    <a:latin typeface="Montserrat" panose="00000500000000000000" pitchFamily="50" charset="0"/>
                  </a:rPr>
                  <a:t>04</a:t>
                </a:r>
                <a:endParaRPr lang="ru-RU" sz="1100" dirty="0">
                  <a:solidFill>
                    <a:schemeClr val="tx2"/>
                  </a:solidFill>
                  <a:latin typeface="Montserrat" panose="00000500000000000000" pitchFamily="50" charset="0"/>
                </a:endParaRPr>
              </a:p>
            </p:txBody>
          </p:sp>
        </p:grpSp>
        <p:grpSp>
          <p:nvGrpSpPr>
            <p:cNvPr id="13" name="Group 12">
              <a:extLst>
                <a:ext uri="{FF2B5EF4-FFF2-40B4-BE49-F238E27FC236}">
                  <a16:creationId xmlns:a16="http://schemas.microsoft.com/office/drawing/2014/main" id="{CAEA4718-4169-4A80-AE5B-3C3582424276}"/>
                </a:ext>
              </a:extLst>
            </p:cNvPr>
            <p:cNvGrpSpPr/>
            <p:nvPr/>
          </p:nvGrpSpPr>
          <p:grpSpPr>
            <a:xfrm>
              <a:off x="6508724" y="1219340"/>
              <a:ext cx="4787762" cy="4419321"/>
              <a:chOff x="6941662" y="965585"/>
              <a:chExt cx="4787762" cy="4419321"/>
            </a:xfrm>
          </p:grpSpPr>
          <p:sp>
            <p:nvSpPr>
              <p:cNvPr id="1497" name="Lorem Ipsum is simply dummy text of the printing and typesetting industry. Lorem Ipsum has been the industry's standard dummy text ever since the 1500s, when an unknown also the leap into electronic typesetting, remaining essentially unchanged. It was po"/>
              <p:cNvSpPr/>
              <p:nvPr/>
            </p:nvSpPr>
            <p:spPr>
              <a:xfrm>
                <a:off x="7010242" y="1632413"/>
                <a:ext cx="4719182" cy="1119987"/>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500" b="0">
                    <a:solidFill>
                      <a:srgbClr val="9FA09E"/>
                    </a:solidFill>
                    <a:latin typeface="Barlow Medium"/>
                    <a:ea typeface="Barlow Medium"/>
                    <a:cs typeface="Barlow Medium"/>
                    <a:sym typeface="Barlow Medium"/>
                  </a:defRPr>
                </a:lvl1pPr>
              </a:lstStyle>
              <a:p>
                <a:pPr>
                  <a:lnSpc>
                    <a:spcPts val="1700"/>
                  </a:lnSpc>
                </a:pPr>
                <a:r>
                  <a:rPr sz="1100" dirty="0">
                    <a:solidFill>
                      <a:schemeClr val="tx2"/>
                    </a:solidFill>
                    <a:latin typeface="Montserrat" panose="00000500000000000000" pitchFamily="50" charset="0"/>
                  </a:rPr>
                  <a:t>Lorem Ipsum is simply dummy text of the printing and typesetting industry. Lorem Ipsum has been the industry's standard dummy text ever since the 1500s, when an unknown also the leap into electronic typesetting, remaining essentially unchanged. It was </a:t>
                </a:r>
                <a:r>
                  <a:rPr lang="en-US" sz="1100" dirty="0">
                    <a:solidFill>
                      <a:schemeClr val="tx2"/>
                    </a:solidFill>
                    <a:latin typeface="Montserrat" panose="00000500000000000000" pitchFamily="50" charset="0"/>
                  </a:rPr>
                  <a:t>popularized</a:t>
                </a:r>
                <a:r>
                  <a:rPr sz="1100" dirty="0">
                    <a:solidFill>
                      <a:schemeClr val="tx2"/>
                    </a:solidFill>
                    <a:latin typeface="Montserrat" panose="00000500000000000000" pitchFamily="50" charset="0"/>
                  </a:rPr>
                  <a:t> in the 1960s with the release of</a:t>
                </a:r>
              </a:p>
            </p:txBody>
          </p:sp>
          <p:grpSp>
            <p:nvGrpSpPr>
              <p:cNvPr id="11" name="Group 10">
                <a:extLst>
                  <a:ext uri="{FF2B5EF4-FFF2-40B4-BE49-F238E27FC236}">
                    <a16:creationId xmlns:a16="http://schemas.microsoft.com/office/drawing/2014/main" id="{35504473-46DA-4236-84CD-5BD71BEAE34C}"/>
                  </a:ext>
                </a:extLst>
              </p:cNvPr>
              <p:cNvGrpSpPr/>
              <p:nvPr/>
            </p:nvGrpSpPr>
            <p:grpSpPr>
              <a:xfrm>
                <a:off x="7010242" y="3318692"/>
                <a:ext cx="4536368" cy="553165"/>
                <a:chOff x="7038412" y="2841503"/>
                <a:chExt cx="4536368" cy="553165"/>
              </a:xfrm>
            </p:grpSpPr>
            <p:sp>
              <p:nvSpPr>
                <p:cNvPr id="1500" name="Lorem Ipsum has been the industry's standard dummy text ever since the 1500s, when an unknown printer took a galley…"/>
                <p:cNvSpPr/>
                <p:nvPr/>
              </p:nvSpPr>
              <p:spPr>
                <a:xfrm>
                  <a:off x="7467601" y="2841503"/>
                  <a:ext cx="4107179" cy="553165"/>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45720" rIns="25400" bIns="91440" numCol="1" anchor="t">
                  <a:spAutoFit/>
                </a:bodyPr>
                <a:lstStyle/>
                <a:p>
                  <a:pPr algn="l">
                    <a:lnSpc>
                      <a:spcPts val="1700"/>
                    </a:lnSpc>
                    <a:defRPr sz="2500" b="0">
                      <a:solidFill>
                        <a:srgbClr val="9FA09E"/>
                      </a:solidFill>
                      <a:latin typeface="Barlow Medium"/>
                      <a:ea typeface="Barlow Medium"/>
                      <a:cs typeface="Barlow Medium"/>
                      <a:sym typeface="Barlow Medium"/>
                    </a:defRPr>
                  </a:pPr>
                  <a:r>
                    <a:rPr sz="1100" dirty="0">
                      <a:solidFill>
                        <a:schemeClr val="tx2"/>
                      </a:solidFill>
                      <a:latin typeface="Montserrat" panose="00000500000000000000" pitchFamily="50" charset="0"/>
                    </a:rPr>
                    <a:t>Lorem Ipsum has been the industry's standard dummy text ever since the 1500s, when an unknown printer took</a:t>
                  </a:r>
                  <a:r>
                    <a:rPr lang="en-US" sz="1100" dirty="0">
                      <a:solidFill>
                        <a:schemeClr val="tx2"/>
                      </a:solidFill>
                      <a:latin typeface="Montserrat" panose="00000500000000000000" pitchFamily="50" charset="0"/>
                    </a:rPr>
                    <a:t>.</a:t>
                  </a:r>
                  <a:endParaRPr sz="1100" dirty="0">
                    <a:solidFill>
                      <a:schemeClr val="tx2"/>
                    </a:solidFill>
                    <a:latin typeface="Montserrat" panose="00000500000000000000" pitchFamily="50" charset="0"/>
                  </a:endParaRPr>
                </a:p>
              </p:txBody>
            </p:sp>
            <p:sp>
              <p:nvSpPr>
                <p:cNvPr id="1501" name="Circle"/>
                <p:cNvSpPr/>
                <p:nvPr/>
              </p:nvSpPr>
              <p:spPr>
                <a:xfrm>
                  <a:off x="7038412" y="2972700"/>
                  <a:ext cx="290770" cy="290770"/>
                </a:xfrm>
                <a:prstGeom prst="ellipse">
                  <a:avLst/>
                </a:prstGeom>
                <a:solidFill>
                  <a:schemeClr val="accent1"/>
                </a:solidFill>
                <a:ln w="12700" cap="flat">
                  <a:noFill/>
                  <a:miter lim="400000"/>
                </a:ln>
                <a:effectLst/>
              </p:spPr>
              <p:txBody>
                <a:bodyPr wrap="square" lIns="0" tIns="0" rIns="0" bIns="0" numCol="1" anchor="ctr">
                  <a:noAutofit/>
                </a:bodyPr>
                <a:lstStyle/>
                <a:p>
                  <a:pPr algn="ctr">
                    <a:defRPr sz="3200" b="0">
                      <a:solidFill>
                        <a:srgbClr val="FFFFFF"/>
                      </a:solidFill>
                      <a:latin typeface="+mn-lt"/>
                      <a:ea typeface="+mn-ea"/>
                      <a:cs typeface="+mn-cs"/>
                      <a:sym typeface="Helvetica Neue Medium"/>
                    </a:defRPr>
                  </a:pPr>
                  <a:r>
                    <a:rPr lang="en-US" sz="1200" b="1" dirty="0">
                      <a:latin typeface="Montserrat" panose="00000500000000000000" pitchFamily="50" charset="0"/>
                    </a:rPr>
                    <a:t>1</a:t>
                  </a:r>
                  <a:endParaRPr sz="1200" b="1" dirty="0">
                    <a:latin typeface="Montserrat" panose="00000500000000000000" pitchFamily="50" charset="0"/>
                  </a:endParaRPr>
                </a:p>
              </p:txBody>
            </p:sp>
          </p:grpSp>
          <p:grpSp>
            <p:nvGrpSpPr>
              <p:cNvPr id="112" name="Group 111">
                <a:extLst>
                  <a:ext uri="{FF2B5EF4-FFF2-40B4-BE49-F238E27FC236}">
                    <a16:creationId xmlns:a16="http://schemas.microsoft.com/office/drawing/2014/main" id="{051B4847-144A-485B-9F64-4325E907581F}"/>
                  </a:ext>
                </a:extLst>
              </p:cNvPr>
              <p:cNvGrpSpPr/>
              <p:nvPr/>
            </p:nvGrpSpPr>
            <p:grpSpPr>
              <a:xfrm>
                <a:off x="7010242" y="4075216"/>
                <a:ext cx="4536368" cy="553165"/>
                <a:chOff x="7038412" y="2841503"/>
                <a:chExt cx="4536368" cy="553165"/>
              </a:xfrm>
            </p:grpSpPr>
            <p:sp>
              <p:nvSpPr>
                <p:cNvPr id="113" name="Lorem Ipsum has been the industry's standard dummy text ever since the 1500s, when an unknown printer took a galley…">
                  <a:extLst>
                    <a:ext uri="{FF2B5EF4-FFF2-40B4-BE49-F238E27FC236}">
                      <a16:creationId xmlns:a16="http://schemas.microsoft.com/office/drawing/2014/main" id="{0E684A0D-E568-4FBA-B6CD-9BAA05B11F6A}"/>
                    </a:ext>
                  </a:extLst>
                </p:cNvPr>
                <p:cNvSpPr/>
                <p:nvPr/>
              </p:nvSpPr>
              <p:spPr>
                <a:xfrm>
                  <a:off x="7467601" y="2841503"/>
                  <a:ext cx="4107179" cy="553165"/>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45720" rIns="25400" bIns="91440" numCol="1" anchor="t">
                  <a:spAutoFit/>
                </a:bodyPr>
                <a:lstStyle/>
                <a:p>
                  <a:pPr algn="l">
                    <a:lnSpc>
                      <a:spcPts val="1700"/>
                    </a:lnSpc>
                    <a:defRPr sz="2500" b="0">
                      <a:solidFill>
                        <a:srgbClr val="9FA09E"/>
                      </a:solidFill>
                      <a:latin typeface="Barlow Medium"/>
                      <a:ea typeface="Barlow Medium"/>
                      <a:cs typeface="Barlow Medium"/>
                      <a:sym typeface="Barlow Medium"/>
                    </a:defRPr>
                  </a:pPr>
                  <a:r>
                    <a:rPr sz="1100" dirty="0">
                      <a:solidFill>
                        <a:schemeClr val="tx2"/>
                      </a:solidFill>
                      <a:latin typeface="Montserrat" panose="00000500000000000000" pitchFamily="50" charset="0"/>
                    </a:rPr>
                    <a:t>Lorem Ipsum has been the industry's standard dummy text ever since the 1500s, when an unknown printer took</a:t>
                  </a:r>
                  <a:r>
                    <a:rPr lang="en-US" sz="1100" dirty="0">
                      <a:solidFill>
                        <a:schemeClr val="tx2"/>
                      </a:solidFill>
                      <a:latin typeface="Montserrat" panose="00000500000000000000" pitchFamily="50" charset="0"/>
                    </a:rPr>
                    <a:t>.</a:t>
                  </a:r>
                  <a:endParaRPr sz="1100" dirty="0">
                    <a:solidFill>
                      <a:schemeClr val="tx2"/>
                    </a:solidFill>
                    <a:latin typeface="Montserrat" panose="00000500000000000000" pitchFamily="50" charset="0"/>
                  </a:endParaRPr>
                </a:p>
              </p:txBody>
            </p:sp>
            <p:sp>
              <p:nvSpPr>
                <p:cNvPr id="114" name="Circle">
                  <a:extLst>
                    <a:ext uri="{FF2B5EF4-FFF2-40B4-BE49-F238E27FC236}">
                      <a16:creationId xmlns:a16="http://schemas.microsoft.com/office/drawing/2014/main" id="{66CC5CC9-6B5E-47DE-9914-469721ED3EE7}"/>
                    </a:ext>
                  </a:extLst>
                </p:cNvPr>
                <p:cNvSpPr/>
                <p:nvPr/>
              </p:nvSpPr>
              <p:spPr>
                <a:xfrm>
                  <a:off x="7038412" y="2972700"/>
                  <a:ext cx="290770" cy="290770"/>
                </a:xfrm>
                <a:prstGeom prst="ellipse">
                  <a:avLst/>
                </a:prstGeom>
                <a:solidFill>
                  <a:schemeClr val="accent3"/>
                </a:solidFill>
                <a:ln w="12700" cap="flat">
                  <a:noFill/>
                  <a:miter lim="400000"/>
                </a:ln>
                <a:effectLst/>
              </p:spPr>
              <p:txBody>
                <a:bodyPr wrap="square" lIns="0" tIns="0" rIns="0" bIns="0" numCol="1" anchor="ctr">
                  <a:noAutofit/>
                </a:bodyPr>
                <a:lstStyle/>
                <a:p>
                  <a:pPr algn="ctr">
                    <a:defRPr sz="3200" b="0">
                      <a:solidFill>
                        <a:srgbClr val="FFFFFF"/>
                      </a:solidFill>
                      <a:latin typeface="+mn-lt"/>
                      <a:ea typeface="+mn-ea"/>
                      <a:cs typeface="+mn-cs"/>
                      <a:sym typeface="Helvetica Neue Medium"/>
                    </a:defRPr>
                  </a:pPr>
                  <a:r>
                    <a:rPr lang="en-US" sz="1200" b="1" dirty="0">
                      <a:latin typeface="Montserrat" panose="00000500000000000000" pitchFamily="50" charset="0"/>
                    </a:rPr>
                    <a:t>2</a:t>
                  </a:r>
                  <a:endParaRPr sz="1200" b="1" dirty="0">
                    <a:latin typeface="Montserrat" panose="00000500000000000000" pitchFamily="50" charset="0"/>
                  </a:endParaRPr>
                </a:p>
              </p:txBody>
            </p:sp>
          </p:grpSp>
          <p:grpSp>
            <p:nvGrpSpPr>
              <p:cNvPr id="115" name="Group 114">
                <a:extLst>
                  <a:ext uri="{FF2B5EF4-FFF2-40B4-BE49-F238E27FC236}">
                    <a16:creationId xmlns:a16="http://schemas.microsoft.com/office/drawing/2014/main" id="{6049162E-C416-40A2-AA3D-E41A4AA039CE}"/>
                  </a:ext>
                </a:extLst>
              </p:cNvPr>
              <p:cNvGrpSpPr/>
              <p:nvPr/>
            </p:nvGrpSpPr>
            <p:grpSpPr>
              <a:xfrm>
                <a:off x="7010242" y="4831741"/>
                <a:ext cx="4536368" cy="553165"/>
                <a:chOff x="7038412" y="2841503"/>
                <a:chExt cx="4536368" cy="553165"/>
              </a:xfrm>
            </p:grpSpPr>
            <p:sp>
              <p:nvSpPr>
                <p:cNvPr id="116" name="Lorem Ipsum has been the industry's standard dummy text ever since the 1500s, when an unknown printer took a galley…">
                  <a:extLst>
                    <a:ext uri="{FF2B5EF4-FFF2-40B4-BE49-F238E27FC236}">
                      <a16:creationId xmlns:a16="http://schemas.microsoft.com/office/drawing/2014/main" id="{B14FEC57-B16A-4BBC-AAF9-EE7F34326BE2}"/>
                    </a:ext>
                  </a:extLst>
                </p:cNvPr>
                <p:cNvSpPr/>
                <p:nvPr/>
              </p:nvSpPr>
              <p:spPr>
                <a:xfrm>
                  <a:off x="7467601" y="2841503"/>
                  <a:ext cx="4107179" cy="553165"/>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45720" rIns="25400" bIns="91440" numCol="1" anchor="t">
                  <a:spAutoFit/>
                </a:bodyPr>
                <a:lstStyle/>
                <a:p>
                  <a:pPr algn="l">
                    <a:lnSpc>
                      <a:spcPts val="1700"/>
                    </a:lnSpc>
                    <a:defRPr sz="2500" b="0">
                      <a:solidFill>
                        <a:srgbClr val="9FA09E"/>
                      </a:solidFill>
                      <a:latin typeface="Barlow Medium"/>
                      <a:ea typeface="Barlow Medium"/>
                      <a:cs typeface="Barlow Medium"/>
                      <a:sym typeface="Barlow Medium"/>
                    </a:defRPr>
                  </a:pPr>
                  <a:r>
                    <a:rPr sz="1100" dirty="0">
                      <a:solidFill>
                        <a:schemeClr val="tx2"/>
                      </a:solidFill>
                      <a:latin typeface="Montserrat" panose="00000500000000000000" pitchFamily="50" charset="0"/>
                    </a:rPr>
                    <a:t>Lorem Ipsum has been the industry's standard dummy text ever since the 1500s, when an unknown printer took</a:t>
                  </a:r>
                  <a:r>
                    <a:rPr lang="en-US" sz="1100" dirty="0">
                      <a:solidFill>
                        <a:schemeClr val="tx2"/>
                      </a:solidFill>
                      <a:latin typeface="Montserrat" panose="00000500000000000000" pitchFamily="50" charset="0"/>
                    </a:rPr>
                    <a:t>.</a:t>
                  </a:r>
                  <a:endParaRPr sz="1100" dirty="0">
                    <a:solidFill>
                      <a:schemeClr val="tx2"/>
                    </a:solidFill>
                    <a:latin typeface="Montserrat" panose="00000500000000000000" pitchFamily="50" charset="0"/>
                  </a:endParaRPr>
                </a:p>
              </p:txBody>
            </p:sp>
            <p:sp>
              <p:nvSpPr>
                <p:cNvPr id="117" name="Circle">
                  <a:extLst>
                    <a:ext uri="{FF2B5EF4-FFF2-40B4-BE49-F238E27FC236}">
                      <a16:creationId xmlns:a16="http://schemas.microsoft.com/office/drawing/2014/main" id="{5BCF3597-6596-4AAB-A076-2B2FDC8C7693}"/>
                    </a:ext>
                  </a:extLst>
                </p:cNvPr>
                <p:cNvSpPr/>
                <p:nvPr/>
              </p:nvSpPr>
              <p:spPr>
                <a:xfrm>
                  <a:off x="7038412" y="2972700"/>
                  <a:ext cx="290770" cy="290770"/>
                </a:xfrm>
                <a:prstGeom prst="ellipse">
                  <a:avLst/>
                </a:prstGeom>
                <a:solidFill>
                  <a:schemeClr val="accent4"/>
                </a:solidFill>
                <a:ln w="12700" cap="flat">
                  <a:noFill/>
                  <a:miter lim="400000"/>
                </a:ln>
                <a:effectLst/>
              </p:spPr>
              <p:txBody>
                <a:bodyPr wrap="square" lIns="0" tIns="0" rIns="0" bIns="0" numCol="1" anchor="ctr">
                  <a:noAutofit/>
                </a:bodyPr>
                <a:lstStyle/>
                <a:p>
                  <a:pPr algn="ctr">
                    <a:defRPr sz="3200" b="0">
                      <a:solidFill>
                        <a:srgbClr val="FFFFFF"/>
                      </a:solidFill>
                      <a:latin typeface="+mn-lt"/>
                      <a:ea typeface="+mn-ea"/>
                      <a:cs typeface="+mn-cs"/>
                      <a:sym typeface="Helvetica Neue Medium"/>
                    </a:defRPr>
                  </a:pPr>
                  <a:r>
                    <a:rPr lang="en-US" sz="1200" b="1" dirty="0">
                      <a:latin typeface="Montserrat" panose="00000500000000000000" pitchFamily="50" charset="0"/>
                    </a:rPr>
                    <a:t>3</a:t>
                  </a:r>
                  <a:endParaRPr sz="1200" b="1" dirty="0">
                    <a:latin typeface="Montserrat" panose="00000500000000000000" pitchFamily="50" charset="0"/>
                  </a:endParaRPr>
                </a:p>
              </p:txBody>
            </p:sp>
          </p:grpSp>
          <p:sp>
            <p:nvSpPr>
              <p:cNvPr id="119" name="TextBox 118">
                <a:extLst>
                  <a:ext uri="{FF2B5EF4-FFF2-40B4-BE49-F238E27FC236}">
                    <a16:creationId xmlns:a16="http://schemas.microsoft.com/office/drawing/2014/main" id="{D051FD9E-B8AD-4063-ABC9-7E96E3D2B056}"/>
                  </a:ext>
                </a:extLst>
              </p:cNvPr>
              <p:cNvSpPr txBox="1"/>
              <p:nvPr/>
            </p:nvSpPr>
            <p:spPr>
              <a:xfrm>
                <a:off x="6941662" y="965585"/>
                <a:ext cx="3440365" cy="553998"/>
              </a:xfrm>
              <a:prstGeom prst="rect">
                <a:avLst/>
              </a:prstGeom>
              <a:noFill/>
            </p:spPr>
            <p:txBody>
              <a:bodyPr wrap="none" rtlCol="0">
                <a:spAutoFit/>
              </a:bodyPr>
              <a:lstStyle/>
              <a:p>
                <a:r>
                  <a:rPr lang="en-US" sz="3000" b="1" dirty="0">
                    <a:solidFill>
                      <a:schemeClr val="tx2">
                        <a:lumMod val="40000"/>
                        <a:lumOff val="60000"/>
                      </a:schemeClr>
                    </a:solidFill>
                    <a:latin typeface="Montserrat" panose="00000500000000000000" pitchFamily="50" charset="0"/>
                  </a:rPr>
                  <a:t>VENN DIAGRAM</a:t>
                </a:r>
              </a:p>
            </p:txBody>
          </p:sp>
        </p:grpSp>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Box 52">
            <a:extLst>
              <a:ext uri="{FF2B5EF4-FFF2-40B4-BE49-F238E27FC236}">
                <a16:creationId xmlns:a16="http://schemas.microsoft.com/office/drawing/2014/main" id="{65675BD7-7026-417E-B75B-1D1F2120FEDF}"/>
              </a:ext>
            </a:extLst>
          </p:cNvPr>
          <p:cNvSpPr txBox="1"/>
          <p:nvPr/>
        </p:nvSpPr>
        <p:spPr>
          <a:xfrm>
            <a:off x="824698" y="1638151"/>
            <a:ext cx="1401346" cy="400110"/>
          </a:xfrm>
          <a:prstGeom prst="rect">
            <a:avLst/>
          </a:prstGeom>
          <a:noFill/>
        </p:spPr>
        <p:txBody>
          <a:bodyPr wrap="none" rtlCol="0">
            <a:spAutoFit/>
          </a:bodyPr>
          <a:lstStyle/>
          <a:p>
            <a:pPr defTabSz="457200"/>
            <a:r>
              <a:rPr lang="en-US" sz="2000" b="1" dirty="0">
                <a:latin typeface="Montserrat" panose="00000500000000000000" pitchFamily="50" charset="0"/>
              </a:rPr>
              <a:t>01</a:t>
            </a:r>
            <a:r>
              <a:rPr lang="en-US" sz="1300" b="1" dirty="0">
                <a:solidFill>
                  <a:schemeClr val="accent1"/>
                </a:solidFill>
                <a:latin typeface="Montserrat" panose="00000500000000000000" pitchFamily="50" charset="0"/>
              </a:rPr>
              <a:t>	</a:t>
            </a:r>
            <a:r>
              <a:rPr lang="en-US" sz="1300" b="1" dirty="0">
                <a:solidFill>
                  <a:schemeClr val="accent3">
                    <a:lumMod val="50000"/>
                  </a:schemeClr>
                </a:solidFill>
                <a:latin typeface="Montserrat" panose="00000500000000000000" pitchFamily="50" charset="0"/>
              </a:rPr>
              <a:t>OFFLINE</a:t>
            </a:r>
          </a:p>
        </p:txBody>
      </p:sp>
      <p:sp>
        <p:nvSpPr>
          <p:cNvPr id="54" name="TextBox 53">
            <a:extLst>
              <a:ext uri="{FF2B5EF4-FFF2-40B4-BE49-F238E27FC236}">
                <a16:creationId xmlns:a16="http://schemas.microsoft.com/office/drawing/2014/main" id="{7C7C181C-C5B8-4D2F-9345-98D49DAF13FF}"/>
              </a:ext>
            </a:extLst>
          </p:cNvPr>
          <p:cNvSpPr txBox="1"/>
          <p:nvPr/>
        </p:nvSpPr>
        <p:spPr>
          <a:xfrm>
            <a:off x="1287095" y="2007534"/>
            <a:ext cx="2823126" cy="651460"/>
          </a:xfrm>
          <a:prstGeom prst="rect">
            <a:avLst/>
          </a:prstGeom>
          <a:noFill/>
        </p:spPr>
        <p:txBody>
          <a:bodyPr wrap="square" rtlCol="0">
            <a:spAutoFit/>
          </a:bodyPr>
          <a:lstStyle/>
          <a:p>
            <a:pPr>
              <a:lnSpc>
                <a:spcPts val="1500"/>
              </a:lnSpc>
            </a:pPr>
            <a:r>
              <a:rPr lang="en-US" sz="1000" dirty="0">
                <a:solidFill>
                  <a:schemeClr val="tx1">
                    <a:lumMod val="75000"/>
                    <a:lumOff val="25000"/>
                  </a:schemeClr>
                </a:solidFill>
                <a:latin typeface="Montserrat" panose="00000500000000000000" pitchFamily="50" charset="0"/>
              </a:rPr>
              <a:t>Lorem ipsum dolor sit </a:t>
            </a:r>
            <a:r>
              <a:rPr lang="en-US" sz="1000" dirty="0" err="1">
                <a:solidFill>
                  <a:schemeClr val="tx1">
                    <a:lumMod val="75000"/>
                    <a:lumOff val="25000"/>
                  </a:schemeClr>
                </a:solidFill>
                <a:latin typeface="Montserrat" panose="00000500000000000000" pitchFamily="50" charset="0"/>
              </a:rPr>
              <a:t>ame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consectetur</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adipiscing</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elit</a:t>
            </a:r>
            <a:r>
              <a:rPr lang="en-US" sz="1000" dirty="0">
                <a:solidFill>
                  <a:schemeClr val="tx1">
                    <a:lumMod val="75000"/>
                    <a:lumOff val="25000"/>
                  </a:schemeClr>
                </a:solidFill>
                <a:latin typeface="Montserrat" panose="00000500000000000000" pitchFamily="50" charset="0"/>
              </a:rPr>
              <a:t>, sed do </a:t>
            </a:r>
            <a:r>
              <a:rPr lang="en-US" sz="1000" dirty="0" err="1">
                <a:solidFill>
                  <a:schemeClr val="tx1">
                    <a:lumMod val="75000"/>
                    <a:lumOff val="25000"/>
                  </a:schemeClr>
                </a:solidFill>
                <a:latin typeface="Montserrat" panose="00000500000000000000" pitchFamily="50" charset="0"/>
              </a:rPr>
              <a:t>eiusmod</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tempor</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incididun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u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labore</a:t>
            </a:r>
            <a:r>
              <a:rPr lang="en-US" sz="1000" dirty="0">
                <a:solidFill>
                  <a:schemeClr val="tx1">
                    <a:lumMod val="75000"/>
                    <a:lumOff val="25000"/>
                  </a:schemeClr>
                </a:solidFill>
                <a:latin typeface="Montserrat" panose="00000500000000000000" pitchFamily="50" charset="0"/>
              </a:rPr>
              <a:t> et dolore magna</a:t>
            </a:r>
          </a:p>
        </p:txBody>
      </p:sp>
      <p:sp>
        <p:nvSpPr>
          <p:cNvPr id="58" name="TextBox 57">
            <a:extLst>
              <a:ext uri="{FF2B5EF4-FFF2-40B4-BE49-F238E27FC236}">
                <a16:creationId xmlns:a16="http://schemas.microsoft.com/office/drawing/2014/main" id="{AA82A0BE-C0F7-4339-BC85-B7E1A9A82433}"/>
              </a:ext>
            </a:extLst>
          </p:cNvPr>
          <p:cNvSpPr txBox="1"/>
          <p:nvPr/>
        </p:nvSpPr>
        <p:spPr>
          <a:xfrm>
            <a:off x="824698" y="2868364"/>
            <a:ext cx="1297150" cy="400110"/>
          </a:xfrm>
          <a:prstGeom prst="rect">
            <a:avLst/>
          </a:prstGeom>
          <a:noFill/>
        </p:spPr>
        <p:txBody>
          <a:bodyPr wrap="none" rtlCol="0">
            <a:spAutoFit/>
          </a:bodyPr>
          <a:lstStyle/>
          <a:p>
            <a:pPr defTabSz="457200"/>
            <a:r>
              <a:rPr lang="en-US" sz="2000" b="1" dirty="0">
                <a:latin typeface="Montserrat" panose="00000500000000000000" pitchFamily="50" charset="0"/>
              </a:rPr>
              <a:t>02</a:t>
            </a:r>
            <a:r>
              <a:rPr lang="en-US" sz="1300" b="1" dirty="0">
                <a:solidFill>
                  <a:schemeClr val="accent1"/>
                </a:solidFill>
                <a:latin typeface="Montserrat" panose="00000500000000000000" pitchFamily="50" charset="0"/>
              </a:rPr>
              <a:t>	</a:t>
            </a:r>
            <a:r>
              <a:rPr lang="en-US" sz="1300" b="1" dirty="0">
                <a:solidFill>
                  <a:schemeClr val="accent3">
                    <a:lumMod val="50000"/>
                  </a:schemeClr>
                </a:solidFill>
                <a:latin typeface="Montserrat" panose="00000500000000000000" pitchFamily="50" charset="0"/>
              </a:rPr>
              <a:t>BRAND</a:t>
            </a:r>
          </a:p>
        </p:txBody>
      </p:sp>
      <p:sp>
        <p:nvSpPr>
          <p:cNvPr id="59" name="TextBox 58">
            <a:extLst>
              <a:ext uri="{FF2B5EF4-FFF2-40B4-BE49-F238E27FC236}">
                <a16:creationId xmlns:a16="http://schemas.microsoft.com/office/drawing/2014/main" id="{5ACF0A5D-6B00-4AE3-94B2-6F44D489B69B}"/>
              </a:ext>
            </a:extLst>
          </p:cNvPr>
          <p:cNvSpPr txBox="1"/>
          <p:nvPr/>
        </p:nvSpPr>
        <p:spPr>
          <a:xfrm>
            <a:off x="1287095" y="3237747"/>
            <a:ext cx="2823126" cy="651460"/>
          </a:xfrm>
          <a:prstGeom prst="rect">
            <a:avLst/>
          </a:prstGeom>
          <a:noFill/>
        </p:spPr>
        <p:txBody>
          <a:bodyPr wrap="square" rtlCol="0">
            <a:spAutoFit/>
          </a:bodyPr>
          <a:lstStyle/>
          <a:p>
            <a:pPr>
              <a:lnSpc>
                <a:spcPts val="1500"/>
              </a:lnSpc>
            </a:pPr>
            <a:r>
              <a:rPr lang="en-US" sz="1000" dirty="0">
                <a:solidFill>
                  <a:schemeClr val="tx1">
                    <a:lumMod val="75000"/>
                    <a:lumOff val="25000"/>
                  </a:schemeClr>
                </a:solidFill>
                <a:latin typeface="Montserrat" panose="00000500000000000000" pitchFamily="50" charset="0"/>
              </a:rPr>
              <a:t>Lorem ipsum dolor sit </a:t>
            </a:r>
            <a:r>
              <a:rPr lang="en-US" sz="1000" dirty="0" err="1">
                <a:solidFill>
                  <a:schemeClr val="tx1">
                    <a:lumMod val="75000"/>
                    <a:lumOff val="25000"/>
                  </a:schemeClr>
                </a:solidFill>
                <a:latin typeface="Montserrat" panose="00000500000000000000" pitchFamily="50" charset="0"/>
              </a:rPr>
              <a:t>ame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consectetur</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adipiscing</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elit</a:t>
            </a:r>
            <a:r>
              <a:rPr lang="en-US" sz="1000" dirty="0">
                <a:solidFill>
                  <a:schemeClr val="tx1">
                    <a:lumMod val="75000"/>
                    <a:lumOff val="25000"/>
                  </a:schemeClr>
                </a:solidFill>
                <a:latin typeface="Montserrat" panose="00000500000000000000" pitchFamily="50" charset="0"/>
              </a:rPr>
              <a:t>, sed do </a:t>
            </a:r>
            <a:r>
              <a:rPr lang="en-US" sz="1000" dirty="0" err="1">
                <a:solidFill>
                  <a:schemeClr val="tx1">
                    <a:lumMod val="75000"/>
                    <a:lumOff val="25000"/>
                  </a:schemeClr>
                </a:solidFill>
                <a:latin typeface="Montserrat" panose="00000500000000000000" pitchFamily="50" charset="0"/>
              </a:rPr>
              <a:t>eiusmod</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tempor</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incididun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u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labore</a:t>
            </a:r>
            <a:r>
              <a:rPr lang="en-US" sz="1000" dirty="0">
                <a:solidFill>
                  <a:schemeClr val="tx1">
                    <a:lumMod val="75000"/>
                    <a:lumOff val="25000"/>
                  </a:schemeClr>
                </a:solidFill>
                <a:latin typeface="Montserrat" panose="00000500000000000000" pitchFamily="50" charset="0"/>
              </a:rPr>
              <a:t> et dolore magna</a:t>
            </a:r>
          </a:p>
        </p:txBody>
      </p:sp>
      <p:sp>
        <p:nvSpPr>
          <p:cNvPr id="61" name="TextBox 60">
            <a:extLst>
              <a:ext uri="{FF2B5EF4-FFF2-40B4-BE49-F238E27FC236}">
                <a16:creationId xmlns:a16="http://schemas.microsoft.com/office/drawing/2014/main" id="{36CFE6F7-3E44-4DAC-A616-4281DDB5093E}"/>
              </a:ext>
            </a:extLst>
          </p:cNvPr>
          <p:cNvSpPr txBox="1"/>
          <p:nvPr/>
        </p:nvSpPr>
        <p:spPr>
          <a:xfrm>
            <a:off x="824698" y="4098577"/>
            <a:ext cx="1324402" cy="400110"/>
          </a:xfrm>
          <a:prstGeom prst="rect">
            <a:avLst/>
          </a:prstGeom>
          <a:noFill/>
        </p:spPr>
        <p:txBody>
          <a:bodyPr wrap="none" rtlCol="0">
            <a:spAutoFit/>
          </a:bodyPr>
          <a:lstStyle/>
          <a:p>
            <a:pPr defTabSz="457200"/>
            <a:r>
              <a:rPr lang="en-US" sz="2000" b="1" dirty="0">
                <a:latin typeface="Montserrat" panose="00000500000000000000" pitchFamily="50" charset="0"/>
              </a:rPr>
              <a:t>03</a:t>
            </a:r>
            <a:r>
              <a:rPr lang="en-US" sz="1300" b="1" dirty="0">
                <a:solidFill>
                  <a:schemeClr val="accent1"/>
                </a:solidFill>
                <a:latin typeface="Montserrat" panose="00000500000000000000" pitchFamily="50" charset="0"/>
              </a:rPr>
              <a:t>	</a:t>
            </a:r>
            <a:r>
              <a:rPr lang="en-US" sz="1300" b="1" dirty="0">
                <a:solidFill>
                  <a:schemeClr val="accent3">
                    <a:lumMod val="50000"/>
                  </a:schemeClr>
                </a:solidFill>
                <a:latin typeface="Montserrat" panose="00000500000000000000" pitchFamily="50" charset="0"/>
              </a:rPr>
              <a:t>ONLINE</a:t>
            </a:r>
          </a:p>
        </p:txBody>
      </p:sp>
      <p:sp>
        <p:nvSpPr>
          <p:cNvPr id="62" name="TextBox 61">
            <a:extLst>
              <a:ext uri="{FF2B5EF4-FFF2-40B4-BE49-F238E27FC236}">
                <a16:creationId xmlns:a16="http://schemas.microsoft.com/office/drawing/2014/main" id="{5A65C6D6-63BB-4608-99DC-83CE18ACE18E}"/>
              </a:ext>
            </a:extLst>
          </p:cNvPr>
          <p:cNvSpPr txBox="1"/>
          <p:nvPr/>
        </p:nvSpPr>
        <p:spPr>
          <a:xfrm>
            <a:off x="1287095" y="4467960"/>
            <a:ext cx="2823126" cy="651460"/>
          </a:xfrm>
          <a:prstGeom prst="rect">
            <a:avLst/>
          </a:prstGeom>
          <a:noFill/>
        </p:spPr>
        <p:txBody>
          <a:bodyPr wrap="square" rtlCol="0">
            <a:spAutoFit/>
          </a:bodyPr>
          <a:lstStyle/>
          <a:p>
            <a:pPr>
              <a:lnSpc>
                <a:spcPts val="1500"/>
              </a:lnSpc>
            </a:pPr>
            <a:r>
              <a:rPr lang="en-US" sz="1000" dirty="0">
                <a:solidFill>
                  <a:schemeClr val="tx1">
                    <a:lumMod val="75000"/>
                    <a:lumOff val="25000"/>
                  </a:schemeClr>
                </a:solidFill>
                <a:latin typeface="Montserrat" panose="00000500000000000000" pitchFamily="50" charset="0"/>
              </a:rPr>
              <a:t>Lorem ipsum dolor sit </a:t>
            </a:r>
            <a:r>
              <a:rPr lang="en-US" sz="1000" dirty="0" err="1">
                <a:solidFill>
                  <a:schemeClr val="tx1">
                    <a:lumMod val="75000"/>
                    <a:lumOff val="25000"/>
                  </a:schemeClr>
                </a:solidFill>
                <a:latin typeface="Montserrat" panose="00000500000000000000" pitchFamily="50" charset="0"/>
              </a:rPr>
              <a:t>ame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consectetur</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adipiscing</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elit</a:t>
            </a:r>
            <a:r>
              <a:rPr lang="en-US" sz="1000" dirty="0">
                <a:solidFill>
                  <a:schemeClr val="tx1">
                    <a:lumMod val="75000"/>
                    <a:lumOff val="25000"/>
                  </a:schemeClr>
                </a:solidFill>
                <a:latin typeface="Montserrat" panose="00000500000000000000" pitchFamily="50" charset="0"/>
              </a:rPr>
              <a:t>, sed do </a:t>
            </a:r>
            <a:r>
              <a:rPr lang="en-US" sz="1000" dirty="0" err="1">
                <a:solidFill>
                  <a:schemeClr val="tx1">
                    <a:lumMod val="75000"/>
                    <a:lumOff val="25000"/>
                  </a:schemeClr>
                </a:solidFill>
                <a:latin typeface="Montserrat" panose="00000500000000000000" pitchFamily="50" charset="0"/>
              </a:rPr>
              <a:t>eiusmod</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tempor</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incididun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u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labore</a:t>
            </a:r>
            <a:r>
              <a:rPr lang="en-US" sz="1000" dirty="0">
                <a:solidFill>
                  <a:schemeClr val="tx1">
                    <a:lumMod val="75000"/>
                    <a:lumOff val="25000"/>
                  </a:schemeClr>
                </a:solidFill>
                <a:latin typeface="Montserrat" panose="00000500000000000000" pitchFamily="50" charset="0"/>
              </a:rPr>
              <a:t> et dolore magna</a:t>
            </a:r>
          </a:p>
        </p:txBody>
      </p:sp>
      <p:sp>
        <p:nvSpPr>
          <p:cNvPr id="64" name="TextBox 63">
            <a:extLst>
              <a:ext uri="{FF2B5EF4-FFF2-40B4-BE49-F238E27FC236}">
                <a16:creationId xmlns:a16="http://schemas.microsoft.com/office/drawing/2014/main" id="{C059F06D-4635-4679-80AA-C36A2DA0D7C2}"/>
              </a:ext>
            </a:extLst>
          </p:cNvPr>
          <p:cNvSpPr txBox="1"/>
          <p:nvPr/>
        </p:nvSpPr>
        <p:spPr>
          <a:xfrm>
            <a:off x="824698" y="5328790"/>
            <a:ext cx="1199367" cy="400110"/>
          </a:xfrm>
          <a:prstGeom prst="rect">
            <a:avLst/>
          </a:prstGeom>
          <a:noFill/>
        </p:spPr>
        <p:txBody>
          <a:bodyPr wrap="none" rtlCol="0">
            <a:spAutoFit/>
          </a:bodyPr>
          <a:lstStyle/>
          <a:p>
            <a:pPr defTabSz="457200"/>
            <a:r>
              <a:rPr lang="en-US" sz="2000" b="1" dirty="0">
                <a:latin typeface="Montserrat" panose="00000500000000000000" pitchFamily="50" charset="0"/>
              </a:rPr>
              <a:t>04</a:t>
            </a:r>
            <a:r>
              <a:rPr lang="en-US" sz="1300" b="1" dirty="0">
                <a:solidFill>
                  <a:schemeClr val="accent1"/>
                </a:solidFill>
                <a:latin typeface="Montserrat" panose="00000500000000000000" pitchFamily="50" charset="0"/>
              </a:rPr>
              <a:t>	</a:t>
            </a:r>
            <a:r>
              <a:rPr lang="en-US" sz="1300" b="1" dirty="0">
                <a:solidFill>
                  <a:schemeClr val="accent3">
                    <a:lumMod val="50000"/>
                  </a:schemeClr>
                </a:solidFill>
                <a:latin typeface="Montserrat" panose="00000500000000000000" pitchFamily="50" charset="0"/>
              </a:rPr>
              <a:t>SALES</a:t>
            </a:r>
          </a:p>
        </p:txBody>
      </p:sp>
      <p:sp>
        <p:nvSpPr>
          <p:cNvPr id="65" name="TextBox 64">
            <a:extLst>
              <a:ext uri="{FF2B5EF4-FFF2-40B4-BE49-F238E27FC236}">
                <a16:creationId xmlns:a16="http://schemas.microsoft.com/office/drawing/2014/main" id="{926D1AB0-88AC-437B-9159-FBEF341F330C}"/>
              </a:ext>
            </a:extLst>
          </p:cNvPr>
          <p:cNvSpPr txBox="1"/>
          <p:nvPr/>
        </p:nvSpPr>
        <p:spPr>
          <a:xfrm>
            <a:off x="1287095" y="5698173"/>
            <a:ext cx="2823126" cy="651460"/>
          </a:xfrm>
          <a:prstGeom prst="rect">
            <a:avLst/>
          </a:prstGeom>
          <a:noFill/>
        </p:spPr>
        <p:txBody>
          <a:bodyPr wrap="square" rtlCol="0">
            <a:spAutoFit/>
          </a:bodyPr>
          <a:lstStyle/>
          <a:p>
            <a:pPr>
              <a:lnSpc>
                <a:spcPts val="1500"/>
              </a:lnSpc>
            </a:pPr>
            <a:r>
              <a:rPr lang="en-US" sz="1000" dirty="0">
                <a:solidFill>
                  <a:schemeClr val="tx1">
                    <a:lumMod val="75000"/>
                    <a:lumOff val="25000"/>
                  </a:schemeClr>
                </a:solidFill>
                <a:latin typeface="Montserrat" panose="00000500000000000000" pitchFamily="50" charset="0"/>
              </a:rPr>
              <a:t>Lorem ipsum dolor sit </a:t>
            </a:r>
            <a:r>
              <a:rPr lang="en-US" sz="1000" dirty="0" err="1">
                <a:solidFill>
                  <a:schemeClr val="tx1">
                    <a:lumMod val="75000"/>
                    <a:lumOff val="25000"/>
                  </a:schemeClr>
                </a:solidFill>
                <a:latin typeface="Montserrat" panose="00000500000000000000" pitchFamily="50" charset="0"/>
              </a:rPr>
              <a:t>ame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consectetur</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adipiscing</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elit</a:t>
            </a:r>
            <a:r>
              <a:rPr lang="en-US" sz="1000" dirty="0">
                <a:solidFill>
                  <a:schemeClr val="tx1">
                    <a:lumMod val="75000"/>
                    <a:lumOff val="25000"/>
                  </a:schemeClr>
                </a:solidFill>
                <a:latin typeface="Montserrat" panose="00000500000000000000" pitchFamily="50" charset="0"/>
              </a:rPr>
              <a:t>, sed do </a:t>
            </a:r>
            <a:r>
              <a:rPr lang="en-US" sz="1000" dirty="0" err="1">
                <a:solidFill>
                  <a:schemeClr val="tx1">
                    <a:lumMod val="75000"/>
                    <a:lumOff val="25000"/>
                  </a:schemeClr>
                </a:solidFill>
                <a:latin typeface="Montserrat" panose="00000500000000000000" pitchFamily="50" charset="0"/>
              </a:rPr>
              <a:t>eiusmod</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tempor</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incididun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u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labore</a:t>
            </a:r>
            <a:r>
              <a:rPr lang="en-US" sz="1000" dirty="0">
                <a:solidFill>
                  <a:schemeClr val="tx1">
                    <a:lumMod val="75000"/>
                    <a:lumOff val="25000"/>
                  </a:schemeClr>
                </a:solidFill>
                <a:latin typeface="Montserrat" panose="00000500000000000000" pitchFamily="50" charset="0"/>
              </a:rPr>
              <a:t> et dolore magna</a:t>
            </a:r>
          </a:p>
        </p:txBody>
      </p:sp>
      <p:sp>
        <p:nvSpPr>
          <p:cNvPr id="73" name="TextBox 72">
            <a:extLst>
              <a:ext uri="{FF2B5EF4-FFF2-40B4-BE49-F238E27FC236}">
                <a16:creationId xmlns:a16="http://schemas.microsoft.com/office/drawing/2014/main" id="{7C16DF7C-9BBF-43A2-A617-445991965E57}"/>
              </a:ext>
            </a:extLst>
          </p:cNvPr>
          <p:cNvSpPr txBox="1"/>
          <p:nvPr/>
        </p:nvSpPr>
        <p:spPr>
          <a:xfrm>
            <a:off x="824698" y="413118"/>
            <a:ext cx="3560590" cy="1015663"/>
          </a:xfrm>
          <a:prstGeom prst="rect">
            <a:avLst/>
          </a:prstGeom>
          <a:noFill/>
        </p:spPr>
        <p:txBody>
          <a:bodyPr wrap="none" rtlCol="0">
            <a:spAutoFit/>
          </a:bodyPr>
          <a:lstStyle/>
          <a:p>
            <a:r>
              <a:rPr lang="en-US" sz="3000" b="1" dirty="0">
                <a:solidFill>
                  <a:schemeClr val="tx2">
                    <a:lumMod val="40000"/>
                    <a:lumOff val="60000"/>
                  </a:schemeClr>
                </a:solidFill>
                <a:latin typeface="Montserrat" panose="00000500000000000000" pitchFamily="50" charset="0"/>
              </a:rPr>
              <a:t>MULTI CHANNEL</a:t>
            </a:r>
          </a:p>
          <a:p>
            <a:r>
              <a:rPr lang="en-US" sz="3000" b="1" dirty="0">
                <a:solidFill>
                  <a:schemeClr val="tx2">
                    <a:lumMod val="40000"/>
                    <a:lumOff val="60000"/>
                  </a:schemeClr>
                </a:solidFill>
                <a:latin typeface="Montserrat" panose="00000500000000000000" pitchFamily="50" charset="0"/>
              </a:rPr>
              <a:t>MARKETING</a:t>
            </a:r>
          </a:p>
        </p:txBody>
      </p:sp>
      <p:grpSp>
        <p:nvGrpSpPr>
          <p:cNvPr id="28" name="Group 27">
            <a:extLst>
              <a:ext uri="{FF2B5EF4-FFF2-40B4-BE49-F238E27FC236}">
                <a16:creationId xmlns:a16="http://schemas.microsoft.com/office/drawing/2014/main" id="{F427C98A-7520-4278-8DA3-A3D5CE1ED507}"/>
              </a:ext>
            </a:extLst>
          </p:cNvPr>
          <p:cNvGrpSpPr/>
          <p:nvPr/>
        </p:nvGrpSpPr>
        <p:grpSpPr>
          <a:xfrm>
            <a:off x="5515662" y="1760471"/>
            <a:ext cx="3117664" cy="3337058"/>
            <a:chOff x="5515662" y="1760471"/>
            <a:chExt cx="3117664" cy="3337058"/>
          </a:xfrm>
        </p:grpSpPr>
        <p:sp>
          <p:nvSpPr>
            <p:cNvPr id="20" name="Freeform: Shape 19">
              <a:extLst>
                <a:ext uri="{FF2B5EF4-FFF2-40B4-BE49-F238E27FC236}">
                  <a16:creationId xmlns:a16="http://schemas.microsoft.com/office/drawing/2014/main" id="{5ED958CD-9479-4B73-A1A9-AE0F28EAF07F}"/>
                </a:ext>
              </a:extLst>
            </p:cNvPr>
            <p:cNvSpPr/>
            <p:nvPr/>
          </p:nvSpPr>
          <p:spPr>
            <a:xfrm rot="5400000">
              <a:off x="4564812" y="2711321"/>
              <a:ext cx="3337058" cy="1435358"/>
            </a:xfrm>
            <a:custGeom>
              <a:avLst/>
              <a:gdLst>
                <a:gd name="connsiteX0" fmla="*/ 0 w 3142406"/>
                <a:gd name="connsiteY0" fmla="*/ 243135 h 1351632"/>
                <a:gd name="connsiteX1" fmla="*/ 64931 w 3142406"/>
                <a:gd name="connsiteY1" fmla="*/ 266900 h 1351632"/>
                <a:gd name="connsiteX2" fmla="*/ 561553 w 3142406"/>
                <a:gd name="connsiteY2" fmla="*/ 341982 h 1351632"/>
                <a:gd name="connsiteX3" fmla="*/ 1495294 w 3142406"/>
                <a:gd name="connsiteY3" fmla="*/ 56764 h 1351632"/>
                <a:gd name="connsiteX4" fmla="*/ 1571203 w 3142406"/>
                <a:gd name="connsiteY4" fmla="*/ 0 h 1351632"/>
                <a:gd name="connsiteX5" fmla="*/ 1647112 w 3142406"/>
                <a:gd name="connsiteY5" fmla="*/ 56764 h 1351632"/>
                <a:gd name="connsiteX6" fmla="*/ 2580853 w 3142406"/>
                <a:gd name="connsiteY6" fmla="*/ 341982 h 1351632"/>
                <a:gd name="connsiteX7" fmla="*/ 3077475 w 3142406"/>
                <a:gd name="connsiteY7" fmla="*/ 266900 h 1351632"/>
                <a:gd name="connsiteX8" fmla="*/ 3142406 w 3142406"/>
                <a:gd name="connsiteY8" fmla="*/ 243135 h 1351632"/>
                <a:gd name="connsiteX9" fmla="*/ 3110012 w 3142406"/>
                <a:gd name="connsiteY9" fmla="*/ 331641 h 1351632"/>
                <a:gd name="connsiteX10" fmla="*/ 1571203 w 3142406"/>
                <a:gd name="connsiteY10" fmla="*/ 1351632 h 1351632"/>
                <a:gd name="connsiteX11" fmla="*/ 32394 w 3142406"/>
                <a:gd name="connsiteY11" fmla="*/ 331641 h 1351632"/>
                <a:gd name="connsiteX12" fmla="*/ 0 w 3142406"/>
                <a:gd name="connsiteY12" fmla="*/ 243135 h 135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42406" h="1351632">
                  <a:moveTo>
                    <a:pt x="0" y="243135"/>
                  </a:moveTo>
                  <a:lnTo>
                    <a:pt x="64931" y="266900"/>
                  </a:lnTo>
                  <a:cubicBezTo>
                    <a:pt x="221814" y="315696"/>
                    <a:pt x="388614" y="341982"/>
                    <a:pt x="561553" y="341982"/>
                  </a:cubicBezTo>
                  <a:cubicBezTo>
                    <a:pt x="907432" y="341982"/>
                    <a:pt x="1228752" y="236836"/>
                    <a:pt x="1495294" y="56764"/>
                  </a:cubicBezTo>
                  <a:lnTo>
                    <a:pt x="1571203" y="0"/>
                  </a:lnTo>
                  <a:lnTo>
                    <a:pt x="1647112" y="56764"/>
                  </a:lnTo>
                  <a:cubicBezTo>
                    <a:pt x="1913654" y="236836"/>
                    <a:pt x="2234975" y="341982"/>
                    <a:pt x="2580853" y="341982"/>
                  </a:cubicBezTo>
                  <a:cubicBezTo>
                    <a:pt x="2753792" y="341982"/>
                    <a:pt x="2920592" y="315696"/>
                    <a:pt x="3077475" y="266900"/>
                  </a:cubicBezTo>
                  <a:lnTo>
                    <a:pt x="3142406" y="243135"/>
                  </a:lnTo>
                  <a:lnTo>
                    <a:pt x="3110012" y="331641"/>
                  </a:lnTo>
                  <a:cubicBezTo>
                    <a:pt x="2856485" y="931047"/>
                    <a:pt x="2262960" y="1351632"/>
                    <a:pt x="1571203" y="1351632"/>
                  </a:cubicBezTo>
                  <a:cubicBezTo>
                    <a:pt x="879446" y="1351632"/>
                    <a:pt x="285921" y="931047"/>
                    <a:pt x="32394" y="331641"/>
                  </a:cubicBezTo>
                  <a:lnTo>
                    <a:pt x="0" y="243135"/>
                  </a:lnTo>
                  <a:close/>
                </a:path>
              </a:pathLst>
            </a:custGeom>
            <a:gradFill flip="none" rotWithShape="1">
              <a:gsLst>
                <a:gs pos="0">
                  <a:schemeClr val="accent1">
                    <a:lumMod val="60000"/>
                    <a:lumOff val="40000"/>
                    <a:alpha val="35000"/>
                  </a:schemeClr>
                </a:gs>
                <a:gs pos="100000">
                  <a:schemeClr val="accent1">
                    <a:alpha val="75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a:p>
          </p:txBody>
        </p:sp>
        <p:sp>
          <p:nvSpPr>
            <p:cNvPr id="31" name="TextBox 30">
              <a:extLst>
                <a:ext uri="{FF2B5EF4-FFF2-40B4-BE49-F238E27FC236}">
                  <a16:creationId xmlns:a16="http://schemas.microsoft.com/office/drawing/2014/main" id="{84A13F06-07BF-4F6F-A6A4-BD8DC88945D1}"/>
                </a:ext>
              </a:extLst>
            </p:cNvPr>
            <p:cNvSpPr txBox="1"/>
            <p:nvPr/>
          </p:nvSpPr>
          <p:spPr>
            <a:xfrm rot="16200000">
              <a:off x="6187400" y="2192746"/>
              <a:ext cx="2419340" cy="2472512"/>
            </a:xfrm>
            <a:prstGeom prst="rect">
              <a:avLst/>
            </a:prstGeom>
            <a:noFill/>
          </p:spPr>
          <p:txBody>
            <a:bodyPr wrap="none" rtlCol="0" anchor="ctr" anchorCtr="0">
              <a:prstTxWarp prst="textArchUp">
                <a:avLst/>
              </a:prstTxWarp>
              <a:spAutoFit/>
            </a:bodyPr>
            <a:lstStyle/>
            <a:p>
              <a:pPr algn="ctr"/>
              <a:r>
                <a:rPr lang="en-US" sz="1500" b="1" dirty="0">
                  <a:solidFill>
                    <a:schemeClr val="bg1"/>
                  </a:solidFill>
                  <a:latin typeface="Montserrat" panose="00000500000000000000" pitchFamily="50" charset="0"/>
                </a:rPr>
                <a:t>02</a:t>
              </a:r>
            </a:p>
            <a:p>
              <a:pPr algn="ctr"/>
              <a:r>
                <a:rPr lang="en-US" sz="1500" b="1" dirty="0">
                  <a:solidFill>
                    <a:schemeClr val="bg1"/>
                  </a:solidFill>
                  <a:latin typeface="Montserrat" panose="00000500000000000000" pitchFamily="50" charset="0"/>
                </a:rPr>
                <a:t>ADVERTISING</a:t>
              </a:r>
            </a:p>
          </p:txBody>
        </p:sp>
      </p:grpSp>
      <p:grpSp>
        <p:nvGrpSpPr>
          <p:cNvPr id="30" name="Group 29">
            <a:extLst>
              <a:ext uri="{FF2B5EF4-FFF2-40B4-BE49-F238E27FC236}">
                <a16:creationId xmlns:a16="http://schemas.microsoft.com/office/drawing/2014/main" id="{35A034E5-B2BA-47A0-83FB-ED6CBFE9098C}"/>
              </a:ext>
            </a:extLst>
          </p:cNvPr>
          <p:cNvGrpSpPr/>
          <p:nvPr/>
        </p:nvGrpSpPr>
        <p:grpSpPr>
          <a:xfrm>
            <a:off x="8084421" y="1760470"/>
            <a:ext cx="3117625" cy="3337059"/>
            <a:chOff x="8084421" y="1760470"/>
            <a:chExt cx="3117625" cy="3337059"/>
          </a:xfrm>
        </p:grpSpPr>
        <p:sp>
          <p:nvSpPr>
            <p:cNvPr id="19" name="Freeform: Shape 18">
              <a:extLst>
                <a:ext uri="{FF2B5EF4-FFF2-40B4-BE49-F238E27FC236}">
                  <a16:creationId xmlns:a16="http://schemas.microsoft.com/office/drawing/2014/main" id="{A59849A5-3250-4845-8AAE-4150DC32E8C5}"/>
                </a:ext>
              </a:extLst>
            </p:cNvPr>
            <p:cNvSpPr/>
            <p:nvPr/>
          </p:nvSpPr>
          <p:spPr>
            <a:xfrm rot="5400000">
              <a:off x="8815837" y="2711321"/>
              <a:ext cx="3337059" cy="1435358"/>
            </a:xfrm>
            <a:custGeom>
              <a:avLst/>
              <a:gdLst>
                <a:gd name="connsiteX0" fmla="*/ 0 w 3142406"/>
                <a:gd name="connsiteY0" fmla="*/ 1108497 h 1351632"/>
                <a:gd name="connsiteX1" fmla="*/ 32394 w 3142406"/>
                <a:gd name="connsiteY1" fmla="*/ 1019991 h 1351632"/>
                <a:gd name="connsiteX2" fmla="*/ 1571203 w 3142406"/>
                <a:gd name="connsiteY2" fmla="*/ 0 h 1351632"/>
                <a:gd name="connsiteX3" fmla="*/ 3110012 w 3142406"/>
                <a:gd name="connsiteY3" fmla="*/ 1019991 h 1351632"/>
                <a:gd name="connsiteX4" fmla="*/ 3142406 w 3142406"/>
                <a:gd name="connsiteY4" fmla="*/ 1108497 h 1351632"/>
                <a:gd name="connsiteX5" fmla="*/ 3077475 w 3142406"/>
                <a:gd name="connsiteY5" fmla="*/ 1084732 h 1351632"/>
                <a:gd name="connsiteX6" fmla="*/ 2580853 w 3142406"/>
                <a:gd name="connsiteY6" fmla="*/ 1009650 h 1351632"/>
                <a:gd name="connsiteX7" fmla="*/ 1647112 w 3142406"/>
                <a:gd name="connsiteY7" fmla="*/ 1294868 h 1351632"/>
                <a:gd name="connsiteX8" fmla="*/ 1571203 w 3142406"/>
                <a:gd name="connsiteY8" fmla="*/ 1351632 h 1351632"/>
                <a:gd name="connsiteX9" fmla="*/ 1495294 w 3142406"/>
                <a:gd name="connsiteY9" fmla="*/ 1294868 h 1351632"/>
                <a:gd name="connsiteX10" fmla="*/ 561553 w 3142406"/>
                <a:gd name="connsiteY10" fmla="*/ 1009650 h 1351632"/>
                <a:gd name="connsiteX11" fmla="*/ 64931 w 3142406"/>
                <a:gd name="connsiteY11" fmla="*/ 1084732 h 1351632"/>
                <a:gd name="connsiteX12" fmla="*/ 0 w 3142406"/>
                <a:gd name="connsiteY12" fmla="*/ 1108497 h 135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42406" h="1351632">
                  <a:moveTo>
                    <a:pt x="0" y="1108497"/>
                  </a:moveTo>
                  <a:lnTo>
                    <a:pt x="32394" y="1019991"/>
                  </a:lnTo>
                  <a:cubicBezTo>
                    <a:pt x="285921" y="420585"/>
                    <a:pt x="879446" y="0"/>
                    <a:pt x="1571203" y="0"/>
                  </a:cubicBezTo>
                  <a:cubicBezTo>
                    <a:pt x="2262960" y="0"/>
                    <a:pt x="2856485" y="420585"/>
                    <a:pt x="3110012" y="1019991"/>
                  </a:cubicBezTo>
                  <a:lnTo>
                    <a:pt x="3142406" y="1108497"/>
                  </a:lnTo>
                  <a:lnTo>
                    <a:pt x="3077475" y="1084732"/>
                  </a:lnTo>
                  <a:cubicBezTo>
                    <a:pt x="2920592" y="1035936"/>
                    <a:pt x="2753793" y="1009650"/>
                    <a:pt x="2580853" y="1009650"/>
                  </a:cubicBezTo>
                  <a:cubicBezTo>
                    <a:pt x="2234975" y="1009650"/>
                    <a:pt x="1913654" y="1114796"/>
                    <a:pt x="1647112" y="1294868"/>
                  </a:cubicBezTo>
                  <a:lnTo>
                    <a:pt x="1571203" y="1351632"/>
                  </a:lnTo>
                  <a:lnTo>
                    <a:pt x="1495294" y="1294868"/>
                  </a:lnTo>
                  <a:cubicBezTo>
                    <a:pt x="1228752" y="1114796"/>
                    <a:pt x="907432" y="1009650"/>
                    <a:pt x="561553" y="1009650"/>
                  </a:cubicBezTo>
                  <a:cubicBezTo>
                    <a:pt x="388614" y="1009650"/>
                    <a:pt x="221814" y="1035936"/>
                    <a:pt x="64931" y="1084732"/>
                  </a:cubicBezTo>
                  <a:lnTo>
                    <a:pt x="0" y="1108497"/>
                  </a:lnTo>
                  <a:close/>
                </a:path>
              </a:pathLst>
            </a:custGeom>
            <a:gradFill flip="none" rotWithShape="1">
              <a:gsLst>
                <a:gs pos="0">
                  <a:schemeClr val="accent1">
                    <a:lumMod val="60000"/>
                    <a:lumOff val="40000"/>
                    <a:alpha val="35000"/>
                  </a:schemeClr>
                </a:gs>
                <a:gs pos="100000">
                  <a:schemeClr val="accent1">
                    <a:alpha val="75000"/>
                  </a:scheme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a:p>
          </p:txBody>
        </p:sp>
        <p:sp>
          <p:nvSpPr>
            <p:cNvPr id="33" name="TextBox 32">
              <a:extLst>
                <a:ext uri="{FF2B5EF4-FFF2-40B4-BE49-F238E27FC236}">
                  <a16:creationId xmlns:a16="http://schemas.microsoft.com/office/drawing/2014/main" id="{0BEB1B0D-F341-492D-8186-8510BA9265D9}"/>
                </a:ext>
              </a:extLst>
            </p:cNvPr>
            <p:cNvSpPr txBox="1"/>
            <p:nvPr/>
          </p:nvSpPr>
          <p:spPr>
            <a:xfrm rot="5400000">
              <a:off x="8111006" y="2192751"/>
              <a:ext cx="2419336" cy="2472506"/>
            </a:xfrm>
            <a:prstGeom prst="rect">
              <a:avLst/>
            </a:prstGeom>
            <a:noFill/>
          </p:spPr>
          <p:txBody>
            <a:bodyPr wrap="none" rtlCol="0" anchor="ctr" anchorCtr="0">
              <a:prstTxWarp prst="textArchUp">
                <a:avLst/>
              </a:prstTxWarp>
              <a:spAutoFit/>
            </a:bodyPr>
            <a:lstStyle/>
            <a:p>
              <a:pPr algn="ctr"/>
              <a:r>
                <a:rPr lang="en-US" sz="1500" b="1" dirty="0">
                  <a:solidFill>
                    <a:schemeClr val="bg1"/>
                  </a:solidFill>
                  <a:latin typeface="Montserrat" panose="00000500000000000000" pitchFamily="50" charset="0"/>
                </a:rPr>
                <a:t>04</a:t>
              </a:r>
            </a:p>
            <a:p>
              <a:pPr algn="ctr"/>
              <a:r>
                <a:rPr lang="en-US" sz="1500" b="1" dirty="0">
                  <a:solidFill>
                    <a:schemeClr val="bg1"/>
                  </a:solidFill>
                  <a:latin typeface="Montserrat" panose="00000500000000000000" pitchFamily="50" charset="0"/>
                </a:rPr>
                <a:t>LEAD GEN</a:t>
              </a:r>
            </a:p>
          </p:txBody>
        </p:sp>
      </p:grpSp>
      <p:grpSp>
        <p:nvGrpSpPr>
          <p:cNvPr id="29" name="Group 28">
            <a:extLst>
              <a:ext uri="{FF2B5EF4-FFF2-40B4-BE49-F238E27FC236}">
                <a16:creationId xmlns:a16="http://schemas.microsoft.com/office/drawing/2014/main" id="{7A409BE1-A960-4684-80AE-D94990689C98}"/>
              </a:ext>
            </a:extLst>
          </p:cNvPr>
          <p:cNvGrpSpPr/>
          <p:nvPr/>
        </p:nvGrpSpPr>
        <p:grpSpPr>
          <a:xfrm>
            <a:off x="6690331" y="3108052"/>
            <a:ext cx="3337060" cy="3164137"/>
            <a:chOff x="6690331" y="3108052"/>
            <a:chExt cx="3337060" cy="3164137"/>
          </a:xfrm>
        </p:grpSpPr>
        <p:sp>
          <p:nvSpPr>
            <p:cNvPr id="14" name="Freeform: Shape 13">
              <a:extLst>
                <a:ext uri="{FF2B5EF4-FFF2-40B4-BE49-F238E27FC236}">
                  <a16:creationId xmlns:a16="http://schemas.microsoft.com/office/drawing/2014/main" id="{96381EF1-FD56-4734-BAAC-FF1C30C46589}"/>
                </a:ext>
              </a:extLst>
            </p:cNvPr>
            <p:cNvSpPr/>
            <p:nvPr/>
          </p:nvSpPr>
          <p:spPr>
            <a:xfrm rot="5400000">
              <a:off x="7641182" y="3885981"/>
              <a:ext cx="1435357" cy="3337060"/>
            </a:xfrm>
            <a:custGeom>
              <a:avLst/>
              <a:gdLst>
                <a:gd name="connsiteX0" fmla="*/ 0 w 1351632"/>
                <a:gd name="connsiteY0" fmla="*/ 1571203 h 3142406"/>
                <a:gd name="connsiteX1" fmla="*/ 56764 w 1351632"/>
                <a:gd name="connsiteY1" fmla="*/ 1495294 h 3142406"/>
                <a:gd name="connsiteX2" fmla="*/ 341982 w 1351632"/>
                <a:gd name="connsiteY2" fmla="*/ 561553 h 3142406"/>
                <a:gd name="connsiteX3" fmla="*/ 266900 w 1351632"/>
                <a:gd name="connsiteY3" fmla="*/ 64931 h 3142406"/>
                <a:gd name="connsiteX4" fmla="*/ 243135 w 1351632"/>
                <a:gd name="connsiteY4" fmla="*/ 0 h 3142406"/>
                <a:gd name="connsiteX5" fmla="*/ 331641 w 1351632"/>
                <a:gd name="connsiteY5" fmla="*/ 32394 h 3142406"/>
                <a:gd name="connsiteX6" fmla="*/ 1351632 w 1351632"/>
                <a:gd name="connsiteY6" fmla="*/ 1571203 h 3142406"/>
                <a:gd name="connsiteX7" fmla="*/ 331641 w 1351632"/>
                <a:gd name="connsiteY7" fmla="*/ 3110012 h 3142406"/>
                <a:gd name="connsiteX8" fmla="*/ 243135 w 1351632"/>
                <a:gd name="connsiteY8" fmla="*/ 3142406 h 3142406"/>
                <a:gd name="connsiteX9" fmla="*/ 266900 w 1351632"/>
                <a:gd name="connsiteY9" fmla="*/ 3077475 h 3142406"/>
                <a:gd name="connsiteX10" fmla="*/ 341982 w 1351632"/>
                <a:gd name="connsiteY10" fmla="*/ 2580853 h 3142406"/>
                <a:gd name="connsiteX11" fmla="*/ 56764 w 1351632"/>
                <a:gd name="connsiteY11" fmla="*/ 1647112 h 3142406"/>
                <a:gd name="connsiteX12" fmla="*/ 0 w 1351632"/>
                <a:gd name="connsiteY12" fmla="*/ 1571203 h 3142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1632" h="3142406">
                  <a:moveTo>
                    <a:pt x="0" y="1571203"/>
                  </a:moveTo>
                  <a:lnTo>
                    <a:pt x="56764" y="1495294"/>
                  </a:lnTo>
                  <a:cubicBezTo>
                    <a:pt x="236835" y="1228752"/>
                    <a:pt x="341982" y="907431"/>
                    <a:pt x="341982" y="561553"/>
                  </a:cubicBezTo>
                  <a:cubicBezTo>
                    <a:pt x="341982" y="388613"/>
                    <a:pt x="315695" y="221814"/>
                    <a:pt x="266900" y="64931"/>
                  </a:cubicBezTo>
                  <a:lnTo>
                    <a:pt x="243135" y="0"/>
                  </a:lnTo>
                  <a:lnTo>
                    <a:pt x="331641" y="32394"/>
                  </a:lnTo>
                  <a:cubicBezTo>
                    <a:pt x="931047" y="285921"/>
                    <a:pt x="1351632" y="879446"/>
                    <a:pt x="1351632" y="1571203"/>
                  </a:cubicBezTo>
                  <a:cubicBezTo>
                    <a:pt x="1351632" y="2262960"/>
                    <a:pt x="931047" y="2856485"/>
                    <a:pt x="331641" y="3110012"/>
                  </a:cubicBezTo>
                  <a:lnTo>
                    <a:pt x="243135" y="3142406"/>
                  </a:lnTo>
                  <a:lnTo>
                    <a:pt x="266900" y="3077475"/>
                  </a:lnTo>
                  <a:cubicBezTo>
                    <a:pt x="315695" y="2920592"/>
                    <a:pt x="341982" y="2753793"/>
                    <a:pt x="341982" y="2580853"/>
                  </a:cubicBezTo>
                  <a:cubicBezTo>
                    <a:pt x="341982" y="2234975"/>
                    <a:pt x="236835" y="1913654"/>
                    <a:pt x="56764" y="1647112"/>
                  </a:cubicBezTo>
                  <a:lnTo>
                    <a:pt x="0" y="1571203"/>
                  </a:lnTo>
                  <a:close/>
                </a:path>
              </a:pathLst>
            </a:custGeom>
            <a:gradFill flip="none" rotWithShape="1">
              <a:gsLst>
                <a:gs pos="0">
                  <a:schemeClr val="accent1">
                    <a:lumMod val="60000"/>
                    <a:lumOff val="40000"/>
                    <a:alpha val="35000"/>
                  </a:schemeClr>
                </a:gs>
                <a:gs pos="100000">
                  <a:schemeClr val="accent1">
                    <a:alpha val="75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a:p>
          </p:txBody>
        </p:sp>
        <p:sp>
          <p:nvSpPr>
            <p:cNvPr id="36" name="TextBox 35">
              <a:extLst>
                <a:ext uri="{FF2B5EF4-FFF2-40B4-BE49-F238E27FC236}">
                  <a16:creationId xmlns:a16="http://schemas.microsoft.com/office/drawing/2014/main" id="{DF4EE970-4121-45C9-B1CE-0FDCF099BC5A}"/>
                </a:ext>
              </a:extLst>
            </p:cNvPr>
            <p:cNvSpPr txBox="1"/>
            <p:nvPr/>
          </p:nvSpPr>
          <p:spPr>
            <a:xfrm>
              <a:off x="7082167" y="3108052"/>
              <a:ext cx="2553422" cy="2591508"/>
            </a:xfrm>
            <a:prstGeom prst="rect">
              <a:avLst/>
            </a:prstGeom>
            <a:noFill/>
          </p:spPr>
          <p:txBody>
            <a:bodyPr wrap="none" rtlCol="0" anchor="ctr" anchorCtr="0">
              <a:prstTxWarp prst="textArchDown">
                <a:avLst/>
              </a:prstTxWarp>
              <a:spAutoFit/>
            </a:bodyPr>
            <a:lstStyle/>
            <a:p>
              <a:pPr algn="ctr"/>
              <a:r>
                <a:rPr lang="en-US" sz="1500" b="1" dirty="0">
                  <a:solidFill>
                    <a:schemeClr val="bg1"/>
                  </a:solidFill>
                  <a:latin typeface="Montserrat" panose="00000500000000000000" pitchFamily="50" charset="0"/>
                </a:rPr>
                <a:t>WEBSITE</a:t>
              </a:r>
            </a:p>
            <a:p>
              <a:pPr algn="ctr"/>
              <a:r>
                <a:rPr lang="en-US" sz="1500" b="1" dirty="0">
                  <a:solidFill>
                    <a:schemeClr val="bg1"/>
                  </a:solidFill>
                  <a:latin typeface="Montserrat" panose="00000500000000000000" pitchFamily="50" charset="0"/>
                </a:rPr>
                <a:t>03</a:t>
              </a:r>
            </a:p>
          </p:txBody>
        </p:sp>
      </p:grpSp>
      <p:grpSp>
        <p:nvGrpSpPr>
          <p:cNvPr id="27" name="Group 26">
            <a:extLst>
              <a:ext uri="{FF2B5EF4-FFF2-40B4-BE49-F238E27FC236}">
                <a16:creationId xmlns:a16="http://schemas.microsoft.com/office/drawing/2014/main" id="{4036A045-4DCE-49D1-BF73-5BD2B29A45FF}"/>
              </a:ext>
            </a:extLst>
          </p:cNvPr>
          <p:cNvGrpSpPr/>
          <p:nvPr/>
        </p:nvGrpSpPr>
        <p:grpSpPr>
          <a:xfrm>
            <a:off x="6690332" y="585797"/>
            <a:ext cx="3337060" cy="3096113"/>
            <a:chOff x="6690332" y="585797"/>
            <a:chExt cx="3337060" cy="3096113"/>
          </a:xfrm>
        </p:grpSpPr>
        <p:sp>
          <p:nvSpPr>
            <p:cNvPr id="21" name="Freeform: Shape 20">
              <a:extLst>
                <a:ext uri="{FF2B5EF4-FFF2-40B4-BE49-F238E27FC236}">
                  <a16:creationId xmlns:a16="http://schemas.microsoft.com/office/drawing/2014/main" id="{31D8CE06-1922-4F53-9AFF-9017519E602A}"/>
                </a:ext>
              </a:extLst>
            </p:cNvPr>
            <p:cNvSpPr/>
            <p:nvPr/>
          </p:nvSpPr>
          <p:spPr>
            <a:xfrm rot="5400000">
              <a:off x="7641183" y="-365054"/>
              <a:ext cx="1435357" cy="3337060"/>
            </a:xfrm>
            <a:custGeom>
              <a:avLst/>
              <a:gdLst>
                <a:gd name="connsiteX0" fmla="*/ 0 w 1351632"/>
                <a:gd name="connsiteY0" fmla="*/ 1571203 h 3142406"/>
                <a:gd name="connsiteX1" fmla="*/ 1019991 w 1351632"/>
                <a:gd name="connsiteY1" fmla="*/ 32394 h 3142406"/>
                <a:gd name="connsiteX2" fmla="*/ 1108497 w 1351632"/>
                <a:gd name="connsiteY2" fmla="*/ 0 h 3142406"/>
                <a:gd name="connsiteX3" fmla="*/ 1084732 w 1351632"/>
                <a:gd name="connsiteY3" fmla="*/ 64931 h 3142406"/>
                <a:gd name="connsiteX4" fmla="*/ 1009650 w 1351632"/>
                <a:gd name="connsiteY4" fmla="*/ 561553 h 3142406"/>
                <a:gd name="connsiteX5" fmla="*/ 1294868 w 1351632"/>
                <a:gd name="connsiteY5" fmla="*/ 1495294 h 3142406"/>
                <a:gd name="connsiteX6" fmla="*/ 1351632 w 1351632"/>
                <a:gd name="connsiteY6" fmla="*/ 1571203 h 3142406"/>
                <a:gd name="connsiteX7" fmla="*/ 1294868 w 1351632"/>
                <a:gd name="connsiteY7" fmla="*/ 1647112 h 3142406"/>
                <a:gd name="connsiteX8" fmla="*/ 1009650 w 1351632"/>
                <a:gd name="connsiteY8" fmla="*/ 2580853 h 3142406"/>
                <a:gd name="connsiteX9" fmla="*/ 1084732 w 1351632"/>
                <a:gd name="connsiteY9" fmla="*/ 3077475 h 3142406"/>
                <a:gd name="connsiteX10" fmla="*/ 1108497 w 1351632"/>
                <a:gd name="connsiteY10" fmla="*/ 3142406 h 3142406"/>
                <a:gd name="connsiteX11" fmla="*/ 1019991 w 1351632"/>
                <a:gd name="connsiteY11" fmla="*/ 3110012 h 3142406"/>
                <a:gd name="connsiteX12" fmla="*/ 0 w 1351632"/>
                <a:gd name="connsiteY12" fmla="*/ 1571203 h 3142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1632" h="3142406">
                  <a:moveTo>
                    <a:pt x="0" y="1571203"/>
                  </a:moveTo>
                  <a:cubicBezTo>
                    <a:pt x="0" y="879446"/>
                    <a:pt x="420585" y="285921"/>
                    <a:pt x="1019991" y="32394"/>
                  </a:cubicBezTo>
                  <a:lnTo>
                    <a:pt x="1108497" y="0"/>
                  </a:lnTo>
                  <a:lnTo>
                    <a:pt x="1084732" y="64931"/>
                  </a:lnTo>
                  <a:cubicBezTo>
                    <a:pt x="1035937" y="221814"/>
                    <a:pt x="1009650" y="388613"/>
                    <a:pt x="1009650" y="561553"/>
                  </a:cubicBezTo>
                  <a:cubicBezTo>
                    <a:pt x="1009650" y="907431"/>
                    <a:pt x="1114796" y="1228752"/>
                    <a:pt x="1294868" y="1495294"/>
                  </a:cubicBezTo>
                  <a:lnTo>
                    <a:pt x="1351632" y="1571203"/>
                  </a:lnTo>
                  <a:lnTo>
                    <a:pt x="1294868" y="1647112"/>
                  </a:lnTo>
                  <a:cubicBezTo>
                    <a:pt x="1114796" y="1913654"/>
                    <a:pt x="1009650" y="2234975"/>
                    <a:pt x="1009650" y="2580853"/>
                  </a:cubicBezTo>
                  <a:cubicBezTo>
                    <a:pt x="1009650" y="2753793"/>
                    <a:pt x="1035937" y="2920592"/>
                    <a:pt x="1084732" y="3077475"/>
                  </a:cubicBezTo>
                  <a:lnTo>
                    <a:pt x="1108497" y="3142406"/>
                  </a:lnTo>
                  <a:lnTo>
                    <a:pt x="1019991" y="3110012"/>
                  </a:lnTo>
                  <a:cubicBezTo>
                    <a:pt x="420585" y="2856485"/>
                    <a:pt x="0" y="2262960"/>
                    <a:pt x="0" y="1571203"/>
                  </a:cubicBezTo>
                  <a:close/>
                </a:path>
              </a:pathLst>
            </a:custGeom>
            <a:gradFill flip="none" rotWithShape="1">
              <a:gsLst>
                <a:gs pos="0">
                  <a:schemeClr val="accent1">
                    <a:lumMod val="60000"/>
                    <a:lumOff val="40000"/>
                    <a:alpha val="35000"/>
                  </a:schemeClr>
                </a:gs>
                <a:gs pos="100000">
                  <a:schemeClr val="accent1">
                    <a:alpha val="75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dirty="0"/>
            </a:p>
          </p:txBody>
        </p:sp>
        <p:sp>
          <p:nvSpPr>
            <p:cNvPr id="37" name="TextBox 36">
              <a:extLst>
                <a:ext uri="{FF2B5EF4-FFF2-40B4-BE49-F238E27FC236}">
                  <a16:creationId xmlns:a16="http://schemas.microsoft.com/office/drawing/2014/main" id="{08295F3F-08CB-4A0A-9EE2-CA3760BC6DEB}"/>
                </a:ext>
              </a:extLst>
            </p:cNvPr>
            <p:cNvSpPr txBox="1"/>
            <p:nvPr/>
          </p:nvSpPr>
          <p:spPr>
            <a:xfrm>
              <a:off x="7149215" y="1226484"/>
              <a:ext cx="2419332" cy="2455426"/>
            </a:xfrm>
            <a:prstGeom prst="rect">
              <a:avLst/>
            </a:prstGeom>
            <a:noFill/>
          </p:spPr>
          <p:txBody>
            <a:bodyPr wrap="none" rtlCol="0" anchor="ctr" anchorCtr="0">
              <a:prstTxWarp prst="textArchUp">
                <a:avLst/>
              </a:prstTxWarp>
              <a:spAutoFit/>
            </a:bodyPr>
            <a:lstStyle/>
            <a:p>
              <a:pPr algn="ctr"/>
              <a:r>
                <a:rPr lang="en-US" sz="1500" b="1" dirty="0">
                  <a:solidFill>
                    <a:schemeClr val="bg1"/>
                  </a:solidFill>
                  <a:latin typeface="Montserrat" panose="00000500000000000000" pitchFamily="50" charset="0"/>
                </a:rPr>
                <a:t>01</a:t>
              </a:r>
            </a:p>
            <a:p>
              <a:pPr algn="ctr"/>
              <a:r>
                <a:rPr lang="en-US" sz="1500" b="1" dirty="0">
                  <a:solidFill>
                    <a:schemeClr val="bg1"/>
                  </a:solidFill>
                  <a:latin typeface="Montserrat" panose="00000500000000000000" pitchFamily="50" charset="0"/>
                </a:rPr>
                <a:t>STORES</a:t>
              </a:r>
            </a:p>
          </p:txBody>
        </p:sp>
      </p:grpSp>
      <p:grpSp>
        <p:nvGrpSpPr>
          <p:cNvPr id="7" name="Group 6">
            <a:extLst>
              <a:ext uri="{FF2B5EF4-FFF2-40B4-BE49-F238E27FC236}">
                <a16:creationId xmlns:a16="http://schemas.microsoft.com/office/drawing/2014/main" id="{C11846EF-17B0-43DD-ACBF-6949DA3FFD51}"/>
              </a:ext>
            </a:extLst>
          </p:cNvPr>
          <p:cNvGrpSpPr/>
          <p:nvPr/>
        </p:nvGrpSpPr>
        <p:grpSpPr>
          <a:xfrm>
            <a:off x="8354857" y="1659499"/>
            <a:ext cx="1773503" cy="1773503"/>
            <a:chOff x="8354857" y="1659499"/>
            <a:chExt cx="1773503" cy="1773503"/>
          </a:xfrm>
        </p:grpSpPr>
        <p:sp>
          <p:nvSpPr>
            <p:cNvPr id="25" name="Freeform: Shape 24">
              <a:extLst>
                <a:ext uri="{FF2B5EF4-FFF2-40B4-BE49-F238E27FC236}">
                  <a16:creationId xmlns:a16="http://schemas.microsoft.com/office/drawing/2014/main" id="{887E64E5-A127-4548-BCB8-3D7B621D8E2B}"/>
                </a:ext>
              </a:extLst>
            </p:cNvPr>
            <p:cNvSpPr/>
            <p:nvPr/>
          </p:nvSpPr>
          <p:spPr>
            <a:xfrm rot="5400000">
              <a:off x="8354857" y="1659499"/>
              <a:ext cx="1773503" cy="1773503"/>
            </a:xfrm>
            <a:custGeom>
              <a:avLst/>
              <a:gdLst>
                <a:gd name="connsiteX0" fmla="*/ 0 w 1670050"/>
                <a:gd name="connsiteY0" fmla="*/ 660400 h 1670050"/>
                <a:gd name="connsiteX1" fmla="*/ 75082 w 1670050"/>
                <a:gd name="connsiteY1" fmla="*/ 163778 h 1670050"/>
                <a:gd name="connsiteX2" fmla="*/ 98847 w 1670050"/>
                <a:gd name="connsiteY2" fmla="*/ 98847 h 1670050"/>
                <a:gd name="connsiteX3" fmla="*/ 163778 w 1670050"/>
                <a:gd name="connsiteY3" fmla="*/ 75082 h 1670050"/>
                <a:gd name="connsiteX4" fmla="*/ 660400 w 1670050"/>
                <a:gd name="connsiteY4" fmla="*/ 0 h 1670050"/>
                <a:gd name="connsiteX5" fmla="*/ 1594141 w 1670050"/>
                <a:gd name="connsiteY5" fmla="*/ 285218 h 1670050"/>
                <a:gd name="connsiteX6" fmla="*/ 1670050 w 1670050"/>
                <a:gd name="connsiteY6" fmla="*/ 341982 h 1670050"/>
                <a:gd name="connsiteX7" fmla="*/ 1617393 w 1670050"/>
                <a:gd name="connsiteY7" fmla="*/ 381358 h 1670050"/>
                <a:gd name="connsiteX8" fmla="*/ 1140891 w 1670050"/>
                <a:gd name="connsiteY8" fmla="*/ 1019991 h 1670050"/>
                <a:gd name="connsiteX9" fmla="*/ 1108497 w 1670050"/>
                <a:gd name="connsiteY9" fmla="*/ 1108497 h 1670050"/>
                <a:gd name="connsiteX10" fmla="*/ 1019991 w 1670050"/>
                <a:gd name="connsiteY10" fmla="*/ 1140891 h 1670050"/>
                <a:gd name="connsiteX11" fmla="*/ 381358 w 1670050"/>
                <a:gd name="connsiteY11" fmla="*/ 1617393 h 1670050"/>
                <a:gd name="connsiteX12" fmla="*/ 341982 w 1670050"/>
                <a:gd name="connsiteY12" fmla="*/ 1670050 h 1670050"/>
                <a:gd name="connsiteX13" fmla="*/ 285218 w 1670050"/>
                <a:gd name="connsiteY13" fmla="*/ 1594141 h 1670050"/>
                <a:gd name="connsiteX14" fmla="*/ 0 w 1670050"/>
                <a:gd name="connsiteY14" fmla="*/ 660400 h 167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70050" h="1670050">
                  <a:moveTo>
                    <a:pt x="0" y="660400"/>
                  </a:moveTo>
                  <a:cubicBezTo>
                    <a:pt x="0" y="487460"/>
                    <a:pt x="26287" y="320661"/>
                    <a:pt x="75082" y="163778"/>
                  </a:cubicBezTo>
                  <a:lnTo>
                    <a:pt x="98847" y="98847"/>
                  </a:lnTo>
                  <a:lnTo>
                    <a:pt x="163778" y="75082"/>
                  </a:lnTo>
                  <a:cubicBezTo>
                    <a:pt x="320661" y="26286"/>
                    <a:pt x="487461" y="0"/>
                    <a:pt x="660400" y="0"/>
                  </a:cubicBezTo>
                  <a:cubicBezTo>
                    <a:pt x="1006279" y="0"/>
                    <a:pt x="1327599" y="105146"/>
                    <a:pt x="1594141" y="285218"/>
                  </a:cubicBezTo>
                  <a:lnTo>
                    <a:pt x="1670050" y="341982"/>
                  </a:lnTo>
                  <a:lnTo>
                    <a:pt x="1617393" y="381358"/>
                  </a:lnTo>
                  <a:cubicBezTo>
                    <a:pt x="1411191" y="551531"/>
                    <a:pt x="1246527" y="770238"/>
                    <a:pt x="1140891" y="1019991"/>
                  </a:cubicBezTo>
                  <a:lnTo>
                    <a:pt x="1108497" y="1108497"/>
                  </a:lnTo>
                  <a:lnTo>
                    <a:pt x="1019991" y="1140891"/>
                  </a:lnTo>
                  <a:cubicBezTo>
                    <a:pt x="770239" y="1246528"/>
                    <a:pt x="551532" y="1411191"/>
                    <a:pt x="381358" y="1617393"/>
                  </a:cubicBezTo>
                  <a:lnTo>
                    <a:pt x="341982" y="1670050"/>
                  </a:lnTo>
                  <a:lnTo>
                    <a:pt x="285218" y="1594141"/>
                  </a:lnTo>
                  <a:cubicBezTo>
                    <a:pt x="105146" y="1327599"/>
                    <a:pt x="0" y="1006278"/>
                    <a:pt x="0" y="660400"/>
                  </a:cubicBezTo>
                  <a:close/>
                </a:path>
              </a:pathLst>
            </a:custGeom>
            <a:gradFill flip="none" rotWithShape="1">
              <a:gsLst>
                <a:gs pos="0">
                  <a:schemeClr val="accent3"/>
                </a:gs>
                <a:gs pos="100000">
                  <a:schemeClr val="accent3"/>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a:p>
          </p:txBody>
        </p:sp>
        <p:sp>
          <p:nvSpPr>
            <p:cNvPr id="40" name="TextBox 39">
              <a:extLst>
                <a:ext uri="{FF2B5EF4-FFF2-40B4-BE49-F238E27FC236}">
                  <a16:creationId xmlns:a16="http://schemas.microsoft.com/office/drawing/2014/main" id="{2BF43AC5-16A0-4176-A557-70B87E030E53}"/>
                </a:ext>
              </a:extLst>
            </p:cNvPr>
            <p:cNvSpPr txBox="1"/>
            <p:nvPr/>
          </p:nvSpPr>
          <p:spPr>
            <a:xfrm>
              <a:off x="9025454" y="1861889"/>
              <a:ext cx="986167" cy="891911"/>
            </a:xfrm>
            <a:prstGeom prst="rect">
              <a:avLst/>
            </a:prstGeom>
            <a:noFill/>
          </p:spPr>
          <p:txBody>
            <a:bodyPr wrap="none" rtlCol="0" anchor="ctr" anchorCtr="0">
              <a:spAutoFit/>
            </a:bodyPr>
            <a:lstStyle/>
            <a:p>
              <a:pPr algn="ctr">
                <a:lnSpc>
                  <a:spcPts val="1600"/>
                </a:lnSpc>
              </a:pPr>
              <a:r>
                <a:rPr lang="en-US" sz="1000" dirty="0">
                  <a:solidFill>
                    <a:schemeClr val="bg1"/>
                  </a:solidFill>
                  <a:latin typeface="Montserrat" panose="00000500000000000000" pitchFamily="50" charset="0"/>
                </a:rPr>
                <a:t>Direct mail</a:t>
              </a:r>
            </a:p>
            <a:p>
              <a:pPr algn="ctr">
                <a:lnSpc>
                  <a:spcPts val="1600"/>
                </a:lnSpc>
              </a:pPr>
              <a:r>
                <a:rPr lang="en-US" sz="1000" dirty="0">
                  <a:solidFill>
                    <a:schemeClr val="bg1"/>
                  </a:solidFill>
                  <a:latin typeface="Montserrat" panose="00000500000000000000" pitchFamily="50" charset="0"/>
                </a:rPr>
                <a:t>Catalogues</a:t>
              </a:r>
            </a:p>
            <a:p>
              <a:pPr algn="ctr">
                <a:lnSpc>
                  <a:spcPts val="1600"/>
                </a:lnSpc>
              </a:pPr>
              <a:r>
                <a:rPr lang="en-US" sz="1000" dirty="0">
                  <a:solidFill>
                    <a:schemeClr val="bg1"/>
                  </a:solidFill>
                  <a:latin typeface="Montserrat" panose="00000500000000000000" pitchFamily="50" charset="0"/>
                </a:rPr>
                <a:t>Magazines</a:t>
              </a:r>
            </a:p>
            <a:p>
              <a:pPr algn="ctr">
                <a:lnSpc>
                  <a:spcPts val="1600"/>
                </a:lnSpc>
              </a:pPr>
              <a:r>
                <a:rPr lang="en-US" sz="1000" dirty="0">
                  <a:solidFill>
                    <a:schemeClr val="bg1"/>
                  </a:solidFill>
                  <a:latin typeface="Montserrat" panose="00000500000000000000" pitchFamily="50" charset="0"/>
                </a:rPr>
                <a:t>Point of Sale</a:t>
              </a:r>
            </a:p>
          </p:txBody>
        </p:sp>
      </p:grpSp>
      <p:grpSp>
        <p:nvGrpSpPr>
          <p:cNvPr id="8" name="Group 7">
            <a:extLst>
              <a:ext uri="{FF2B5EF4-FFF2-40B4-BE49-F238E27FC236}">
                <a16:creationId xmlns:a16="http://schemas.microsoft.com/office/drawing/2014/main" id="{8A8789C8-75CC-4BF3-BC3A-827D33EDC067}"/>
              </a:ext>
            </a:extLst>
          </p:cNvPr>
          <p:cNvGrpSpPr/>
          <p:nvPr/>
        </p:nvGrpSpPr>
        <p:grpSpPr>
          <a:xfrm>
            <a:off x="6589370" y="1659501"/>
            <a:ext cx="1773503" cy="1773503"/>
            <a:chOff x="6589370" y="1659501"/>
            <a:chExt cx="1773503" cy="1773503"/>
          </a:xfrm>
        </p:grpSpPr>
        <p:sp>
          <p:nvSpPr>
            <p:cNvPr id="26" name="Freeform: Shape 25">
              <a:extLst>
                <a:ext uri="{FF2B5EF4-FFF2-40B4-BE49-F238E27FC236}">
                  <a16:creationId xmlns:a16="http://schemas.microsoft.com/office/drawing/2014/main" id="{A5121EDB-85B3-4D4D-A61C-6834D4DBF784}"/>
                </a:ext>
              </a:extLst>
            </p:cNvPr>
            <p:cNvSpPr/>
            <p:nvPr/>
          </p:nvSpPr>
          <p:spPr>
            <a:xfrm rot="5400000">
              <a:off x="6589370" y="1659501"/>
              <a:ext cx="1773503" cy="1773503"/>
            </a:xfrm>
            <a:custGeom>
              <a:avLst/>
              <a:gdLst>
                <a:gd name="connsiteX0" fmla="*/ 0 w 1670050"/>
                <a:gd name="connsiteY0" fmla="*/ 1009650 h 1670050"/>
                <a:gd name="connsiteX1" fmla="*/ 285218 w 1670050"/>
                <a:gd name="connsiteY1" fmla="*/ 75909 h 1670050"/>
                <a:gd name="connsiteX2" fmla="*/ 341982 w 1670050"/>
                <a:gd name="connsiteY2" fmla="*/ 0 h 1670050"/>
                <a:gd name="connsiteX3" fmla="*/ 381358 w 1670050"/>
                <a:gd name="connsiteY3" fmla="*/ 52657 h 1670050"/>
                <a:gd name="connsiteX4" fmla="*/ 1019991 w 1670050"/>
                <a:gd name="connsiteY4" fmla="*/ 529159 h 1670050"/>
                <a:gd name="connsiteX5" fmla="*/ 1108497 w 1670050"/>
                <a:gd name="connsiteY5" fmla="*/ 561553 h 1670050"/>
                <a:gd name="connsiteX6" fmla="*/ 1140891 w 1670050"/>
                <a:gd name="connsiteY6" fmla="*/ 650059 h 1670050"/>
                <a:gd name="connsiteX7" fmla="*/ 1617393 w 1670050"/>
                <a:gd name="connsiteY7" fmla="*/ 1288692 h 1670050"/>
                <a:gd name="connsiteX8" fmla="*/ 1670050 w 1670050"/>
                <a:gd name="connsiteY8" fmla="*/ 1328068 h 1670050"/>
                <a:gd name="connsiteX9" fmla="*/ 1594141 w 1670050"/>
                <a:gd name="connsiteY9" fmla="*/ 1384832 h 1670050"/>
                <a:gd name="connsiteX10" fmla="*/ 660400 w 1670050"/>
                <a:gd name="connsiteY10" fmla="*/ 1670050 h 1670050"/>
                <a:gd name="connsiteX11" fmla="*/ 163778 w 1670050"/>
                <a:gd name="connsiteY11" fmla="*/ 1594968 h 1670050"/>
                <a:gd name="connsiteX12" fmla="*/ 98847 w 1670050"/>
                <a:gd name="connsiteY12" fmla="*/ 1571203 h 1670050"/>
                <a:gd name="connsiteX13" fmla="*/ 75082 w 1670050"/>
                <a:gd name="connsiteY13" fmla="*/ 1506272 h 1670050"/>
                <a:gd name="connsiteX14" fmla="*/ 0 w 1670050"/>
                <a:gd name="connsiteY14" fmla="*/ 1009650 h 167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70050" h="1670050">
                  <a:moveTo>
                    <a:pt x="0" y="1009650"/>
                  </a:moveTo>
                  <a:cubicBezTo>
                    <a:pt x="0" y="663772"/>
                    <a:pt x="105146" y="342451"/>
                    <a:pt x="285218" y="75909"/>
                  </a:cubicBezTo>
                  <a:lnTo>
                    <a:pt x="341982" y="0"/>
                  </a:lnTo>
                  <a:lnTo>
                    <a:pt x="381358" y="52657"/>
                  </a:lnTo>
                  <a:cubicBezTo>
                    <a:pt x="551532" y="258859"/>
                    <a:pt x="770239" y="423523"/>
                    <a:pt x="1019991" y="529159"/>
                  </a:cubicBezTo>
                  <a:lnTo>
                    <a:pt x="1108497" y="561553"/>
                  </a:lnTo>
                  <a:lnTo>
                    <a:pt x="1140891" y="650059"/>
                  </a:lnTo>
                  <a:cubicBezTo>
                    <a:pt x="1246527" y="899812"/>
                    <a:pt x="1411191" y="1118519"/>
                    <a:pt x="1617393" y="1288692"/>
                  </a:cubicBezTo>
                  <a:lnTo>
                    <a:pt x="1670050" y="1328068"/>
                  </a:lnTo>
                  <a:lnTo>
                    <a:pt x="1594141" y="1384832"/>
                  </a:lnTo>
                  <a:cubicBezTo>
                    <a:pt x="1327599" y="1564904"/>
                    <a:pt x="1006279" y="1670050"/>
                    <a:pt x="660400" y="1670050"/>
                  </a:cubicBezTo>
                  <a:cubicBezTo>
                    <a:pt x="487461" y="1670050"/>
                    <a:pt x="320661" y="1643764"/>
                    <a:pt x="163778" y="1594968"/>
                  </a:cubicBezTo>
                  <a:lnTo>
                    <a:pt x="98847" y="1571203"/>
                  </a:lnTo>
                  <a:lnTo>
                    <a:pt x="75082" y="1506272"/>
                  </a:lnTo>
                  <a:cubicBezTo>
                    <a:pt x="26287" y="1349389"/>
                    <a:pt x="0" y="1182590"/>
                    <a:pt x="0" y="100965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a:p>
          </p:txBody>
        </p:sp>
        <p:sp>
          <p:nvSpPr>
            <p:cNvPr id="41" name="TextBox 40">
              <a:extLst>
                <a:ext uri="{FF2B5EF4-FFF2-40B4-BE49-F238E27FC236}">
                  <a16:creationId xmlns:a16="http://schemas.microsoft.com/office/drawing/2014/main" id="{D7D2E2D1-393D-4CBB-A98A-777CBAF65CC9}"/>
                </a:ext>
              </a:extLst>
            </p:cNvPr>
            <p:cNvSpPr txBox="1"/>
            <p:nvPr/>
          </p:nvSpPr>
          <p:spPr>
            <a:xfrm>
              <a:off x="6901489" y="1861889"/>
              <a:ext cx="728084" cy="891911"/>
            </a:xfrm>
            <a:prstGeom prst="rect">
              <a:avLst/>
            </a:prstGeom>
            <a:noFill/>
          </p:spPr>
          <p:txBody>
            <a:bodyPr wrap="none" rtlCol="0" anchor="ctr" anchorCtr="0">
              <a:spAutoFit/>
            </a:bodyPr>
            <a:lstStyle/>
            <a:p>
              <a:pPr algn="ctr">
                <a:lnSpc>
                  <a:spcPts val="1600"/>
                </a:lnSpc>
              </a:pPr>
              <a:r>
                <a:rPr lang="en-US" sz="1000" dirty="0">
                  <a:solidFill>
                    <a:schemeClr val="bg1"/>
                  </a:solidFill>
                  <a:latin typeface="Montserrat" panose="00000500000000000000" pitchFamily="50" charset="0"/>
                </a:rPr>
                <a:t>TV</a:t>
              </a:r>
            </a:p>
            <a:p>
              <a:pPr algn="ctr">
                <a:lnSpc>
                  <a:spcPts val="1600"/>
                </a:lnSpc>
              </a:pPr>
              <a:r>
                <a:rPr lang="en-US" sz="1000" dirty="0">
                  <a:solidFill>
                    <a:schemeClr val="bg1"/>
                  </a:solidFill>
                  <a:latin typeface="Montserrat" panose="00000500000000000000" pitchFamily="50" charset="0"/>
                </a:rPr>
                <a:t>Print</a:t>
              </a:r>
            </a:p>
            <a:p>
              <a:pPr algn="ctr">
                <a:lnSpc>
                  <a:spcPts val="1600"/>
                </a:lnSpc>
              </a:pPr>
              <a:r>
                <a:rPr lang="en-US" sz="1000" dirty="0">
                  <a:solidFill>
                    <a:schemeClr val="bg1"/>
                  </a:solidFill>
                  <a:latin typeface="Montserrat" panose="00000500000000000000" pitchFamily="50" charset="0"/>
                </a:rPr>
                <a:t>Radio</a:t>
              </a:r>
            </a:p>
            <a:p>
              <a:pPr algn="ctr">
                <a:lnSpc>
                  <a:spcPts val="1600"/>
                </a:lnSpc>
              </a:pPr>
              <a:r>
                <a:rPr lang="en-US" sz="1000" dirty="0">
                  <a:solidFill>
                    <a:schemeClr val="bg1"/>
                  </a:solidFill>
                  <a:latin typeface="Montserrat" panose="00000500000000000000" pitchFamily="50" charset="0"/>
                </a:rPr>
                <a:t>Outdoor</a:t>
              </a:r>
            </a:p>
          </p:txBody>
        </p:sp>
      </p:grpSp>
      <p:grpSp>
        <p:nvGrpSpPr>
          <p:cNvPr id="11" name="Group 10">
            <a:extLst>
              <a:ext uri="{FF2B5EF4-FFF2-40B4-BE49-F238E27FC236}">
                <a16:creationId xmlns:a16="http://schemas.microsoft.com/office/drawing/2014/main" id="{FBB8DA35-392C-42D2-80A5-13E013529AC8}"/>
              </a:ext>
            </a:extLst>
          </p:cNvPr>
          <p:cNvGrpSpPr/>
          <p:nvPr/>
        </p:nvGrpSpPr>
        <p:grpSpPr>
          <a:xfrm>
            <a:off x="8354857" y="3424988"/>
            <a:ext cx="1773503" cy="1773503"/>
            <a:chOff x="8354857" y="3424988"/>
            <a:chExt cx="1773503" cy="1773503"/>
          </a:xfrm>
        </p:grpSpPr>
        <p:sp>
          <p:nvSpPr>
            <p:cNvPr id="22" name="Freeform: Shape 21">
              <a:extLst>
                <a:ext uri="{FF2B5EF4-FFF2-40B4-BE49-F238E27FC236}">
                  <a16:creationId xmlns:a16="http://schemas.microsoft.com/office/drawing/2014/main" id="{88C00949-A4A6-4DF3-AFD8-07D3D4635A41}"/>
                </a:ext>
              </a:extLst>
            </p:cNvPr>
            <p:cNvSpPr/>
            <p:nvPr/>
          </p:nvSpPr>
          <p:spPr>
            <a:xfrm rot="5400000">
              <a:off x="8354857" y="3424988"/>
              <a:ext cx="1773503" cy="1773503"/>
            </a:xfrm>
            <a:custGeom>
              <a:avLst/>
              <a:gdLst>
                <a:gd name="connsiteX0" fmla="*/ 0 w 1670050"/>
                <a:gd name="connsiteY0" fmla="*/ 341982 h 1670050"/>
                <a:gd name="connsiteX1" fmla="*/ 75909 w 1670050"/>
                <a:gd name="connsiteY1" fmla="*/ 285218 h 1670050"/>
                <a:gd name="connsiteX2" fmla="*/ 1009650 w 1670050"/>
                <a:gd name="connsiteY2" fmla="*/ 0 h 1670050"/>
                <a:gd name="connsiteX3" fmla="*/ 1506272 w 1670050"/>
                <a:gd name="connsiteY3" fmla="*/ 75082 h 1670050"/>
                <a:gd name="connsiteX4" fmla="*/ 1571203 w 1670050"/>
                <a:gd name="connsiteY4" fmla="*/ 98847 h 1670050"/>
                <a:gd name="connsiteX5" fmla="*/ 1594968 w 1670050"/>
                <a:gd name="connsiteY5" fmla="*/ 163778 h 1670050"/>
                <a:gd name="connsiteX6" fmla="*/ 1670050 w 1670050"/>
                <a:gd name="connsiteY6" fmla="*/ 660400 h 1670050"/>
                <a:gd name="connsiteX7" fmla="*/ 1384832 w 1670050"/>
                <a:gd name="connsiteY7" fmla="*/ 1594141 h 1670050"/>
                <a:gd name="connsiteX8" fmla="*/ 1328068 w 1670050"/>
                <a:gd name="connsiteY8" fmla="*/ 1670050 h 1670050"/>
                <a:gd name="connsiteX9" fmla="*/ 1288692 w 1670050"/>
                <a:gd name="connsiteY9" fmla="*/ 1617393 h 1670050"/>
                <a:gd name="connsiteX10" fmla="*/ 650059 w 1670050"/>
                <a:gd name="connsiteY10" fmla="*/ 1140891 h 1670050"/>
                <a:gd name="connsiteX11" fmla="*/ 561553 w 1670050"/>
                <a:gd name="connsiteY11" fmla="*/ 1108497 h 1670050"/>
                <a:gd name="connsiteX12" fmla="*/ 529159 w 1670050"/>
                <a:gd name="connsiteY12" fmla="*/ 1019991 h 1670050"/>
                <a:gd name="connsiteX13" fmla="*/ 52657 w 1670050"/>
                <a:gd name="connsiteY13" fmla="*/ 381358 h 1670050"/>
                <a:gd name="connsiteX14" fmla="*/ 0 w 1670050"/>
                <a:gd name="connsiteY14" fmla="*/ 341982 h 167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70050" h="1670050">
                  <a:moveTo>
                    <a:pt x="0" y="341982"/>
                  </a:moveTo>
                  <a:lnTo>
                    <a:pt x="75909" y="285218"/>
                  </a:lnTo>
                  <a:cubicBezTo>
                    <a:pt x="342451" y="105146"/>
                    <a:pt x="663772" y="0"/>
                    <a:pt x="1009650" y="0"/>
                  </a:cubicBezTo>
                  <a:cubicBezTo>
                    <a:pt x="1182590" y="0"/>
                    <a:pt x="1349389" y="26286"/>
                    <a:pt x="1506272" y="75082"/>
                  </a:cubicBezTo>
                  <a:lnTo>
                    <a:pt x="1571203" y="98847"/>
                  </a:lnTo>
                  <a:lnTo>
                    <a:pt x="1594968" y="163778"/>
                  </a:lnTo>
                  <a:cubicBezTo>
                    <a:pt x="1643763" y="320661"/>
                    <a:pt x="1670050" y="487460"/>
                    <a:pt x="1670050" y="660400"/>
                  </a:cubicBezTo>
                  <a:cubicBezTo>
                    <a:pt x="1670050" y="1006278"/>
                    <a:pt x="1564903" y="1327599"/>
                    <a:pt x="1384832" y="1594141"/>
                  </a:cubicBezTo>
                  <a:lnTo>
                    <a:pt x="1328068" y="1670050"/>
                  </a:lnTo>
                  <a:lnTo>
                    <a:pt x="1288692" y="1617393"/>
                  </a:lnTo>
                  <a:cubicBezTo>
                    <a:pt x="1118518" y="1411191"/>
                    <a:pt x="899811" y="1246528"/>
                    <a:pt x="650059" y="1140891"/>
                  </a:cubicBezTo>
                  <a:lnTo>
                    <a:pt x="561553" y="1108497"/>
                  </a:lnTo>
                  <a:lnTo>
                    <a:pt x="529159" y="1019991"/>
                  </a:lnTo>
                  <a:cubicBezTo>
                    <a:pt x="423523" y="770238"/>
                    <a:pt x="258859" y="551531"/>
                    <a:pt x="52657" y="381358"/>
                  </a:cubicBezTo>
                  <a:lnTo>
                    <a:pt x="0" y="341982"/>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a:p>
          </p:txBody>
        </p:sp>
        <p:sp>
          <p:nvSpPr>
            <p:cNvPr id="42" name="TextBox 41">
              <a:extLst>
                <a:ext uri="{FF2B5EF4-FFF2-40B4-BE49-F238E27FC236}">
                  <a16:creationId xmlns:a16="http://schemas.microsoft.com/office/drawing/2014/main" id="{4341DC66-0A02-497A-8F78-08BB27762BA9}"/>
                </a:ext>
              </a:extLst>
            </p:cNvPr>
            <p:cNvSpPr txBox="1"/>
            <p:nvPr/>
          </p:nvSpPr>
          <p:spPr>
            <a:xfrm>
              <a:off x="9039082" y="4014845"/>
              <a:ext cx="958916" cy="891911"/>
            </a:xfrm>
            <a:prstGeom prst="rect">
              <a:avLst/>
            </a:prstGeom>
            <a:noFill/>
          </p:spPr>
          <p:txBody>
            <a:bodyPr wrap="none" rtlCol="0" anchor="ctr" anchorCtr="0">
              <a:spAutoFit/>
            </a:bodyPr>
            <a:lstStyle/>
            <a:p>
              <a:pPr algn="ctr">
                <a:lnSpc>
                  <a:spcPts val="1600"/>
                </a:lnSpc>
              </a:pPr>
              <a:r>
                <a:rPr lang="en-US" sz="1000" dirty="0">
                  <a:solidFill>
                    <a:schemeClr val="bg1"/>
                  </a:solidFill>
                  <a:latin typeface="Montserrat" panose="00000500000000000000" pitchFamily="50" charset="0"/>
                </a:rPr>
                <a:t>PPC</a:t>
              </a:r>
            </a:p>
            <a:p>
              <a:pPr algn="ctr">
                <a:lnSpc>
                  <a:spcPts val="1600"/>
                </a:lnSpc>
              </a:pPr>
              <a:r>
                <a:rPr lang="en-US" sz="1000" dirty="0">
                  <a:solidFill>
                    <a:schemeClr val="bg1"/>
                  </a:solidFill>
                  <a:latin typeface="Montserrat" panose="00000500000000000000" pitchFamily="50" charset="0"/>
                </a:rPr>
                <a:t>Email</a:t>
              </a:r>
            </a:p>
            <a:p>
              <a:pPr algn="ctr">
                <a:lnSpc>
                  <a:spcPts val="1600"/>
                </a:lnSpc>
              </a:pPr>
              <a:r>
                <a:rPr lang="en-US" sz="1000" dirty="0">
                  <a:solidFill>
                    <a:schemeClr val="bg1"/>
                  </a:solidFill>
                  <a:latin typeface="Montserrat" panose="00000500000000000000" pitchFamily="50" charset="0"/>
                </a:rPr>
                <a:t>Affiliates</a:t>
              </a:r>
            </a:p>
            <a:p>
              <a:pPr algn="ctr">
                <a:lnSpc>
                  <a:spcPts val="1600"/>
                </a:lnSpc>
              </a:pPr>
              <a:r>
                <a:rPr lang="en-US" sz="1000" dirty="0">
                  <a:solidFill>
                    <a:schemeClr val="bg1"/>
                  </a:solidFill>
                  <a:latin typeface="Montserrat" panose="00000500000000000000" pitchFamily="50" charset="0"/>
                </a:rPr>
                <a:t>Retargeting</a:t>
              </a:r>
            </a:p>
          </p:txBody>
        </p:sp>
      </p:grpSp>
      <p:grpSp>
        <p:nvGrpSpPr>
          <p:cNvPr id="9" name="Group 8">
            <a:extLst>
              <a:ext uri="{FF2B5EF4-FFF2-40B4-BE49-F238E27FC236}">
                <a16:creationId xmlns:a16="http://schemas.microsoft.com/office/drawing/2014/main" id="{AC98DAF6-0D18-4D85-964C-209D72B53878}"/>
              </a:ext>
            </a:extLst>
          </p:cNvPr>
          <p:cNvGrpSpPr/>
          <p:nvPr/>
        </p:nvGrpSpPr>
        <p:grpSpPr>
          <a:xfrm>
            <a:off x="6589370" y="3424989"/>
            <a:ext cx="1773503" cy="1773503"/>
            <a:chOff x="6589370" y="3424989"/>
            <a:chExt cx="1773503" cy="1773503"/>
          </a:xfrm>
        </p:grpSpPr>
        <p:sp>
          <p:nvSpPr>
            <p:cNvPr id="23" name="Freeform: Shape 22">
              <a:extLst>
                <a:ext uri="{FF2B5EF4-FFF2-40B4-BE49-F238E27FC236}">
                  <a16:creationId xmlns:a16="http://schemas.microsoft.com/office/drawing/2014/main" id="{75951479-D197-47AA-B35F-51F260E60980}"/>
                </a:ext>
              </a:extLst>
            </p:cNvPr>
            <p:cNvSpPr/>
            <p:nvPr/>
          </p:nvSpPr>
          <p:spPr>
            <a:xfrm rot="5400000">
              <a:off x="6589370" y="3424989"/>
              <a:ext cx="1773503" cy="1773503"/>
            </a:xfrm>
            <a:custGeom>
              <a:avLst/>
              <a:gdLst>
                <a:gd name="connsiteX0" fmla="*/ 0 w 1670050"/>
                <a:gd name="connsiteY0" fmla="*/ 1328068 h 1670050"/>
                <a:gd name="connsiteX1" fmla="*/ 52657 w 1670050"/>
                <a:gd name="connsiteY1" fmla="*/ 1288692 h 1670050"/>
                <a:gd name="connsiteX2" fmla="*/ 529159 w 1670050"/>
                <a:gd name="connsiteY2" fmla="*/ 650059 h 1670050"/>
                <a:gd name="connsiteX3" fmla="*/ 561553 w 1670050"/>
                <a:gd name="connsiteY3" fmla="*/ 561553 h 1670050"/>
                <a:gd name="connsiteX4" fmla="*/ 650059 w 1670050"/>
                <a:gd name="connsiteY4" fmla="*/ 529159 h 1670050"/>
                <a:gd name="connsiteX5" fmla="*/ 1288692 w 1670050"/>
                <a:gd name="connsiteY5" fmla="*/ 52657 h 1670050"/>
                <a:gd name="connsiteX6" fmla="*/ 1328068 w 1670050"/>
                <a:gd name="connsiteY6" fmla="*/ 0 h 1670050"/>
                <a:gd name="connsiteX7" fmla="*/ 1384832 w 1670050"/>
                <a:gd name="connsiteY7" fmla="*/ 75909 h 1670050"/>
                <a:gd name="connsiteX8" fmla="*/ 1670050 w 1670050"/>
                <a:gd name="connsiteY8" fmla="*/ 1009650 h 1670050"/>
                <a:gd name="connsiteX9" fmla="*/ 1594968 w 1670050"/>
                <a:gd name="connsiteY9" fmla="*/ 1506272 h 1670050"/>
                <a:gd name="connsiteX10" fmla="*/ 1571203 w 1670050"/>
                <a:gd name="connsiteY10" fmla="*/ 1571203 h 1670050"/>
                <a:gd name="connsiteX11" fmla="*/ 1506272 w 1670050"/>
                <a:gd name="connsiteY11" fmla="*/ 1594968 h 1670050"/>
                <a:gd name="connsiteX12" fmla="*/ 1009650 w 1670050"/>
                <a:gd name="connsiteY12" fmla="*/ 1670050 h 1670050"/>
                <a:gd name="connsiteX13" fmla="*/ 75909 w 1670050"/>
                <a:gd name="connsiteY13" fmla="*/ 1384832 h 1670050"/>
                <a:gd name="connsiteX14" fmla="*/ 0 w 1670050"/>
                <a:gd name="connsiteY14" fmla="*/ 1328068 h 167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70050" h="1670050">
                  <a:moveTo>
                    <a:pt x="0" y="1328068"/>
                  </a:moveTo>
                  <a:lnTo>
                    <a:pt x="52657" y="1288692"/>
                  </a:lnTo>
                  <a:cubicBezTo>
                    <a:pt x="258859" y="1118519"/>
                    <a:pt x="423523" y="899812"/>
                    <a:pt x="529159" y="650059"/>
                  </a:cubicBezTo>
                  <a:lnTo>
                    <a:pt x="561553" y="561553"/>
                  </a:lnTo>
                  <a:lnTo>
                    <a:pt x="650059" y="529159"/>
                  </a:lnTo>
                  <a:cubicBezTo>
                    <a:pt x="899811" y="423523"/>
                    <a:pt x="1118518" y="258859"/>
                    <a:pt x="1288692" y="52657"/>
                  </a:cubicBezTo>
                  <a:lnTo>
                    <a:pt x="1328068" y="0"/>
                  </a:lnTo>
                  <a:lnTo>
                    <a:pt x="1384832" y="75909"/>
                  </a:lnTo>
                  <a:cubicBezTo>
                    <a:pt x="1564903" y="342451"/>
                    <a:pt x="1670050" y="663772"/>
                    <a:pt x="1670050" y="1009650"/>
                  </a:cubicBezTo>
                  <a:cubicBezTo>
                    <a:pt x="1670050" y="1182590"/>
                    <a:pt x="1643763" y="1349389"/>
                    <a:pt x="1594968" y="1506272"/>
                  </a:cubicBezTo>
                  <a:lnTo>
                    <a:pt x="1571203" y="1571203"/>
                  </a:lnTo>
                  <a:lnTo>
                    <a:pt x="1506272" y="1594968"/>
                  </a:lnTo>
                  <a:cubicBezTo>
                    <a:pt x="1349389" y="1643764"/>
                    <a:pt x="1182589" y="1670050"/>
                    <a:pt x="1009650" y="1670050"/>
                  </a:cubicBezTo>
                  <a:cubicBezTo>
                    <a:pt x="663772" y="1670050"/>
                    <a:pt x="342451" y="1564904"/>
                    <a:pt x="75909" y="1384832"/>
                  </a:cubicBezTo>
                  <a:lnTo>
                    <a:pt x="0" y="132806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a:p>
          </p:txBody>
        </p:sp>
        <p:sp>
          <p:nvSpPr>
            <p:cNvPr id="43" name="TextBox 42">
              <a:extLst>
                <a:ext uri="{FF2B5EF4-FFF2-40B4-BE49-F238E27FC236}">
                  <a16:creationId xmlns:a16="http://schemas.microsoft.com/office/drawing/2014/main" id="{692BD758-5A16-4887-85C7-642CEBB70994}"/>
                </a:ext>
              </a:extLst>
            </p:cNvPr>
            <p:cNvSpPr txBox="1"/>
            <p:nvPr/>
          </p:nvSpPr>
          <p:spPr>
            <a:xfrm>
              <a:off x="6938359" y="4014845"/>
              <a:ext cx="654346" cy="891911"/>
            </a:xfrm>
            <a:prstGeom prst="rect">
              <a:avLst/>
            </a:prstGeom>
            <a:noFill/>
          </p:spPr>
          <p:txBody>
            <a:bodyPr wrap="none" rtlCol="0" anchor="ctr" anchorCtr="0">
              <a:spAutoFit/>
            </a:bodyPr>
            <a:lstStyle/>
            <a:p>
              <a:pPr algn="ctr">
                <a:lnSpc>
                  <a:spcPts val="1600"/>
                </a:lnSpc>
              </a:pPr>
              <a:r>
                <a:rPr lang="en-US" sz="1000" dirty="0">
                  <a:solidFill>
                    <a:schemeClr val="bg1"/>
                  </a:solidFill>
                  <a:latin typeface="Montserrat" panose="00000500000000000000" pitchFamily="50" charset="0"/>
                </a:rPr>
                <a:t>Display</a:t>
              </a:r>
            </a:p>
            <a:p>
              <a:pPr algn="ctr">
                <a:lnSpc>
                  <a:spcPts val="1600"/>
                </a:lnSpc>
              </a:pPr>
              <a:r>
                <a:rPr lang="en-US" sz="1000" dirty="0">
                  <a:solidFill>
                    <a:schemeClr val="bg1"/>
                  </a:solidFill>
                  <a:latin typeface="Montserrat" panose="00000500000000000000" pitchFamily="50" charset="0"/>
                </a:rPr>
                <a:t>Viral</a:t>
              </a:r>
            </a:p>
            <a:p>
              <a:pPr algn="ctr">
                <a:lnSpc>
                  <a:spcPts val="1600"/>
                </a:lnSpc>
              </a:pPr>
              <a:r>
                <a:rPr lang="en-US" sz="1000" dirty="0">
                  <a:solidFill>
                    <a:schemeClr val="bg1"/>
                  </a:solidFill>
                  <a:latin typeface="Montserrat" panose="00000500000000000000" pitchFamily="50" charset="0"/>
                </a:rPr>
                <a:t>Video</a:t>
              </a:r>
            </a:p>
            <a:p>
              <a:pPr algn="ctr">
                <a:lnSpc>
                  <a:spcPts val="1600"/>
                </a:lnSpc>
              </a:pPr>
              <a:r>
                <a:rPr lang="en-US" sz="1000" dirty="0">
                  <a:solidFill>
                    <a:schemeClr val="bg1"/>
                  </a:solidFill>
                  <a:latin typeface="Montserrat" panose="00000500000000000000" pitchFamily="50" charset="0"/>
                </a:rPr>
                <a:t>Native</a:t>
              </a:r>
            </a:p>
          </p:txBody>
        </p:sp>
      </p:grpSp>
      <p:grpSp>
        <p:nvGrpSpPr>
          <p:cNvPr id="5" name="Group 4">
            <a:extLst>
              <a:ext uri="{FF2B5EF4-FFF2-40B4-BE49-F238E27FC236}">
                <a16:creationId xmlns:a16="http://schemas.microsoft.com/office/drawing/2014/main" id="{F445D268-CA31-4FFD-B2AE-86557C79D8E1}"/>
              </a:ext>
            </a:extLst>
          </p:cNvPr>
          <p:cNvGrpSpPr/>
          <p:nvPr/>
        </p:nvGrpSpPr>
        <p:grpSpPr>
          <a:xfrm>
            <a:off x="7762531" y="2018663"/>
            <a:ext cx="1192679" cy="813998"/>
            <a:chOff x="7762531" y="2018663"/>
            <a:chExt cx="1192679" cy="813998"/>
          </a:xfrm>
        </p:grpSpPr>
        <p:sp>
          <p:nvSpPr>
            <p:cNvPr id="18" name="Freeform: Shape 17">
              <a:extLst>
                <a:ext uri="{FF2B5EF4-FFF2-40B4-BE49-F238E27FC236}">
                  <a16:creationId xmlns:a16="http://schemas.microsoft.com/office/drawing/2014/main" id="{DBD50466-4F87-4124-980E-984631FD5CD2}"/>
                </a:ext>
              </a:extLst>
            </p:cNvPr>
            <p:cNvSpPr/>
            <p:nvPr/>
          </p:nvSpPr>
          <p:spPr>
            <a:xfrm rot="5400000">
              <a:off x="7951872" y="1829322"/>
              <a:ext cx="813998" cy="1192679"/>
            </a:xfrm>
            <a:custGeom>
              <a:avLst/>
              <a:gdLst>
                <a:gd name="connsiteX0" fmla="*/ 0 w 766515"/>
                <a:gd name="connsiteY0" fmla="*/ 561553 h 1123106"/>
                <a:gd name="connsiteX1" fmla="*/ 39376 w 766515"/>
                <a:gd name="connsiteY1" fmla="*/ 508896 h 1123106"/>
                <a:gd name="connsiteX2" fmla="*/ 678009 w 766515"/>
                <a:gd name="connsiteY2" fmla="*/ 32394 h 1123106"/>
                <a:gd name="connsiteX3" fmla="*/ 766515 w 766515"/>
                <a:gd name="connsiteY3" fmla="*/ 0 h 1123106"/>
                <a:gd name="connsiteX4" fmla="*/ 742750 w 766515"/>
                <a:gd name="connsiteY4" fmla="*/ 64931 h 1123106"/>
                <a:gd name="connsiteX5" fmla="*/ 667668 w 766515"/>
                <a:gd name="connsiteY5" fmla="*/ 561553 h 1123106"/>
                <a:gd name="connsiteX6" fmla="*/ 742750 w 766515"/>
                <a:gd name="connsiteY6" fmla="*/ 1058175 h 1123106"/>
                <a:gd name="connsiteX7" fmla="*/ 766515 w 766515"/>
                <a:gd name="connsiteY7" fmla="*/ 1123106 h 1123106"/>
                <a:gd name="connsiteX8" fmla="*/ 678009 w 766515"/>
                <a:gd name="connsiteY8" fmla="*/ 1090712 h 1123106"/>
                <a:gd name="connsiteX9" fmla="*/ 39376 w 766515"/>
                <a:gd name="connsiteY9" fmla="*/ 614210 h 1123106"/>
                <a:gd name="connsiteX10" fmla="*/ 0 w 766515"/>
                <a:gd name="connsiteY10" fmla="*/ 561553 h 112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6515" h="1123106">
                  <a:moveTo>
                    <a:pt x="0" y="561553"/>
                  </a:moveTo>
                  <a:lnTo>
                    <a:pt x="39376" y="508896"/>
                  </a:lnTo>
                  <a:cubicBezTo>
                    <a:pt x="209550" y="302694"/>
                    <a:pt x="428257" y="138031"/>
                    <a:pt x="678009" y="32394"/>
                  </a:cubicBezTo>
                  <a:lnTo>
                    <a:pt x="766515" y="0"/>
                  </a:lnTo>
                  <a:lnTo>
                    <a:pt x="742750" y="64931"/>
                  </a:lnTo>
                  <a:cubicBezTo>
                    <a:pt x="693955" y="221814"/>
                    <a:pt x="667668" y="388614"/>
                    <a:pt x="667668" y="561553"/>
                  </a:cubicBezTo>
                  <a:cubicBezTo>
                    <a:pt x="667668" y="734493"/>
                    <a:pt x="693955" y="901292"/>
                    <a:pt x="742750" y="1058175"/>
                  </a:cubicBezTo>
                  <a:lnTo>
                    <a:pt x="766515" y="1123106"/>
                  </a:lnTo>
                  <a:lnTo>
                    <a:pt x="678009" y="1090712"/>
                  </a:lnTo>
                  <a:cubicBezTo>
                    <a:pt x="428257" y="985076"/>
                    <a:pt x="209550" y="820412"/>
                    <a:pt x="39376" y="614210"/>
                  </a:cubicBezTo>
                  <a:lnTo>
                    <a:pt x="0" y="561553"/>
                  </a:lnTo>
                  <a:close/>
                </a:path>
              </a:pathLst>
            </a:custGeom>
            <a:solidFill>
              <a:schemeClr val="accent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a:p>
          </p:txBody>
        </p:sp>
        <p:sp>
          <p:nvSpPr>
            <p:cNvPr id="48" name="TextBox 47">
              <a:extLst>
                <a:ext uri="{FF2B5EF4-FFF2-40B4-BE49-F238E27FC236}">
                  <a16:creationId xmlns:a16="http://schemas.microsoft.com/office/drawing/2014/main" id="{5F8C42E8-58D9-4B1A-9054-C18139788CF8}"/>
                </a:ext>
              </a:extLst>
            </p:cNvPr>
            <p:cNvSpPr txBox="1"/>
            <p:nvPr/>
          </p:nvSpPr>
          <p:spPr>
            <a:xfrm>
              <a:off x="8006050" y="2201562"/>
              <a:ext cx="705642" cy="436658"/>
            </a:xfrm>
            <a:prstGeom prst="rect">
              <a:avLst/>
            </a:prstGeom>
            <a:noFill/>
          </p:spPr>
          <p:txBody>
            <a:bodyPr wrap="none" rtlCol="0" anchor="ctr" anchorCtr="0">
              <a:spAutoFit/>
            </a:bodyPr>
            <a:lstStyle/>
            <a:p>
              <a:pPr algn="ctr">
                <a:lnSpc>
                  <a:spcPts val="1400"/>
                </a:lnSpc>
              </a:pPr>
              <a:r>
                <a:rPr lang="en-US" sz="1000" b="1" dirty="0">
                  <a:solidFill>
                    <a:schemeClr val="accent2"/>
                  </a:solidFill>
                  <a:latin typeface="Montserrat" panose="00000500000000000000" pitchFamily="50" charset="0"/>
                </a:rPr>
                <a:t>Call</a:t>
              </a:r>
            </a:p>
            <a:p>
              <a:pPr algn="ctr">
                <a:lnSpc>
                  <a:spcPts val="1400"/>
                </a:lnSpc>
              </a:pPr>
              <a:r>
                <a:rPr lang="en-US" sz="1000" b="1" dirty="0">
                  <a:solidFill>
                    <a:schemeClr val="accent2"/>
                  </a:solidFill>
                  <a:latin typeface="Montserrat" panose="00000500000000000000" pitchFamily="50" charset="0"/>
                </a:rPr>
                <a:t>Centers</a:t>
              </a:r>
            </a:p>
          </p:txBody>
        </p:sp>
      </p:grpSp>
      <p:grpSp>
        <p:nvGrpSpPr>
          <p:cNvPr id="4" name="Group 3">
            <a:extLst>
              <a:ext uri="{FF2B5EF4-FFF2-40B4-BE49-F238E27FC236}">
                <a16:creationId xmlns:a16="http://schemas.microsoft.com/office/drawing/2014/main" id="{73F8230A-A032-4F3A-ACBA-2213A20EF150}"/>
              </a:ext>
            </a:extLst>
          </p:cNvPr>
          <p:cNvGrpSpPr/>
          <p:nvPr/>
        </p:nvGrpSpPr>
        <p:grpSpPr>
          <a:xfrm>
            <a:off x="6948533" y="2832660"/>
            <a:ext cx="813998" cy="1192679"/>
            <a:chOff x="6948533" y="2832660"/>
            <a:chExt cx="813998" cy="1192679"/>
          </a:xfrm>
        </p:grpSpPr>
        <p:sp>
          <p:nvSpPr>
            <p:cNvPr id="17" name="Freeform: Shape 16">
              <a:extLst>
                <a:ext uri="{FF2B5EF4-FFF2-40B4-BE49-F238E27FC236}">
                  <a16:creationId xmlns:a16="http://schemas.microsoft.com/office/drawing/2014/main" id="{D675C539-AEFA-4E07-BD78-57A5F4B0EE9E}"/>
                </a:ext>
              </a:extLst>
            </p:cNvPr>
            <p:cNvSpPr/>
            <p:nvPr/>
          </p:nvSpPr>
          <p:spPr>
            <a:xfrm rot="5400000">
              <a:off x="6759192" y="3022001"/>
              <a:ext cx="1192679" cy="813998"/>
            </a:xfrm>
            <a:custGeom>
              <a:avLst/>
              <a:gdLst>
                <a:gd name="connsiteX0" fmla="*/ 0 w 1123106"/>
                <a:gd name="connsiteY0" fmla="*/ 0 h 766515"/>
                <a:gd name="connsiteX1" fmla="*/ 64931 w 1123106"/>
                <a:gd name="connsiteY1" fmla="*/ 23765 h 766515"/>
                <a:gd name="connsiteX2" fmla="*/ 561553 w 1123106"/>
                <a:gd name="connsiteY2" fmla="*/ 98847 h 766515"/>
                <a:gd name="connsiteX3" fmla="*/ 1058175 w 1123106"/>
                <a:gd name="connsiteY3" fmla="*/ 23765 h 766515"/>
                <a:gd name="connsiteX4" fmla="*/ 1123106 w 1123106"/>
                <a:gd name="connsiteY4" fmla="*/ 0 h 766515"/>
                <a:gd name="connsiteX5" fmla="*/ 1090712 w 1123106"/>
                <a:gd name="connsiteY5" fmla="*/ 88506 h 766515"/>
                <a:gd name="connsiteX6" fmla="*/ 614210 w 1123106"/>
                <a:gd name="connsiteY6" fmla="*/ 727139 h 766515"/>
                <a:gd name="connsiteX7" fmla="*/ 561553 w 1123106"/>
                <a:gd name="connsiteY7" fmla="*/ 766515 h 766515"/>
                <a:gd name="connsiteX8" fmla="*/ 508896 w 1123106"/>
                <a:gd name="connsiteY8" fmla="*/ 727139 h 766515"/>
                <a:gd name="connsiteX9" fmla="*/ 32394 w 1123106"/>
                <a:gd name="connsiteY9" fmla="*/ 88506 h 766515"/>
                <a:gd name="connsiteX10" fmla="*/ 0 w 1123106"/>
                <a:gd name="connsiteY10" fmla="*/ 0 h 766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3106" h="766515">
                  <a:moveTo>
                    <a:pt x="0" y="0"/>
                  </a:moveTo>
                  <a:lnTo>
                    <a:pt x="64931" y="23765"/>
                  </a:lnTo>
                  <a:cubicBezTo>
                    <a:pt x="221814" y="72561"/>
                    <a:pt x="388614" y="98847"/>
                    <a:pt x="561553" y="98847"/>
                  </a:cubicBezTo>
                  <a:cubicBezTo>
                    <a:pt x="734492" y="98847"/>
                    <a:pt x="901292" y="72561"/>
                    <a:pt x="1058175" y="23765"/>
                  </a:cubicBezTo>
                  <a:lnTo>
                    <a:pt x="1123106" y="0"/>
                  </a:lnTo>
                  <a:lnTo>
                    <a:pt x="1090712" y="88506"/>
                  </a:lnTo>
                  <a:cubicBezTo>
                    <a:pt x="985076" y="338259"/>
                    <a:pt x="820412" y="556966"/>
                    <a:pt x="614210" y="727139"/>
                  </a:cubicBezTo>
                  <a:lnTo>
                    <a:pt x="561553" y="766515"/>
                  </a:lnTo>
                  <a:lnTo>
                    <a:pt x="508896" y="727139"/>
                  </a:lnTo>
                  <a:cubicBezTo>
                    <a:pt x="302694" y="556966"/>
                    <a:pt x="138030" y="338259"/>
                    <a:pt x="32394" y="88506"/>
                  </a:cubicBezTo>
                  <a:lnTo>
                    <a:pt x="0" y="0"/>
                  </a:lnTo>
                  <a:close/>
                </a:path>
              </a:pathLst>
            </a:custGeom>
            <a:solidFill>
              <a:schemeClr val="accent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a:p>
          </p:txBody>
        </p:sp>
        <p:sp>
          <p:nvSpPr>
            <p:cNvPr id="49" name="TextBox 48">
              <a:extLst>
                <a:ext uri="{FF2B5EF4-FFF2-40B4-BE49-F238E27FC236}">
                  <a16:creationId xmlns:a16="http://schemas.microsoft.com/office/drawing/2014/main" id="{EFB6D2A8-0F34-419C-8610-EE75D7BC1392}"/>
                </a:ext>
              </a:extLst>
            </p:cNvPr>
            <p:cNvSpPr txBox="1"/>
            <p:nvPr/>
          </p:nvSpPr>
          <p:spPr>
            <a:xfrm>
              <a:off x="7167710" y="3294343"/>
              <a:ext cx="373821" cy="257122"/>
            </a:xfrm>
            <a:prstGeom prst="rect">
              <a:avLst/>
            </a:prstGeom>
            <a:noFill/>
          </p:spPr>
          <p:txBody>
            <a:bodyPr wrap="none" rtlCol="0" anchor="ctr" anchorCtr="0">
              <a:spAutoFit/>
            </a:bodyPr>
            <a:lstStyle/>
            <a:p>
              <a:pPr algn="ctr">
                <a:lnSpc>
                  <a:spcPts val="1400"/>
                </a:lnSpc>
              </a:pPr>
              <a:r>
                <a:rPr lang="en-US" sz="1000" b="1" dirty="0">
                  <a:solidFill>
                    <a:schemeClr val="accent2"/>
                  </a:solidFill>
                  <a:latin typeface="Montserrat" panose="00000500000000000000" pitchFamily="50" charset="0"/>
                </a:rPr>
                <a:t>PR</a:t>
              </a:r>
            </a:p>
          </p:txBody>
        </p:sp>
      </p:grpSp>
      <p:grpSp>
        <p:nvGrpSpPr>
          <p:cNvPr id="6" name="Group 5">
            <a:extLst>
              <a:ext uri="{FF2B5EF4-FFF2-40B4-BE49-F238E27FC236}">
                <a16:creationId xmlns:a16="http://schemas.microsoft.com/office/drawing/2014/main" id="{99CFBF4D-7257-41D2-AA71-67A23F58F111}"/>
              </a:ext>
            </a:extLst>
          </p:cNvPr>
          <p:cNvGrpSpPr/>
          <p:nvPr/>
        </p:nvGrpSpPr>
        <p:grpSpPr>
          <a:xfrm>
            <a:off x="8955211" y="2832660"/>
            <a:ext cx="813998" cy="1192679"/>
            <a:chOff x="8955211" y="2832660"/>
            <a:chExt cx="813998" cy="1192679"/>
          </a:xfrm>
        </p:grpSpPr>
        <p:sp>
          <p:nvSpPr>
            <p:cNvPr id="16" name="Freeform: Shape 15">
              <a:extLst>
                <a:ext uri="{FF2B5EF4-FFF2-40B4-BE49-F238E27FC236}">
                  <a16:creationId xmlns:a16="http://schemas.microsoft.com/office/drawing/2014/main" id="{05C688A7-F85B-4B6E-8939-35936A6C25C9}"/>
                </a:ext>
              </a:extLst>
            </p:cNvPr>
            <p:cNvSpPr/>
            <p:nvPr/>
          </p:nvSpPr>
          <p:spPr>
            <a:xfrm rot="5400000">
              <a:off x="8765870" y="3022001"/>
              <a:ext cx="1192679" cy="813998"/>
            </a:xfrm>
            <a:custGeom>
              <a:avLst/>
              <a:gdLst>
                <a:gd name="connsiteX0" fmla="*/ 0 w 1123106"/>
                <a:gd name="connsiteY0" fmla="*/ 766515 h 766515"/>
                <a:gd name="connsiteX1" fmla="*/ 32394 w 1123106"/>
                <a:gd name="connsiteY1" fmla="*/ 678009 h 766515"/>
                <a:gd name="connsiteX2" fmla="*/ 508896 w 1123106"/>
                <a:gd name="connsiteY2" fmla="*/ 39376 h 766515"/>
                <a:gd name="connsiteX3" fmla="*/ 561553 w 1123106"/>
                <a:gd name="connsiteY3" fmla="*/ 0 h 766515"/>
                <a:gd name="connsiteX4" fmla="*/ 614210 w 1123106"/>
                <a:gd name="connsiteY4" fmla="*/ 39376 h 766515"/>
                <a:gd name="connsiteX5" fmla="*/ 1090712 w 1123106"/>
                <a:gd name="connsiteY5" fmla="*/ 678009 h 766515"/>
                <a:gd name="connsiteX6" fmla="*/ 1123106 w 1123106"/>
                <a:gd name="connsiteY6" fmla="*/ 766515 h 766515"/>
                <a:gd name="connsiteX7" fmla="*/ 1058175 w 1123106"/>
                <a:gd name="connsiteY7" fmla="*/ 742750 h 766515"/>
                <a:gd name="connsiteX8" fmla="*/ 561553 w 1123106"/>
                <a:gd name="connsiteY8" fmla="*/ 667668 h 766515"/>
                <a:gd name="connsiteX9" fmla="*/ 64931 w 1123106"/>
                <a:gd name="connsiteY9" fmla="*/ 742750 h 766515"/>
                <a:gd name="connsiteX10" fmla="*/ 0 w 1123106"/>
                <a:gd name="connsiteY10" fmla="*/ 766515 h 766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3106" h="766515">
                  <a:moveTo>
                    <a:pt x="0" y="766515"/>
                  </a:moveTo>
                  <a:lnTo>
                    <a:pt x="32394" y="678009"/>
                  </a:lnTo>
                  <a:cubicBezTo>
                    <a:pt x="138030" y="428256"/>
                    <a:pt x="302694" y="209549"/>
                    <a:pt x="508896" y="39376"/>
                  </a:cubicBezTo>
                  <a:lnTo>
                    <a:pt x="561553" y="0"/>
                  </a:lnTo>
                  <a:lnTo>
                    <a:pt x="614210" y="39376"/>
                  </a:lnTo>
                  <a:cubicBezTo>
                    <a:pt x="820412" y="209549"/>
                    <a:pt x="985076" y="428256"/>
                    <a:pt x="1090712" y="678009"/>
                  </a:cubicBezTo>
                  <a:lnTo>
                    <a:pt x="1123106" y="766515"/>
                  </a:lnTo>
                  <a:lnTo>
                    <a:pt x="1058175" y="742750"/>
                  </a:lnTo>
                  <a:cubicBezTo>
                    <a:pt x="901292" y="693955"/>
                    <a:pt x="734492" y="667668"/>
                    <a:pt x="561553" y="667668"/>
                  </a:cubicBezTo>
                  <a:cubicBezTo>
                    <a:pt x="388614" y="667668"/>
                    <a:pt x="221814" y="693955"/>
                    <a:pt x="64931" y="742750"/>
                  </a:cubicBezTo>
                  <a:lnTo>
                    <a:pt x="0" y="766515"/>
                  </a:lnTo>
                  <a:close/>
                </a:path>
              </a:pathLst>
            </a:custGeom>
            <a:solidFill>
              <a:schemeClr val="accent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a:p>
          </p:txBody>
        </p:sp>
        <p:sp>
          <p:nvSpPr>
            <p:cNvPr id="50" name="TextBox 49">
              <a:extLst>
                <a:ext uri="{FF2B5EF4-FFF2-40B4-BE49-F238E27FC236}">
                  <a16:creationId xmlns:a16="http://schemas.microsoft.com/office/drawing/2014/main" id="{F3D77698-5789-44E4-BE4E-F528668FF6E0}"/>
                </a:ext>
              </a:extLst>
            </p:cNvPr>
            <p:cNvSpPr txBox="1"/>
            <p:nvPr/>
          </p:nvSpPr>
          <p:spPr>
            <a:xfrm>
              <a:off x="8990913" y="3118567"/>
              <a:ext cx="694421" cy="539635"/>
            </a:xfrm>
            <a:prstGeom prst="rect">
              <a:avLst/>
            </a:prstGeom>
            <a:noFill/>
          </p:spPr>
          <p:txBody>
            <a:bodyPr wrap="none" rtlCol="0" anchor="ctr" anchorCtr="0">
              <a:spAutoFit/>
            </a:bodyPr>
            <a:lstStyle/>
            <a:p>
              <a:pPr algn="ctr">
                <a:lnSpc>
                  <a:spcPts val="1200"/>
                </a:lnSpc>
              </a:pPr>
              <a:r>
                <a:rPr lang="en-US" sz="800" b="1" dirty="0">
                  <a:solidFill>
                    <a:schemeClr val="accent2"/>
                  </a:solidFill>
                  <a:latin typeface="Montserrat" panose="00000500000000000000" pitchFamily="50" charset="0"/>
                </a:rPr>
                <a:t>Click &amp;</a:t>
              </a:r>
            </a:p>
            <a:p>
              <a:pPr algn="ctr">
                <a:lnSpc>
                  <a:spcPts val="1200"/>
                </a:lnSpc>
              </a:pPr>
              <a:r>
                <a:rPr lang="en-US" sz="800" b="1" dirty="0">
                  <a:solidFill>
                    <a:schemeClr val="accent2"/>
                  </a:solidFill>
                  <a:latin typeface="Montserrat" panose="00000500000000000000" pitchFamily="50" charset="0"/>
                </a:rPr>
                <a:t>Collect</a:t>
              </a:r>
            </a:p>
            <a:p>
              <a:pPr algn="ctr">
                <a:lnSpc>
                  <a:spcPts val="1200"/>
                </a:lnSpc>
              </a:pPr>
              <a:r>
                <a:rPr lang="en-US" sz="800" b="1" dirty="0">
                  <a:solidFill>
                    <a:schemeClr val="accent2"/>
                  </a:solidFill>
                  <a:latin typeface="Montserrat" panose="00000500000000000000" pitchFamily="50" charset="0"/>
                </a:rPr>
                <a:t>Vouchers</a:t>
              </a:r>
            </a:p>
          </p:txBody>
        </p:sp>
      </p:grpSp>
      <p:grpSp>
        <p:nvGrpSpPr>
          <p:cNvPr id="3" name="Group 2">
            <a:extLst>
              <a:ext uri="{FF2B5EF4-FFF2-40B4-BE49-F238E27FC236}">
                <a16:creationId xmlns:a16="http://schemas.microsoft.com/office/drawing/2014/main" id="{0CD1B7FA-40EC-4A40-94AA-A19F2D6AB125}"/>
              </a:ext>
            </a:extLst>
          </p:cNvPr>
          <p:cNvGrpSpPr/>
          <p:nvPr/>
        </p:nvGrpSpPr>
        <p:grpSpPr>
          <a:xfrm>
            <a:off x="7762531" y="4025341"/>
            <a:ext cx="1192679" cy="813998"/>
            <a:chOff x="7762531" y="4025341"/>
            <a:chExt cx="1192679" cy="813998"/>
          </a:xfrm>
        </p:grpSpPr>
        <p:sp>
          <p:nvSpPr>
            <p:cNvPr id="15" name="Freeform: Shape 14">
              <a:extLst>
                <a:ext uri="{FF2B5EF4-FFF2-40B4-BE49-F238E27FC236}">
                  <a16:creationId xmlns:a16="http://schemas.microsoft.com/office/drawing/2014/main" id="{BA56E0E2-8C05-4F01-B8BF-9E1C812D8CF1}"/>
                </a:ext>
              </a:extLst>
            </p:cNvPr>
            <p:cNvSpPr/>
            <p:nvPr/>
          </p:nvSpPr>
          <p:spPr>
            <a:xfrm rot="5400000">
              <a:off x="7951872" y="3836000"/>
              <a:ext cx="813998" cy="1192679"/>
            </a:xfrm>
            <a:custGeom>
              <a:avLst/>
              <a:gdLst>
                <a:gd name="connsiteX0" fmla="*/ 0 w 766515"/>
                <a:gd name="connsiteY0" fmla="*/ 1123106 h 1123106"/>
                <a:gd name="connsiteX1" fmla="*/ 23765 w 766515"/>
                <a:gd name="connsiteY1" fmla="*/ 1058175 h 1123106"/>
                <a:gd name="connsiteX2" fmla="*/ 98847 w 766515"/>
                <a:gd name="connsiteY2" fmla="*/ 561553 h 1123106"/>
                <a:gd name="connsiteX3" fmla="*/ 23765 w 766515"/>
                <a:gd name="connsiteY3" fmla="*/ 64931 h 1123106"/>
                <a:gd name="connsiteX4" fmla="*/ 0 w 766515"/>
                <a:gd name="connsiteY4" fmla="*/ 0 h 1123106"/>
                <a:gd name="connsiteX5" fmla="*/ 88506 w 766515"/>
                <a:gd name="connsiteY5" fmla="*/ 32394 h 1123106"/>
                <a:gd name="connsiteX6" fmla="*/ 727139 w 766515"/>
                <a:gd name="connsiteY6" fmla="*/ 508896 h 1123106"/>
                <a:gd name="connsiteX7" fmla="*/ 766515 w 766515"/>
                <a:gd name="connsiteY7" fmla="*/ 561553 h 1123106"/>
                <a:gd name="connsiteX8" fmla="*/ 727139 w 766515"/>
                <a:gd name="connsiteY8" fmla="*/ 614210 h 1123106"/>
                <a:gd name="connsiteX9" fmla="*/ 88506 w 766515"/>
                <a:gd name="connsiteY9" fmla="*/ 1090712 h 1123106"/>
                <a:gd name="connsiteX10" fmla="*/ 0 w 766515"/>
                <a:gd name="connsiteY10" fmla="*/ 1123106 h 112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6515" h="1123106">
                  <a:moveTo>
                    <a:pt x="0" y="1123106"/>
                  </a:moveTo>
                  <a:lnTo>
                    <a:pt x="23765" y="1058175"/>
                  </a:lnTo>
                  <a:cubicBezTo>
                    <a:pt x="72561" y="901292"/>
                    <a:pt x="98847" y="734493"/>
                    <a:pt x="98847" y="561553"/>
                  </a:cubicBezTo>
                  <a:cubicBezTo>
                    <a:pt x="98847" y="388614"/>
                    <a:pt x="72561" y="221814"/>
                    <a:pt x="23765" y="64931"/>
                  </a:cubicBezTo>
                  <a:lnTo>
                    <a:pt x="0" y="0"/>
                  </a:lnTo>
                  <a:lnTo>
                    <a:pt x="88506" y="32394"/>
                  </a:lnTo>
                  <a:cubicBezTo>
                    <a:pt x="338258" y="138031"/>
                    <a:pt x="556965" y="302694"/>
                    <a:pt x="727139" y="508896"/>
                  </a:cubicBezTo>
                  <a:lnTo>
                    <a:pt x="766515" y="561553"/>
                  </a:lnTo>
                  <a:lnTo>
                    <a:pt x="727139" y="614210"/>
                  </a:lnTo>
                  <a:cubicBezTo>
                    <a:pt x="556965" y="820412"/>
                    <a:pt x="338258" y="985076"/>
                    <a:pt x="88506" y="1090712"/>
                  </a:cubicBezTo>
                  <a:lnTo>
                    <a:pt x="0" y="1123106"/>
                  </a:lnTo>
                  <a:close/>
                </a:path>
              </a:pathLst>
            </a:custGeom>
            <a:solidFill>
              <a:schemeClr val="accent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a:p>
          </p:txBody>
        </p:sp>
        <p:sp>
          <p:nvSpPr>
            <p:cNvPr id="51" name="TextBox 50">
              <a:extLst>
                <a:ext uri="{FF2B5EF4-FFF2-40B4-BE49-F238E27FC236}">
                  <a16:creationId xmlns:a16="http://schemas.microsoft.com/office/drawing/2014/main" id="{0651D130-AA2D-46DB-B49A-F2ECB257617C}"/>
                </a:ext>
              </a:extLst>
            </p:cNvPr>
            <p:cNvSpPr txBox="1"/>
            <p:nvPr/>
          </p:nvSpPr>
          <p:spPr>
            <a:xfrm>
              <a:off x="8037311" y="4157657"/>
              <a:ext cx="643125" cy="436658"/>
            </a:xfrm>
            <a:prstGeom prst="rect">
              <a:avLst/>
            </a:prstGeom>
            <a:noFill/>
          </p:spPr>
          <p:txBody>
            <a:bodyPr wrap="none" rtlCol="0" anchor="ctr" anchorCtr="0">
              <a:spAutoFit/>
            </a:bodyPr>
            <a:lstStyle/>
            <a:p>
              <a:pPr algn="ctr">
                <a:lnSpc>
                  <a:spcPts val="1400"/>
                </a:lnSpc>
              </a:pPr>
              <a:r>
                <a:rPr lang="en-US" sz="1000" b="1" dirty="0">
                  <a:solidFill>
                    <a:schemeClr val="accent2"/>
                  </a:solidFill>
                  <a:latin typeface="Montserrat" panose="00000500000000000000" pitchFamily="50" charset="0"/>
                </a:rPr>
                <a:t>Search</a:t>
              </a:r>
            </a:p>
            <a:p>
              <a:pPr algn="ctr">
                <a:lnSpc>
                  <a:spcPts val="1400"/>
                </a:lnSpc>
              </a:pPr>
              <a:r>
                <a:rPr lang="en-US" sz="1000" b="1" dirty="0">
                  <a:solidFill>
                    <a:schemeClr val="accent2"/>
                  </a:solidFill>
                  <a:latin typeface="Montserrat" panose="00000500000000000000" pitchFamily="50" charset="0"/>
                </a:rPr>
                <a:t>Social</a:t>
              </a:r>
            </a:p>
          </p:txBody>
        </p:sp>
      </p:grpSp>
      <p:sp>
        <p:nvSpPr>
          <p:cNvPr id="72" name="Freeform: Shape 71">
            <a:extLst>
              <a:ext uri="{FF2B5EF4-FFF2-40B4-BE49-F238E27FC236}">
                <a16:creationId xmlns:a16="http://schemas.microsoft.com/office/drawing/2014/main" id="{32557ED6-0E4D-4DAC-9B23-66878BA2D984}"/>
              </a:ext>
            </a:extLst>
          </p:cNvPr>
          <p:cNvSpPr/>
          <p:nvPr/>
        </p:nvSpPr>
        <p:spPr>
          <a:xfrm>
            <a:off x="7657561" y="2727690"/>
            <a:ext cx="1402621" cy="1402622"/>
          </a:xfrm>
          <a:custGeom>
            <a:avLst/>
            <a:gdLst>
              <a:gd name="connsiteX0" fmla="*/ 0 w 1835849"/>
              <a:gd name="connsiteY0" fmla="*/ 2197100 h 2197100"/>
              <a:gd name="connsiteX1" fmla="*/ 0 w 1835849"/>
              <a:gd name="connsiteY1" fmla="*/ 1668484 h 2197100"/>
              <a:gd name="connsiteX2" fmla="*/ 143667 w 1835849"/>
              <a:gd name="connsiteY2" fmla="*/ 1739851 h 2197100"/>
              <a:gd name="connsiteX3" fmla="*/ 237656 w 1835849"/>
              <a:gd name="connsiteY3" fmla="*/ 1774251 h 2197100"/>
              <a:gd name="connsiteX4" fmla="*/ 212419 w 1835849"/>
              <a:gd name="connsiteY4" fmla="*/ 1705299 h 2197100"/>
              <a:gd name="connsiteX5" fmla="*/ 132687 w 1835849"/>
              <a:gd name="connsiteY5" fmla="*/ 1177913 h 2197100"/>
              <a:gd name="connsiteX6" fmla="*/ 212420 w 1835849"/>
              <a:gd name="connsiteY6" fmla="*/ 650527 h 2197100"/>
              <a:gd name="connsiteX7" fmla="*/ 237657 w 1835849"/>
              <a:gd name="connsiteY7" fmla="*/ 581573 h 2197100"/>
              <a:gd name="connsiteX8" fmla="*/ 306610 w 1835849"/>
              <a:gd name="connsiteY8" fmla="*/ 556335 h 2197100"/>
              <a:gd name="connsiteX9" fmla="*/ 833997 w 1835849"/>
              <a:gd name="connsiteY9" fmla="*/ 476601 h 2197100"/>
              <a:gd name="connsiteX10" fmla="*/ 1361383 w 1835849"/>
              <a:gd name="connsiteY10" fmla="*/ 556335 h 2197100"/>
              <a:gd name="connsiteX11" fmla="*/ 1430336 w 1835849"/>
              <a:gd name="connsiteY11" fmla="*/ 581573 h 2197100"/>
              <a:gd name="connsiteX12" fmla="*/ 1395935 w 1835849"/>
              <a:gd name="connsiteY12" fmla="*/ 487583 h 2197100"/>
              <a:gd name="connsiteX13" fmla="*/ 1182974 w 1835849"/>
              <a:gd name="connsiteY13" fmla="*/ 116795 h 2197100"/>
              <a:gd name="connsiteX14" fmla="*/ 1084226 w 1835849"/>
              <a:gd name="connsiteY14" fmla="*/ 0 h 2197100"/>
              <a:gd name="connsiteX15" fmla="*/ 1835849 w 1835849"/>
              <a:gd name="connsiteY15" fmla="*/ 0 h 2197100"/>
              <a:gd name="connsiteX16" fmla="*/ 1835849 w 1835849"/>
              <a:gd name="connsiteY16" fmla="*/ 789934 h 2197100"/>
              <a:gd name="connsiteX17" fmla="*/ 1716772 w 1835849"/>
              <a:gd name="connsiteY17" fmla="*/ 711572 h 2197100"/>
              <a:gd name="connsiteX18" fmla="*/ 1524326 w 1835849"/>
              <a:gd name="connsiteY18" fmla="*/ 615973 h 2197100"/>
              <a:gd name="connsiteX19" fmla="*/ 1430337 w 1835849"/>
              <a:gd name="connsiteY19" fmla="*/ 581573 h 2197100"/>
              <a:gd name="connsiteX20" fmla="*/ 1455574 w 1835849"/>
              <a:gd name="connsiteY20" fmla="*/ 650527 h 2197100"/>
              <a:gd name="connsiteX21" fmla="*/ 1535307 w 1835849"/>
              <a:gd name="connsiteY21" fmla="*/ 1177913 h 2197100"/>
              <a:gd name="connsiteX22" fmla="*/ 1455574 w 1835849"/>
              <a:gd name="connsiteY22" fmla="*/ 1705299 h 2197100"/>
              <a:gd name="connsiteX23" fmla="*/ 1430337 w 1835849"/>
              <a:gd name="connsiteY23" fmla="*/ 1774251 h 2197100"/>
              <a:gd name="connsiteX24" fmla="*/ 1524326 w 1835849"/>
              <a:gd name="connsiteY24" fmla="*/ 1739851 h 2197100"/>
              <a:gd name="connsiteX25" fmla="*/ 1716772 w 1835849"/>
              <a:gd name="connsiteY25" fmla="*/ 1644253 h 2197100"/>
              <a:gd name="connsiteX26" fmla="*/ 1835849 w 1835849"/>
              <a:gd name="connsiteY26" fmla="*/ 1565890 h 2197100"/>
              <a:gd name="connsiteX27" fmla="*/ 1835849 w 1835849"/>
              <a:gd name="connsiteY27" fmla="*/ 2197100 h 2197100"/>
              <a:gd name="connsiteX28" fmla="*/ 1210566 w 1835849"/>
              <a:gd name="connsiteY28" fmla="*/ 2197100 h 2197100"/>
              <a:gd name="connsiteX29" fmla="*/ 1300337 w 1835849"/>
              <a:gd name="connsiteY29" fmla="*/ 2060687 h 2197100"/>
              <a:gd name="connsiteX30" fmla="*/ 1395935 w 1835849"/>
              <a:gd name="connsiteY30" fmla="*/ 1868241 h 2197100"/>
              <a:gd name="connsiteX31" fmla="*/ 1430336 w 1835849"/>
              <a:gd name="connsiteY31" fmla="*/ 1774253 h 2197100"/>
              <a:gd name="connsiteX32" fmla="*/ 1361383 w 1835849"/>
              <a:gd name="connsiteY32" fmla="*/ 1799491 h 2197100"/>
              <a:gd name="connsiteX33" fmla="*/ 833997 w 1835849"/>
              <a:gd name="connsiteY33" fmla="*/ 1879223 h 2197100"/>
              <a:gd name="connsiteX34" fmla="*/ 306609 w 1835849"/>
              <a:gd name="connsiteY34" fmla="*/ 1799491 h 2197100"/>
              <a:gd name="connsiteX35" fmla="*/ 237656 w 1835849"/>
              <a:gd name="connsiteY35" fmla="*/ 1774253 h 2197100"/>
              <a:gd name="connsiteX36" fmla="*/ 272057 w 1835849"/>
              <a:gd name="connsiteY36" fmla="*/ 1868241 h 2197100"/>
              <a:gd name="connsiteX37" fmla="*/ 367655 w 1835849"/>
              <a:gd name="connsiteY37" fmla="*/ 2060687 h 2197100"/>
              <a:gd name="connsiteX38" fmla="*/ 457427 w 1835849"/>
              <a:gd name="connsiteY38" fmla="*/ 2197100 h 2197100"/>
              <a:gd name="connsiteX39" fmla="*/ 0 w 1835849"/>
              <a:gd name="connsiteY39" fmla="*/ 2197100 h 2197100"/>
              <a:gd name="connsiteX0" fmla="*/ 457427 w 1835849"/>
              <a:gd name="connsiteY0" fmla="*/ 2197100 h 2197100"/>
              <a:gd name="connsiteX1" fmla="*/ 0 w 1835849"/>
              <a:gd name="connsiteY1" fmla="*/ 1668484 h 2197100"/>
              <a:gd name="connsiteX2" fmla="*/ 143667 w 1835849"/>
              <a:gd name="connsiteY2" fmla="*/ 1739851 h 2197100"/>
              <a:gd name="connsiteX3" fmla="*/ 237656 w 1835849"/>
              <a:gd name="connsiteY3" fmla="*/ 1774251 h 2197100"/>
              <a:gd name="connsiteX4" fmla="*/ 212419 w 1835849"/>
              <a:gd name="connsiteY4" fmla="*/ 1705299 h 2197100"/>
              <a:gd name="connsiteX5" fmla="*/ 132687 w 1835849"/>
              <a:gd name="connsiteY5" fmla="*/ 1177913 h 2197100"/>
              <a:gd name="connsiteX6" fmla="*/ 212420 w 1835849"/>
              <a:gd name="connsiteY6" fmla="*/ 650527 h 2197100"/>
              <a:gd name="connsiteX7" fmla="*/ 237657 w 1835849"/>
              <a:gd name="connsiteY7" fmla="*/ 581573 h 2197100"/>
              <a:gd name="connsiteX8" fmla="*/ 306610 w 1835849"/>
              <a:gd name="connsiteY8" fmla="*/ 556335 h 2197100"/>
              <a:gd name="connsiteX9" fmla="*/ 833997 w 1835849"/>
              <a:gd name="connsiteY9" fmla="*/ 476601 h 2197100"/>
              <a:gd name="connsiteX10" fmla="*/ 1361383 w 1835849"/>
              <a:gd name="connsiteY10" fmla="*/ 556335 h 2197100"/>
              <a:gd name="connsiteX11" fmla="*/ 1430336 w 1835849"/>
              <a:gd name="connsiteY11" fmla="*/ 581573 h 2197100"/>
              <a:gd name="connsiteX12" fmla="*/ 1395935 w 1835849"/>
              <a:gd name="connsiteY12" fmla="*/ 487583 h 2197100"/>
              <a:gd name="connsiteX13" fmla="*/ 1182974 w 1835849"/>
              <a:gd name="connsiteY13" fmla="*/ 116795 h 2197100"/>
              <a:gd name="connsiteX14" fmla="*/ 1084226 w 1835849"/>
              <a:gd name="connsiteY14" fmla="*/ 0 h 2197100"/>
              <a:gd name="connsiteX15" fmla="*/ 1835849 w 1835849"/>
              <a:gd name="connsiteY15" fmla="*/ 0 h 2197100"/>
              <a:gd name="connsiteX16" fmla="*/ 1835849 w 1835849"/>
              <a:gd name="connsiteY16" fmla="*/ 789934 h 2197100"/>
              <a:gd name="connsiteX17" fmla="*/ 1716772 w 1835849"/>
              <a:gd name="connsiteY17" fmla="*/ 711572 h 2197100"/>
              <a:gd name="connsiteX18" fmla="*/ 1524326 w 1835849"/>
              <a:gd name="connsiteY18" fmla="*/ 615973 h 2197100"/>
              <a:gd name="connsiteX19" fmla="*/ 1430337 w 1835849"/>
              <a:gd name="connsiteY19" fmla="*/ 581573 h 2197100"/>
              <a:gd name="connsiteX20" fmla="*/ 1455574 w 1835849"/>
              <a:gd name="connsiteY20" fmla="*/ 650527 h 2197100"/>
              <a:gd name="connsiteX21" fmla="*/ 1535307 w 1835849"/>
              <a:gd name="connsiteY21" fmla="*/ 1177913 h 2197100"/>
              <a:gd name="connsiteX22" fmla="*/ 1455574 w 1835849"/>
              <a:gd name="connsiteY22" fmla="*/ 1705299 h 2197100"/>
              <a:gd name="connsiteX23" fmla="*/ 1430337 w 1835849"/>
              <a:gd name="connsiteY23" fmla="*/ 1774251 h 2197100"/>
              <a:gd name="connsiteX24" fmla="*/ 1524326 w 1835849"/>
              <a:gd name="connsiteY24" fmla="*/ 1739851 h 2197100"/>
              <a:gd name="connsiteX25" fmla="*/ 1716772 w 1835849"/>
              <a:gd name="connsiteY25" fmla="*/ 1644253 h 2197100"/>
              <a:gd name="connsiteX26" fmla="*/ 1835849 w 1835849"/>
              <a:gd name="connsiteY26" fmla="*/ 1565890 h 2197100"/>
              <a:gd name="connsiteX27" fmla="*/ 1835849 w 1835849"/>
              <a:gd name="connsiteY27" fmla="*/ 2197100 h 2197100"/>
              <a:gd name="connsiteX28" fmla="*/ 1210566 w 1835849"/>
              <a:gd name="connsiteY28" fmla="*/ 2197100 h 2197100"/>
              <a:gd name="connsiteX29" fmla="*/ 1300337 w 1835849"/>
              <a:gd name="connsiteY29" fmla="*/ 2060687 h 2197100"/>
              <a:gd name="connsiteX30" fmla="*/ 1395935 w 1835849"/>
              <a:gd name="connsiteY30" fmla="*/ 1868241 h 2197100"/>
              <a:gd name="connsiteX31" fmla="*/ 1430336 w 1835849"/>
              <a:gd name="connsiteY31" fmla="*/ 1774253 h 2197100"/>
              <a:gd name="connsiteX32" fmla="*/ 1361383 w 1835849"/>
              <a:gd name="connsiteY32" fmla="*/ 1799491 h 2197100"/>
              <a:gd name="connsiteX33" fmla="*/ 833997 w 1835849"/>
              <a:gd name="connsiteY33" fmla="*/ 1879223 h 2197100"/>
              <a:gd name="connsiteX34" fmla="*/ 306609 w 1835849"/>
              <a:gd name="connsiteY34" fmla="*/ 1799491 h 2197100"/>
              <a:gd name="connsiteX35" fmla="*/ 237656 w 1835849"/>
              <a:gd name="connsiteY35" fmla="*/ 1774253 h 2197100"/>
              <a:gd name="connsiteX36" fmla="*/ 272057 w 1835849"/>
              <a:gd name="connsiteY36" fmla="*/ 1868241 h 2197100"/>
              <a:gd name="connsiteX37" fmla="*/ 367655 w 1835849"/>
              <a:gd name="connsiteY37" fmla="*/ 2060687 h 2197100"/>
              <a:gd name="connsiteX38" fmla="*/ 457427 w 1835849"/>
              <a:gd name="connsiteY38" fmla="*/ 2197100 h 2197100"/>
              <a:gd name="connsiteX0" fmla="*/ 457427 w 1835849"/>
              <a:gd name="connsiteY0" fmla="*/ 2197100 h 2197100"/>
              <a:gd name="connsiteX1" fmla="*/ 0 w 1835849"/>
              <a:gd name="connsiteY1" fmla="*/ 1668484 h 2197100"/>
              <a:gd name="connsiteX2" fmla="*/ 143667 w 1835849"/>
              <a:gd name="connsiteY2" fmla="*/ 1739851 h 2197100"/>
              <a:gd name="connsiteX3" fmla="*/ 237656 w 1835849"/>
              <a:gd name="connsiteY3" fmla="*/ 1774251 h 2197100"/>
              <a:gd name="connsiteX4" fmla="*/ 212419 w 1835849"/>
              <a:gd name="connsiteY4" fmla="*/ 1705299 h 2197100"/>
              <a:gd name="connsiteX5" fmla="*/ 132687 w 1835849"/>
              <a:gd name="connsiteY5" fmla="*/ 1177913 h 2197100"/>
              <a:gd name="connsiteX6" fmla="*/ 212420 w 1835849"/>
              <a:gd name="connsiteY6" fmla="*/ 650527 h 2197100"/>
              <a:gd name="connsiteX7" fmla="*/ 237657 w 1835849"/>
              <a:gd name="connsiteY7" fmla="*/ 581573 h 2197100"/>
              <a:gd name="connsiteX8" fmla="*/ 306610 w 1835849"/>
              <a:gd name="connsiteY8" fmla="*/ 556335 h 2197100"/>
              <a:gd name="connsiteX9" fmla="*/ 833997 w 1835849"/>
              <a:gd name="connsiteY9" fmla="*/ 476601 h 2197100"/>
              <a:gd name="connsiteX10" fmla="*/ 1361383 w 1835849"/>
              <a:gd name="connsiteY10" fmla="*/ 556335 h 2197100"/>
              <a:gd name="connsiteX11" fmla="*/ 1430336 w 1835849"/>
              <a:gd name="connsiteY11" fmla="*/ 581573 h 2197100"/>
              <a:gd name="connsiteX12" fmla="*/ 1395935 w 1835849"/>
              <a:gd name="connsiteY12" fmla="*/ 487583 h 2197100"/>
              <a:gd name="connsiteX13" fmla="*/ 1182974 w 1835849"/>
              <a:gd name="connsiteY13" fmla="*/ 116795 h 2197100"/>
              <a:gd name="connsiteX14" fmla="*/ 1084226 w 1835849"/>
              <a:gd name="connsiteY14" fmla="*/ 0 h 2197100"/>
              <a:gd name="connsiteX15" fmla="*/ 1835849 w 1835849"/>
              <a:gd name="connsiteY15" fmla="*/ 0 h 2197100"/>
              <a:gd name="connsiteX16" fmla="*/ 1835849 w 1835849"/>
              <a:gd name="connsiteY16" fmla="*/ 789934 h 2197100"/>
              <a:gd name="connsiteX17" fmla="*/ 1716772 w 1835849"/>
              <a:gd name="connsiteY17" fmla="*/ 711572 h 2197100"/>
              <a:gd name="connsiteX18" fmla="*/ 1524326 w 1835849"/>
              <a:gd name="connsiteY18" fmla="*/ 615973 h 2197100"/>
              <a:gd name="connsiteX19" fmla="*/ 1430337 w 1835849"/>
              <a:gd name="connsiteY19" fmla="*/ 581573 h 2197100"/>
              <a:gd name="connsiteX20" fmla="*/ 1455574 w 1835849"/>
              <a:gd name="connsiteY20" fmla="*/ 650527 h 2197100"/>
              <a:gd name="connsiteX21" fmla="*/ 1535307 w 1835849"/>
              <a:gd name="connsiteY21" fmla="*/ 1177913 h 2197100"/>
              <a:gd name="connsiteX22" fmla="*/ 1455574 w 1835849"/>
              <a:gd name="connsiteY22" fmla="*/ 1705299 h 2197100"/>
              <a:gd name="connsiteX23" fmla="*/ 1430337 w 1835849"/>
              <a:gd name="connsiteY23" fmla="*/ 1774251 h 2197100"/>
              <a:gd name="connsiteX24" fmla="*/ 1524326 w 1835849"/>
              <a:gd name="connsiteY24" fmla="*/ 1739851 h 2197100"/>
              <a:gd name="connsiteX25" fmla="*/ 1716772 w 1835849"/>
              <a:gd name="connsiteY25" fmla="*/ 1644253 h 2197100"/>
              <a:gd name="connsiteX26" fmla="*/ 1835849 w 1835849"/>
              <a:gd name="connsiteY26" fmla="*/ 1565890 h 2197100"/>
              <a:gd name="connsiteX27" fmla="*/ 1835849 w 1835849"/>
              <a:gd name="connsiteY27" fmla="*/ 2197100 h 2197100"/>
              <a:gd name="connsiteX28" fmla="*/ 1210566 w 1835849"/>
              <a:gd name="connsiteY28" fmla="*/ 2197100 h 2197100"/>
              <a:gd name="connsiteX29" fmla="*/ 1300337 w 1835849"/>
              <a:gd name="connsiteY29" fmla="*/ 2060687 h 2197100"/>
              <a:gd name="connsiteX30" fmla="*/ 1395935 w 1835849"/>
              <a:gd name="connsiteY30" fmla="*/ 1868241 h 2197100"/>
              <a:gd name="connsiteX31" fmla="*/ 1430336 w 1835849"/>
              <a:gd name="connsiteY31" fmla="*/ 1774253 h 2197100"/>
              <a:gd name="connsiteX32" fmla="*/ 1361383 w 1835849"/>
              <a:gd name="connsiteY32" fmla="*/ 1799491 h 2197100"/>
              <a:gd name="connsiteX33" fmla="*/ 833997 w 1835849"/>
              <a:gd name="connsiteY33" fmla="*/ 1879223 h 2197100"/>
              <a:gd name="connsiteX34" fmla="*/ 306609 w 1835849"/>
              <a:gd name="connsiteY34" fmla="*/ 1799491 h 2197100"/>
              <a:gd name="connsiteX35" fmla="*/ 237656 w 1835849"/>
              <a:gd name="connsiteY35" fmla="*/ 1774253 h 2197100"/>
              <a:gd name="connsiteX36" fmla="*/ 367655 w 1835849"/>
              <a:gd name="connsiteY36" fmla="*/ 2060687 h 2197100"/>
              <a:gd name="connsiteX37" fmla="*/ 457427 w 1835849"/>
              <a:gd name="connsiteY37" fmla="*/ 2197100 h 2197100"/>
              <a:gd name="connsiteX0" fmla="*/ 457427 w 1835849"/>
              <a:gd name="connsiteY0" fmla="*/ 2197100 h 2197100"/>
              <a:gd name="connsiteX1" fmla="*/ 0 w 1835849"/>
              <a:gd name="connsiteY1" fmla="*/ 1668484 h 2197100"/>
              <a:gd name="connsiteX2" fmla="*/ 237656 w 1835849"/>
              <a:gd name="connsiteY2" fmla="*/ 1774251 h 2197100"/>
              <a:gd name="connsiteX3" fmla="*/ 212419 w 1835849"/>
              <a:gd name="connsiteY3" fmla="*/ 1705299 h 2197100"/>
              <a:gd name="connsiteX4" fmla="*/ 132687 w 1835849"/>
              <a:gd name="connsiteY4" fmla="*/ 1177913 h 2197100"/>
              <a:gd name="connsiteX5" fmla="*/ 212420 w 1835849"/>
              <a:gd name="connsiteY5" fmla="*/ 650527 h 2197100"/>
              <a:gd name="connsiteX6" fmla="*/ 237657 w 1835849"/>
              <a:gd name="connsiteY6" fmla="*/ 581573 h 2197100"/>
              <a:gd name="connsiteX7" fmla="*/ 306610 w 1835849"/>
              <a:gd name="connsiteY7" fmla="*/ 556335 h 2197100"/>
              <a:gd name="connsiteX8" fmla="*/ 833997 w 1835849"/>
              <a:gd name="connsiteY8" fmla="*/ 476601 h 2197100"/>
              <a:gd name="connsiteX9" fmla="*/ 1361383 w 1835849"/>
              <a:gd name="connsiteY9" fmla="*/ 556335 h 2197100"/>
              <a:gd name="connsiteX10" fmla="*/ 1430336 w 1835849"/>
              <a:gd name="connsiteY10" fmla="*/ 581573 h 2197100"/>
              <a:gd name="connsiteX11" fmla="*/ 1395935 w 1835849"/>
              <a:gd name="connsiteY11" fmla="*/ 487583 h 2197100"/>
              <a:gd name="connsiteX12" fmla="*/ 1182974 w 1835849"/>
              <a:gd name="connsiteY12" fmla="*/ 116795 h 2197100"/>
              <a:gd name="connsiteX13" fmla="*/ 1084226 w 1835849"/>
              <a:gd name="connsiteY13" fmla="*/ 0 h 2197100"/>
              <a:gd name="connsiteX14" fmla="*/ 1835849 w 1835849"/>
              <a:gd name="connsiteY14" fmla="*/ 0 h 2197100"/>
              <a:gd name="connsiteX15" fmla="*/ 1835849 w 1835849"/>
              <a:gd name="connsiteY15" fmla="*/ 789934 h 2197100"/>
              <a:gd name="connsiteX16" fmla="*/ 1716772 w 1835849"/>
              <a:gd name="connsiteY16" fmla="*/ 711572 h 2197100"/>
              <a:gd name="connsiteX17" fmla="*/ 1524326 w 1835849"/>
              <a:gd name="connsiteY17" fmla="*/ 615973 h 2197100"/>
              <a:gd name="connsiteX18" fmla="*/ 1430337 w 1835849"/>
              <a:gd name="connsiteY18" fmla="*/ 581573 h 2197100"/>
              <a:gd name="connsiteX19" fmla="*/ 1455574 w 1835849"/>
              <a:gd name="connsiteY19" fmla="*/ 650527 h 2197100"/>
              <a:gd name="connsiteX20" fmla="*/ 1535307 w 1835849"/>
              <a:gd name="connsiteY20" fmla="*/ 1177913 h 2197100"/>
              <a:gd name="connsiteX21" fmla="*/ 1455574 w 1835849"/>
              <a:gd name="connsiteY21" fmla="*/ 1705299 h 2197100"/>
              <a:gd name="connsiteX22" fmla="*/ 1430337 w 1835849"/>
              <a:gd name="connsiteY22" fmla="*/ 1774251 h 2197100"/>
              <a:gd name="connsiteX23" fmla="*/ 1524326 w 1835849"/>
              <a:gd name="connsiteY23" fmla="*/ 1739851 h 2197100"/>
              <a:gd name="connsiteX24" fmla="*/ 1716772 w 1835849"/>
              <a:gd name="connsiteY24" fmla="*/ 1644253 h 2197100"/>
              <a:gd name="connsiteX25" fmla="*/ 1835849 w 1835849"/>
              <a:gd name="connsiteY25" fmla="*/ 1565890 h 2197100"/>
              <a:gd name="connsiteX26" fmla="*/ 1835849 w 1835849"/>
              <a:gd name="connsiteY26" fmla="*/ 2197100 h 2197100"/>
              <a:gd name="connsiteX27" fmla="*/ 1210566 w 1835849"/>
              <a:gd name="connsiteY27" fmla="*/ 2197100 h 2197100"/>
              <a:gd name="connsiteX28" fmla="*/ 1300337 w 1835849"/>
              <a:gd name="connsiteY28" fmla="*/ 2060687 h 2197100"/>
              <a:gd name="connsiteX29" fmla="*/ 1395935 w 1835849"/>
              <a:gd name="connsiteY29" fmla="*/ 1868241 h 2197100"/>
              <a:gd name="connsiteX30" fmla="*/ 1430336 w 1835849"/>
              <a:gd name="connsiteY30" fmla="*/ 1774253 h 2197100"/>
              <a:gd name="connsiteX31" fmla="*/ 1361383 w 1835849"/>
              <a:gd name="connsiteY31" fmla="*/ 1799491 h 2197100"/>
              <a:gd name="connsiteX32" fmla="*/ 833997 w 1835849"/>
              <a:gd name="connsiteY32" fmla="*/ 1879223 h 2197100"/>
              <a:gd name="connsiteX33" fmla="*/ 306609 w 1835849"/>
              <a:gd name="connsiteY33" fmla="*/ 1799491 h 2197100"/>
              <a:gd name="connsiteX34" fmla="*/ 237656 w 1835849"/>
              <a:gd name="connsiteY34" fmla="*/ 1774253 h 2197100"/>
              <a:gd name="connsiteX35" fmla="*/ 367655 w 1835849"/>
              <a:gd name="connsiteY35" fmla="*/ 2060687 h 2197100"/>
              <a:gd name="connsiteX36" fmla="*/ 457427 w 1835849"/>
              <a:gd name="connsiteY36" fmla="*/ 2197100 h 2197100"/>
              <a:gd name="connsiteX0" fmla="*/ 457427 w 1835849"/>
              <a:gd name="connsiteY0" fmla="*/ 2197100 h 2197100"/>
              <a:gd name="connsiteX1" fmla="*/ 0 w 1835849"/>
              <a:gd name="connsiteY1" fmla="*/ 1668484 h 2197100"/>
              <a:gd name="connsiteX2" fmla="*/ 237656 w 1835849"/>
              <a:gd name="connsiteY2" fmla="*/ 1774251 h 2197100"/>
              <a:gd name="connsiteX3" fmla="*/ 212419 w 1835849"/>
              <a:gd name="connsiteY3" fmla="*/ 1705299 h 2197100"/>
              <a:gd name="connsiteX4" fmla="*/ 132687 w 1835849"/>
              <a:gd name="connsiteY4" fmla="*/ 1177913 h 2197100"/>
              <a:gd name="connsiteX5" fmla="*/ 212420 w 1835849"/>
              <a:gd name="connsiteY5" fmla="*/ 650527 h 2197100"/>
              <a:gd name="connsiteX6" fmla="*/ 237657 w 1835849"/>
              <a:gd name="connsiteY6" fmla="*/ 581573 h 2197100"/>
              <a:gd name="connsiteX7" fmla="*/ 306610 w 1835849"/>
              <a:gd name="connsiteY7" fmla="*/ 556335 h 2197100"/>
              <a:gd name="connsiteX8" fmla="*/ 833997 w 1835849"/>
              <a:gd name="connsiteY8" fmla="*/ 476601 h 2197100"/>
              <a:gd name="connsiteX9" fmla="*/ 1361383 w 1835849"/>
              <a:gd name="connsiteY9" fmla="*/ 556335 h 2197100"/>
              <a:gd name="connsiteX10" fmla="*/ 1430336 w 1835849"/>
              <a:gd name="connsiteY10" fmla="*/ 581573 h 2197100"/>
              <a:gd name="connsiteX11" fmla="*/ 1395935 w 1835849"/>
              <a:gd name="connsiteY11" fmla="*/ 487583 h 2197100"/>
              <a:gd name="connsiteX12" fmla="*/ 1182974 w 1835849"/>
              <a:gd name="connsiteY12" fmla="*/ 116795 h 2197100"/>
              <a:gd name="connsiteX13" fmla="*/ 1084226 w 1835849"/>
              <a:gd name="connsiteY13" fmla="*/ 0 h 2197100"/>
              <a:gd name="connsiteX14" fmla="*/ 1835849 w 1835849"/>
              <a:gd name="connsiteY14" fmla="*/ 0 h 2197100"/>
              <a:gd name="connsiteX15" fmla="*/ 1835849 w 1835849"/>
              <a:gd name="connsiteY15" fmla="*/ 789934 h 2197100"/>
              <a:gd name="connsiteX16" fmla="*/ 1716772 w 1835849"/>
              <a:gd name="connsiteY16" fmla="*/ 711572 h 2197100"/>
              <a:gd name="connsiteX17" fmla="*/ 1524326 w 1835849"/>
              <a:gd name="connsiteY17" fmla="*/ 615973 h 2197100"/>
              <a:gd name="connsiteX18" fmla="*/ 1430337 w 1835849"/>
              <a:gd name="connsiteY18" fmla="*/ 581573 h 2197100"/>
              <a:gd name="connsiteX19" fmla="*/ 1455574 w 1835849"/>
              <a:gd name="connsiteY19" fmla="*/ 650527 h 2197100"/>
              <a:gd name="connsiteX20" fmla="*/ 1535307 w 1835849"/>
              <a:gd name="connsiteY20" fmla="*/ 1177913 h 2197100"/>
              <a:gd name="connsiteX21" fmla="*/ 1455574 w 1835849"/>
              <a:gd name="connsiteY21" fmla="*/ 1705299 h 2197100"/>
              <a:gd name="connsiteX22" fmla="*/ 1430337 w 1835849"/>
              <a:gd name="connsiteY22" fmla="*/ 1774251 h 2197100"/>
              <a:gd name="connsiteX23" fmla="*/ 1524326 w 1835849"/>
              <a:gd name="connsiteY23" fmla="*/ 1739851 h 2197100"/>
              <a:gd name="connsiteX24" fmla="*/ 1716772 w 1835849"/>
              <a:gd name="connsiteY24" fmla="*/ 1644253 h 2197100"/>
              <a:gd name="connsiteX25" fmla="*/ 1835849 w 1835849"/>
              <a:gd name="connsiteY25" fmla="*/ 1565890 h 2197100"/>
              <a:gd name="connsiteX26" fmla="*/ 1835849 w 1835849"/>
              <a:gd name="connsiteY26" fmla="*/ 2197100 h 2197100"/>
              <a:gd name="connsiteX27" fmla="*/ 1210566 w 1835849"/>
              <a:gd name="connsiteY27" fmla="*/ 2197100 h 2197100"/>
              <a:gd name="connsiteX28" fmla="*/ 1300337 w 1835849"/>
              <a:gd name="connsiteY28" fmla="*/ 2060687 h 2197100"/>
              <a:gd name="connsiteX29" fmla="*/ 1395935 w 1835849"/>
              <a:gd name="connsiteY29" fmla="*/ 1868241 h 2197100"/>
              <a:gd name="connsiteX30" fmla="*/ 1430336 w 1835849"/>
              <a:gd name="connsiteY30" fmla="*/ 1774253 h 2197100"/>
              <a:gd name="connsiteX31" fmla="*/ 1361383 w 1835849"/>
              <a:gd name="connsiteY31" fmla="*/ 1799491 h 2197100"/>
              <a:gd name="connsiteX32" fmla="*/ 833997 w 1835849"/>
              <a:gd name="connsiteY32" fmla="*/ 1879223 h 2197100"/>
              <a:gd name="connsiteX33" fmla="*/ 306609 w 1835849"/>
              <a:gd name="connsiteY33" fmla="*/ 1799491 h 2197100"/>
              <a:gd name="connsiteX34" fmla="*/ 237656 w 1835849"/>
              <a:gd name="connsiteY34" fmla="*/ 1774253 h 2197100"/>
              <a:gd name="connsiteX35" fmla="*/ 457427 w 1835849"/>
              <a:gd name="connsiteY35" fmla="*/ 2197100 h 2197100"/>
              <a:gd name="connsiteX0" fmla="*/ 237656 w 1835849"/>
              <a:gd name="connsiteY0" fmla="*/ 1774253 h 2197100"/>
              <a:gd name="connsiteX1" fmla="*/ 0 w 1835849"/>
              <a:gd name="connsiteY1" fmla="*/ 1668484 h 2197100"/>
              <a:gd name="connsiteX2" fmla="*/ 237656 w 1835849"/>
              <a:gd name="connsiteY2" fmla="*/ 1774251 h 2197100"/>
              <a:gd name="connsiteX3" fmla="*/ 212419 w 1835849"/>
              <a:gd name="connsiteY3" fmla="*/ 1705299 h 2197100"/>
              <a:gd name="connsiteX4" fmla="*/ 132687 w 1835849"/>
              <a:gd name="connsiteY4" fmla="*/ 1177913 h 2197100"/>
              <a:gd name="connsiteX5" fmla="*/ 212420 w 1835849"/>
              <a:gd name="connsiteY5" fmla="*/ 650527 h 2197100"/>
              <a:gd name="connsiteX6" fmla="*/ 237657 w 1835849"/>
              <a:gd name="connsiteY6" fmla="*/ 581573 h 2197100"/>
              <a:gd name="connsiteX7" fmla="*/ 306610 w 1835849"/>
              <a:gd name="connsiteY7" fmla="*/ 556335 h 2197100"/>
              <a:gd name="connsiteX8" fmla="*/ 833997 w 1835849"/>
              <a:gd name="connsiteY8" fmla="*/ 476601 h 2197100"/>
              <a:gd name="connsiteX9" fmla="*/ 1361383 w 1835849"/>
              <a:gd name="connsiteY9" fmla="*/ 556335 h 2197100"/>
              <a:gd name="connsiteX10" fmla="*/ 1430336 w 1835849"/>
              <a:gd name="connsiteY10" fmla="*/ 581573 h 2197100"/>
              <a:gd name="connsiteX11" fmla="*/ 1395935 w 1835849"/>
              <a:gd name="connsiteY11" fmla="*/ 487583 h 2197100"/>
              <a:gd name="connsiteX12" fmla="*/ 1182974 w 1835849"/>
              <a:gd name="connsiteY12" fmla="*/ 116795 h 2197100"/>
              <a:gd name="connsiteX13" fmla="*/ 1084226 w 1835849"/>
              <a:gd name="connsiteY13" fmla="*/ 0 h 2197100"/>
              <a:gd name="connsiteX14" fmla="*/ 1835849 w 1835849"/>
              <a:gd name="connsiteY14" fmla="*/ 0 h 2197100"/>
              <a:gd name="connsiteX15" fmla="*/ 1835849 w 1835849"/>
              <a:gd name="connsiteY15" fmla="*/ 789934 h 2197100"/>
              <a:gd name="connsiteX16" fmla="*/ 1716772 w 1835849"/>
              <a:gd name="connsiteY16" fmla="*/ 711572 h 2197100"/>
              <a:gd name="connsiteX17" fmla="*/ 1524326 w 1835849"/>
              <a:gd name="connsiteY17" fmla="*/ 615973 h 2197100"/>
              <a:gd name="connsiteX18" fmla="*/ 1430337 w 1835849"/>
              <a:gd name="connsiteY18" fmla="*/ 581573 h 2197100"/>
              <a:gd name="connsiteX19" fmla="*/ 1455574 w 1835849"/>
              <a:gd name="connsiteY19" fmla="*/ 650527 h 2197100"/>
              <a:gd name="connsiteX20" fmla="*/ 1535307 w 1835849"/>
              <a:gd name="connsiteY20" fmla="*/ 1177913 h 2197100"/>
              <a:gd name="connsiteX21" fmla="*/ 1455574 w 1835849"/>
              <a:gd name="connsiteY21" fmla="*/ 1705299 h 2197100"/>
              <a:gd name="connsiteX22" fmla="*/ 1430337 w 1835849"/>
              <a:gd name="connsiteY22" fmla="*/ 1774251 h 2197100"/>
              <a:gd name="connsiteX23" fmla="*/ 1524326 w 1835849"/>
              <a:gd name="connsiteY23" fmla="*/ 1739851 h 2197100"/>
              <a:gd name="connsiteX24" fmla="*/ 1716772 w 1835849"/>
              <a:gd name="connsiteY24" fmla="*/ 1644253 h 2197100"/>
              <a:gd name="connsiteX25" fmla="*/ 1835849 w 1835849"/>
              <a:gd name="connsiteY25" fmla="*/ 1565890 h 2197100"/>
              <a:gd name="connsiteX26" fmla="*/ 1835849 w 1835849"/>
              <a:gd name="connsiteY26" fmla="*/ 2197100 h 2197100"/>
              <a:gd name="connsiteX27" fmla="*/ 1210566 w 1835849"/>
              <a:gd name="connsiteY27" fmla="*/ 2197100 h 2197100"/>
              <a:gd name="connsiteX28" fmla="*/ 1300337 w 1835849"/>
              <a:gd name="connsiteY28" fmla="*/ 2060687 h 2197100"/>
              <a:gd name="connsiteX29" fmla="*/ 1395935 w 1835849"/>
              <a:gd name="connsiteY29" fmla="*/ 1868241 h 2197100"/>
              <a:gd name="connsiteX30" fmla="*/ 1430336 w 1835849"/>
              <a:gd name="connsiteY30" fmla="*/ 1774253 h 2197100"/>
              <a:gd name="connsiteX31" fmla="*/ 1361383 w 1835849"/>
              <a:gd name="connsiteY31" fmla="*/ 1799491 h 2197100"/>
              <a:gd name="connsiteX32" fmla="*/ 833997 w 1835849"/>
              <a:gd name="connsiteY32" fmla="*/ 1879223 h 2197100"/>
              <a:gd name="connsiteX33" fmla="*/ 306609 w 1835849"/>
              <a:gd name="connsiteY33" fmla="*/ 1799491 h 2197100"/>
              <a:gd name="connsiteX34" fmla="*/ 237656 w 1835849"/>
              <a:gd name="connsiteY34" fmla="*/ 1774253 h 2197100"/>
              <a:gd name="connsiteX0" fmla="*/ 104970 w 1703163"/>
              <a:gd name="connsiteY0" fmla="*/ 1774253 h 2197100"/>
              <a:gd name="connsiteX1" fmla="*/ 104970 w 1703163"/>
              <a:gd name="connsiteY1" fmla="*/ 1774251 h 2197100"/>
              <a:gd name="connsiteX2" fmla="*/ 79733 w 1703163"/>
              <a:gd name="connsiteY2" fmla="*/ 1705299 h 2197100"/>
              <a:gd name="connsiteX3" fmla="*/ 1 w 1703163"/>
              <a:gd name="connsiteY3" fmla="*/ 1177913 h 2197100"/>
              <a:gd name="connsiteX4" fmla="*/ 79734 w 1703163"/>
              <a:gd name="connsiteY4" fmla="*/ 650527 h 2197100"/>
              <a:gd name="connsiteX5" fmla="*/ 104971 w 1703163"/>
              <a:gd name="connsiteY5" fmla="*/ 581573 h 2197100"/>
              <a:gd name="connsiteX6" fmla="*/ 173924 w 1703163"/>
              <a:gd name="connsiteY6" fmla="*/ 556335 h 2197100"/>
              <a:gd name="connsiteX7" fmla="*/ 701311 w 1703163"/>
              <a:gd name="connsiteY7" fmla="*/ 476601 h 2197100"/>
              <a:gd name="connsiteX8" fmla="*/ 1228697 w 1703163"/>
              <a:gd name="connsiteY8" fmla="*/ 556335 h 2197100"/>
              <a:gd name="connsiteX9" fmla="*/ 1297650 w 1703163"/>
              <a:gd name="connsiteY9" fmla="*/ 581573 h 2197100"/>
              <a:gd name="connsiteX10" fmla="*/ 1263249 w 1703163"/>
              <a:gd name="connsiteY10" fmla="*/ 487583 h 2197100"/>
              <a:gd name="connsiteX11" fmla="*/ 1050288 w 1703163"/>
              <a:gd name="connsiteY11" fmla="*/ 116795 h 2197100"/>
              <a:gd name="connsiteX12" fmla="*/ 951540 w 1703163"/>
              <a:gd name="connsiteY12" fmla="*/ 0 h 2197100"/>
              <a:gd name="connsiteX13" fmla="*/ 1703163 w 1703163"/>
              <a:gd name="connsiteY13" fmla="*/ 0 h 2197100"/>
              <a:gd name="connsiteX14" fmla="*/ 1703163 w 1703163"/>
              <a:gd name="connsiteY14" fmla="*/ 789934 h 2197100"/>
              <a:gd name="connsiteX15" fmla="*/ 1584086 w 1703163"/>
              <a:gd name="connsiteY15" fmla="*/ 711572 h 2197100"/>
              <a:gd name="connsiteX16" fmla="*/ 1391640 w 1703163"/>
              <a:gd name="connsiteY16" fmla="*/ 615973 h 2197100"/>
              <a:gd name="connsiteX17" fmla="*/ 1297651 w 1703163"/>
              <a:gd name="connsiteY17" fmla="*/ 581573 h 2197100"/>
              <a:gd name="connsiteX18" fmla="*/ 1322888 w 1703163"/>
              <a:gd name="connsiteY18" fmla="*/ 650527 h 2197100"/>
              <a:gd name="connsiteX19" fmla="*/ 1402621 w 1703163"/>
              <a:gd name="connsiteY19" fmla="*/ 1177913 h 2197100"/>
              <a:gd name="connsiteX20" fmla="*/ 1322888 w 1703163"/>
              <a:gd name="connsiteY20" fmla="*/ 1705299 h 2197100"/>
              <a:gd name="connsiteX21" fmla="*/ 1297651 w 1703163"/>
              <a:gd name="connsiteY21" fmla="*/ 1774251 h 2197100"/>
              <a:gd name="connsiteX22" fmla="*/ 1391640 w 1703163"/>
              <a:gd name="connsiteY22" fmla="*/ 1739851 h 2197100"/>
              <a:gd name="connsiteX23" fmla="*/ 1584086 w 1703163"/>
              <a:gd name="connsiteY23" fmla="*/ 1644253 h 2197100"/>
              <a:gd name="connsiteX24" fmla="*/ 1703163 w 1703163"/>
              <a:gd name="connsiteY24" fmla="*/ 1565890 h 2197100"/>
              <a:gd name="connsiteX25" fmla="*/ 1703163 w 1703163"/>
              <a:gd name="connsiteY25" fmla="*/ 2197100 h 2197100"/>
              <a:gd name="connsiteX26" fmla="*/ 1077880 w 1703163"/>
              <a:gd name="connsiteY26" fmla="*/ 2197100 h 2197100"/>
              <a:gd name="connsiteX27" fmla="*/ 1167651 w 1703163"/>
              <a:gd name="connsiteY27" fmla="*/ 2060687 h 2197100"/>
              <a:gd name="connsiteX28" fmla="*/ 1263249 w 1703163"/>
              <a:gd name="connsiteY28" fmla="*/ 1868241 h 2197100"/>
              <a:gd name="connsiteX29" fmla="*/ 1297650 w 1703163"/>
              <a:gd name="connsiteY29" fmla="*/ 1774253 h 2197100"/>
              <a:gd name="connsiteX30" fmla="*/ 1228697 w 1703163"/>
              <a:gd name="connsiteY30" fmla="*/ 1799491 h 2197100"/>
              <a:gd name="connsiteX31" fmla="*/ 701311 w 1703163"/>
              <a:gd name="connsiteY31" fmla="*/ 1879223 h 2197100"/>
              <a:gd name="connsiteX32" fmla="*/ 173923 w 1703163"/>
              <a:gd name="connsiteY32" fmla="*/ 1799491 h 2197100"/>
              <a:gd name="connsiteX33" fmla="*/ 104970 w 1703163"/>
              <a:gd name="connsiteY33" fmla="*/ 1774253 h 2197100"/>
              <a:gd name="connsiteX0" fmla="*/ 104970 w 1703163"/>
              <a:gd name="connsiteY0" fmla="*/ 1774253 h 2197100"/>
              <a:gd name="connsiteX1" fmla="*/ 104970 w 1703163"/>
              <a:gd name="connsiteY1" fmla="*/ 1774251 h 2197100"/>
              <a:gd name="connsiteX2" fmla="*/ 79733 w 1703163"/>
              <a:gd name="connsiteY2" fmla="*/ 1705299 h 2197100"/>
              <a:gd name="connsiteX3" fmla="*/ 1 w 1703163"/>
              <a:gd name="connsiteY3" fmla="*/ 1177913 h 2197100"/>
              <a:gd name="connsiteX4" fmla="*/ 79734 w 1703163"/>
              <a:gd name="connsiteY4" fmla="*/ 650527 h 2197100"/>
              <a:gd name="connsiteX5" fmla="*/ 104971 w 1703163"/>
              <a:gd name="connsiteY5" fmla="*/ 581573 h 2197100"/>
              <a:gd name="connsiteX6" fmla="*/ 173924 w 1703163"/>
              <a:gd name="connsiteY6" fmla="*/ 556335 h 2197100"/>
              <a:gd name="connsiteX7" fmla="*/ 701311 w 1703163"/>
              <a:gd name="connsiteY7" fmla="*/ 476601 h 2197100"/>
              <a:gd name="connsiteX8" fmla="*/ 1228697 w 1703163"/>
              <a:gd name="connsiteY8" fmla="*/ 556335 h 2197100"/>
              <a:gd name="connsiteX9" fmla="*/ 1297650 w 1703163"/>
              <a:gd name="connsiteY9" fmla="*/ 581573 h 2197100"/>
              <a:gd name="connsiteX10" fmla="*/ 1050288 w 1703163"/>
              <a:gd name="connsiteY10" fmla="*/ 116795 h 2197100"/>
              <a:gd name="connsiteX11" fmla="*/ 951540 w 1703163"/>
              <a:gd name="connsiteY11" fmla="*/ 0 h 2197100"/>
              <a:gd name="connsiteX12" fmla="*/ 1703163 w 1703163"/>
              <a:gd name="connsiteY12" fmla="*/ 0 h 2197100"/>
              <a:gd name="connsiteX13" fmla="*/ 1703163 w 1703163"/>
              <a:gd name="connsiteY13" fmla="*/ 789934 h 2197100"/>
              <a:gd name="connsiteX14" fmla="*/ 1584086 w 1703163"/>
              <a:gd name="connsiteY14" fmla="*/ 711572 h 2197100"/>
              <a:gd name="connsiteX15" fmla="*/ 1391640 w 1703163"/>
              <a:gd name="connsiteY15" fmla="*/ 615973 h 2197100"/>
              <a:gd name="connsiteX16" fmla="*/ 1297651 w 1703163"/>
              <a:gd name="connsiteY16" fmla="*/ 581573 h 2197100"/>
              <a:gd name="connsiteX17" fmla="*/ 1322888 w 1703163"/>
              <a:gd name="connsiteY17" fmla="*/ 650527 h 2197100"/>
              <a:gd name="connsiteX18" fmla="*/ 1402621 w 1703163"/>
              <a:gd name="connsiteY18" fmla="*/ 1177913 h 2197100"/>
              <a:gd name="connsiteX19" fmla="*/ 1322888 w 1703163"/>
              <a:gd name="connsiteY19" fmla="*/ 1705299 h 2197100"/>
              <a:gd name="connsiteX20" fmla="*/ 1297651 w 1703163"/>
              <a:gd name="connsiteY20" fmla="*/ 1774251 h 2197100"/>
              <a:gd name="connsiteX21" fmla="*/ 1391640 w 1703163"/>
              <a:gd name="connsiteY21" fmla="*/ 1739851 h 2197100"/>
              <a:gd name="connsiteX22" fmla="*/ 1584086 w 1703163"/>
              <a:gd name="connsiteY22" fmla="*/ 1644253 h 2197100"/>
              <a:gd name="connsiteX23" fmla="*/ 1703163 w 1703163"/>
              <a:gd name="connsiteY23" fmla="*/ 1565890 h 2197100"/>
              <a:gd name="connsiteX24" fmla="*/ 1703163 w 1703163"/>
              <a:gd name="connsiteY24" fmla="*/ 2197100 h 2197100"/>
              <a:gd name="connsiteX25" fmla="*/ 1077880 w 1703163"/>
              <a:gd name="connsiteY25" fmla="*/ 2197100 h 2197100"/>
              <a:gd name="connsiteX26" fmla="*/ 1167651 w 1703163"/>
              <a:gd name="connsiteY26" fmla="*/ 2060687 h 2197100"/>
              <a:gd name="connsiteX27" fmla="*/ 1263249 w 1703163"/>
              <a:gd name="connsiteY27" fmla="*/ 1868241 h 2197100"/>
              <a:gd name="connsiteX28" fmla="*/ 1297650 w 1703163"/>
              <a:gd name="connsiteY28" fmla="*/ 1774253 h 2197100"/>
              <a:gd name="connsiteX29" fmla="*/ 1228697 w 1703163"/>
              <a:gd name="connsiteY29" fmla="*/ 1799491 h 2197100"/>
              <a:gd name="connsiteX30" fmla="*/ 701311 w 1703163"/>
              <a:gd name="connsiteY30" fmla="*/ 1879223 h 2197100"/>
              <a:gd name="connsiteX31" fmla="*/ 173923 w 1703163"/>
              <a:gd name="connsiteY31" fmla="*/ 1799491 h 2197100"/>
              <a:gd name="connsiteX32" fmla="*/ 104970 w 1703163"/>
              <a:gd name="connsiteY32" fmla="*/ 1774253 h 2197100"/>
              <a:gd name="connsiteX0" fmla="*/ 104970 w 1703163"/>
              <a:gd name="connsiteY0" fmla="*/ 1774253 h 2197100"/>
              <a:gd name="connsiteX1" fmla="*/ 104970 w 1703163"/>
              <a:gd name="connsiteY1" fmla="*/ 1774251 h 2197100"/>
              <a:gd name="connsiteX2" fmla="*/ 79733 w 1703163"/>
              <a:gd name="connsiteY2" fmla="*/ 1705299 h 2197100"/>
              <a:gd name="connsiteX3" fmla="*/ 1 w 1703163"/>
              <a:gd name="connsiteY3" fmla="*/ 1177913 h 2197100"/>
              <a:gd name="connsiteX4" fmla="*/ 79734 w 1703163"/>
              <a:gd name="connsiteY4" fmla="*/ 650527 h 2197100"/>
              <a:gd name="connsiteX5" fmla="*/ 104971 w 1703163"/>
              <a:gd name="connsiteY5" fmla="*/ 581573 h 2197100"/>
              <a:gd name="connsiteX6" fmla="*/ 173924 w 1703163"/>
              <a:gd name="connsiteY6" fmla="*/ 556335 h 2197100"/>
              <a:gd name="connsiteX7" fmla="*/ 701311 w 1703163"/>
              <a:gd name="connsiteY7" fmla="*/ 476601 h 2197100"/>
              <a:gd name="connsiteX8" fmla="*/ 1228697 w 1703163"/>
              <a:gd name="connsiteY8" fmla="*/ 556335 h 2197100"/>
              <a:gd name="connsiteX9" fmla="*/ 1297650 w 1703163"/>
              <a:gd name="connsiteY9" fmla="*/ 581573 h 2197100"/>
              <a:gd name="connsiteX10" fmla="*/ 951540 w 1703163"/>
              <a:gd name="connsiteY10" fmla="*/ 0 h 2197100"/>
              <a:gd name="connsiteX11" fmla="*/ 1703163 w 1703163"/>
              <a:gd name="connsiteY11" fmla="*/ 0 h 2197100"/>
              <a:gd name="connsiteX12" fmla="*/ 1703163 w 1703163"/>
              <a:gd name="connsiteY12" fmla="*/ 789934 h 2197100"/>
              <a:gd name="connsiteX13" fmla="*/ 1584086 w 1703163"/>
              <a:gd name="connsiteY13" fmla="*/ 711572 h 2197100"/>
              <a:gd name="connsiteX14" fmla="*/ 1391640 w 1703163"/>
              <a:gd name="connsiteY14" fmla="*/ 615973 h 2197100"/>
              <a:gd name="connsiteX15" fmla="*/ 1297651 w 1703163"/>
              <a:gd name="connsiteY15" fmla="*/ 581573 h 2197100"/>
              <a:gd name="connsiteX16" fmla="*/ 1322888 w 1703163"/>
              <a:gd name="connsiteY16" fmla="*/ 650527 h 2197100"/>
              <a:gd name="connsiteX17" fmla="*/ 1402621 w 1703163"/>
              <a:gd name="connsiteY17" fmla="*/ 1177913 h 2197100"/>
              <a:gd name="connsiteX18" fmla="*/ 1322888 w 1703163"/>
              <a:gd name="connsiteY18" fmla="*/ 1705299 h 2197100"/>
              <a:gd name="connsiteX19" fmla="*/ 1297651 w 1703163"/>
              <a:gd name="connsiteY19" fmla="*/ 1774251 h 2197100"/>
              <a:gd name="connsiteX20" fmla="*/ 1391640 w 1703163"/>
              <a:gd name="connsiteY20" fmla="*/ 1739851 h 2197100"/>
              <a:gd name="connsiteX21" fmla="*/ 1584086 w 1703163"/>
              <a:gd name="connsiteY21" fmla="*/ 1644253 h 2197100"/>
              <a:gd name="connsiteX22" fmla="*/ 1703163 w 1703163"/>
              <a:gd name="connsiteY22" fmla="*/ 1565890 h 2197100"/>
              <a:gd name="connsiteX23" fmla="*/ 1703163 w 1703163"/>
              <a:gd name="connsiteY23" fmla="*/ 2197100 h 2197100"/>
              <a:gd name="connsiteX24" fmla="*/ 1077880 w 1703163"/>
              <a:gd name="connsiteY24" fmla="*/ 2197100 h 2197100"/>
              <a:gd name="connsiteX25" fmla="*/ 1167651 w 1703163"/>
              <a:gd name="connsiteY25" fmla="*/ 2060687 h 2197100"/>
              <a:gd name="connsiteX26" fmla="*/ 1263249 w 1703163"/>
              <a:gd name="connsiteY26" fmla="*/ 1868241 h 2197100"/>
              <a:gd name="connsiteX27" fmla="*/ 1297650 w 1703163"/>
              <a:gd name="connsiteY27" fmla="*/ 1774253 h 2197100"/>
              <a:gd name="connsiteX28" fmla="*/ 1228697 w 1703163"/>
              <a:gd name="connsiteY28" fmla="*/ 1799491 h 2197100"/>
              <a:gd name="connsiteX29" fmla="*/ 701311 w 1703163"/>
              <a:gd name="connsiteY29" fmla="*/ 1879223 h 2197100"/>
              <a:gd name="connsiteX30" fmla="*/ 173923 w 1703163"/>
              <a:gd name="connsiteY30" fmla="*/ 1799491 h 2197100"/>
              <a:gd name="connsiteX31" fmla="*/ 104970 w 1703163"/>
              <a:gd name="connsiteY31" fmla="*/ 1774253 h 2197100"/>
              <a:gd name="connsiteX0" fmla="*/ 104970 w 1703163"/>
              <a:gd name="connsiteY0" fmla="*/ 1774253 h 2197100"/>
              <a:gd name="connsiteX1" fmla="*/ 104970 w 1703163"/>
              <a:gd name="connsiteY1" fmla="*/ 1774251 h 2197100"/>
              <a:gd name="connsiteX2" fmla="*/ 79733 w 1703163"/>
              <a:gd name="connsiteY2" fmla="*/ 1705299 h 2197100"/>
              <a:gd name="connsiteX3" fmla="*/ 1 w 1703163"/>
              <a:gd name="connsiteY3" fmla="*/ 1177913 h 2197100"/>
              <a:gd name="connsiteX4" fmla="*/ 79734 w 1703163"/>
              <a:gd name="connsiteY4" fmla="*/ 650527 h 2197100"/>
              <a:gd name="connsiteX5" fmla="*/ 104971 w 1703163"/>
              <a:gd name="connsiteY5" fmla="*/ 581573 h 2197100"/>
              <a:gd name="connsiteX6" fmla="*/ 173924 w 1703163"/>
              <a:gd name="connsiteY6" fmla="*/ 556335 h 2197100"/>
              <a:gd name="connsiteX7" fmla="*/ 701311 w 1703163"/>
              <a:gd name="connsiteY7" fmla="*/ 476601 h 2197100"/>
              <a:gd name="connsiteX8" fmla="*/ 1228697 w 1703163"/>
              <a:gd name="connsiteY8" fmla="*/ 556335 h 2197100"/>
              <a:gd name="connsiteX9" fmla="*/ 1297650 w 1703163"/>
              <a:gd name="connsiteY9" fmla="*/ 581573 h 2197100"/>
              <a:gd name="connsiteX10" fmla="*/ 1703163 w 1703163"/>
              <a:gd name="connsiteY10" fmla="*/ 0 h 2197100"/>
              <a:gd name="connsiteX11" fmla="*/ 1703163 w 1703163"/>
              <a:gd name="connsiteY11" fmla="*/ 789934 h 2197100"/>
              <a:gd name="connsiteX12" fmla="*/ 1584086 w 1703163"/>
              <a:gd name="connsiteY12" fmla="*/ 711572 h 2197100"/>
              <a:gd name="connsiteX13" fmla="*/ 1391640 w 1703163"/>
              <a:gd name="connsiteY13" fmla="*/ 615973 h 2197100"/>
              <a:gd name="connsiteX14" fmla="*/ 1297651 w 1703163"/>
              <a:gd name="connsiteY14" fmla="*/ 581573 h 2197100"/>
              <a:gd name="connsiteX15" fmla="*/ 1322888 w 1703163"/>
              <a:gd name="connsiteY15" fmla="*/ 650527 h 2197100"/>
              <a:gd name="connsiteX16" fmla="*/ 1402621 w 1703163"/>
              <a:gd name="connsiteY16" fmla="*/ 1177913 h 2197100"/>
              <a:gd name="connsiteX17" fmla="*/ 1322888 w 1703163"/>
              <a:gd name="connsiteY17" fmla="*/ 1705299 h 2197100"/>
              <a:gd name="connsiteX18" fmla="*/ 1297651 w 1703163"/>
              <a:gd name="connsiteY18" fmla="*/ 1774251 h 2197100"/>
              <a:gd name="connsiteX19" fmla="*/ 1391640 w 1703163"/>
              <a:gd name="connsiteY19" fmla="*/ 1739851 h 2197100"/>
              <a:gd name="connsiteX20" fmla="*/ 1584086 w 1703163"/>
              <a:gd name="connsiteY20" fmla="*/ 1644253 h 2197100"/>
              <a:gd name="connsiteX21" fmla="*/ 1703163 w 1703163"/>
              <a:gd name="connsiteY21" fmla="*/ 1565890 h 2197100"/>
              <a:gd name="connsiteX22" fmla="*/ 1703163 w 1703163"/>
              <a:gd name="connsiteY22" fmla="*/ 2197100 h 2197100"/>
              <a:gd name="connsiteX23" fmla="*/ 1077880 w 1703163"/>
              <a:gd name="connsiteY23" fmla="*/ 2197100 h 2197100"/>
              <a:gd name="connsiteX24" fmla="*/ 1167651 w 1703163"/>
              <a:gd name="connsiteY24" fmla="*/ 2060687 h 2197100"/>
              <a:gd name="connsiteX25" fmla="*/ 1263249 w 1703163"/>
              <a:gd name="connsiteY25" fmla="*/ 1868241 h 2197100"/>
              <a:gd name="connsiteX26" fmla="*/ 1297650 w 1703163"/>
              <a:gd name="connsiteY26" fmla="*/ 1774253 h 2197100"/>
              <a:gd name="connsiteX27" fmla="*/ 1228697 w 1703163"/>
              <a:gd name="connsiteY27" fmla="*/ 1799491 h 2197100"/>
              <a:gd name="connsiteX28" fmla="*/ 701311 w 1703163"/>
              <a:gd name="connsiteY28" fmla="*/ 1879223 h 2197100"/>
              <a:gd name="connsiteX29" fmla="*/ 173923 w 1703163"/>
              <a:gd name="connsiteY29" fmla="*/ 1799491 h 2197100"/>
              <a:gd name="connsiteX30" fmla="*/ 104970 w 1703163"/>
              <a:gd name="connsiteY30" fmla="*/ 1774253 h 2197100"/>
              <a:gd name="connsiteX0" fmla="*/ 104970 w 1703163"/>
              <a:gd name="connsiteY0" fmla="*/ 1774253 h 2197100"/>
              <a:gd name="connsiteX1" fmla="*/ 104970 w 1703163"/>
              <a:gd name="connsiteY1" fmla="*/ 1774251 h 2197100"/>
              <a:gd name="connsiteX2" fmla="*/ 79733 w 1703163"/>
              <a:gd name="connsiteY2" fmla="*/ 1705299 h 2197100"/>
              <a:gd name="connsiteX3" fmla="*/ 1 w 1703163"/>
              <a:gd name="connsiteY3" fmla="*/ 1177913 h 2197100"/>
              <a:gd name="connsiteX4" fmla="*/ 79734 w 1703163"/>
              <a:gd name="connsiteY4" fmla="*/ 650527 h 2197100"/>
              <a:gd name="connsiteX5" fmla="*/ 104971 w 1703163"/>
              <a:gd name="connsiteY5" fmla="*/ 581573 h 2197100"/>
              <a:gd name="connsiteX6" fmla="*/ 173924 w 1703163"/>
              <a:gd name="connsiteY6" fmla="*/ 556335 h 2197100"/>
              <a:gd name="connsiteX7" fmla="*/ 701311 w 1703163"/>
              <a:gd name="connsiteY7" fmla="*/ 476601 h 2197100"/>
              <a:gd name="connsiteX8" fmla="*/ 1228697 w 1703163"/>
              <a:gd name="connsiteY8" fmla="*/ 556335 h 2197100"/>
              <a:gd name="connsiteX9" fmla="*/ 1297650 w 1703163"/>
              <a:gd name="connsiteY9" fmla="*/ 581573 h 2197100"/>
              <a:gd name="connsiteX10" fmla="*/ 1703163 w 1703163"/>
              <a:gd name="connsiteY10" fmla="*/ 0 h 2197100"/>
              <a:gd name="connsiteX11" fmla="*/ 1703163 w 1703163"/>
              <a:gd name="connsiteY11" fmla="*/ 789934 h 2197100"/>
              <a:gd name="connsiteX12" fmla="*/ 1584086 w 1703163"/>
              <a:gd name="connsiteY12" fmla="*/ 711572 h 2197100"/>
              <a:gd name="connsiteX13" fmla="*/ 1297651 w 1703163"/>
              <a:gd name="connsiteY13" fmla="*/ 581573 h 2197100"/>
              <a:gd name="connsiteX14" fmla="*/ 1322888 w 1703163"/>
              <a:gd name="connsiteY14" fmla="*/ 650527 h 2197100"/>
              <a:gd name="connsiteX15" fmla="*/ 1402621 w 1703163"/>
              <a:gd name="connsiteY15" fmla="*/ 1177913 h 2197100"/>
              <a:gd name="connsiteX16" fmla="*/ 1322888 w 1703163"/>
              <a:gd name="connsiteY16" fmla="*/ 1705299 h 2197100"/>
              <a:gd name="connsiteX17" fmla="*/ 1297651 w 1703163"/>
              <a:gd name="connsiteY17" fmla="*/ 1774251 h 2197100"/>
              <a:gd name="connsiteX18" fmla="*/ 1391640 w 1703163"/>
              <a:gd name="connsiteY18" fmla="*/ 1739851 h 2197100"/>
              <a:gd name="connsiteX19" fmla="*/ 1584086 w 1703163"/>
              <a:gd name="connsiteY19" fmla="*/ 1644253 h 2197100"/>
              <a:gd name="connsiteX20" fmla="*/ 1703163 w 1703163"/>
              <a:gd name="connsiteY20" fmla="*/ 1565890 h 2197100"/>
              <a:gd name="connsiteX21" fmla="*/ 1703163 w 1703163"/>
              <a:gd name="connsiteY21" fmla="*/ 2197100 h 2197100"/>
              <a:gd name="connsiteX22" fmla="*/ 1077880 w 1703163"/>
              <a:gd name="connsiteY22" fmla="*/ 2197100 h 2197100"/>
              <a:gd name="connsiteX23" fmla="*/ 1167651 w 1703163"/>
              <a:gd name="connsiteY23" fmla="*/ 2060687 h 2197100"/>
              <a:gd name="connsiteX24" fmla="*/ 1263249 w 1703163"/>
              <a:gd name="connsiteY24" fmla="*/ 1868241 h 2197100"/>
              <a:gd name="connsiteX25" fmla="*/ 1297650 w 1703163"/>
              <a:gd name="connsiteY25" fmla="*/ 1774253 h 2197100"/>
              <a:gd name="connsiteX26" fmla="*/ 1228697 w 1703163"/>
              <a:gd name="connsiteY26" fmla="*/ 1799491 h 2197100"/>
              <a:gd name="connsiteX27" fmla="*/ 701311 w 1703163"/>
              <a:gd name="connsiteY27" fmla="*/ 1879223 h 2197100"/>
              <a:gd name="connsiteX28" fmla="*/ 173923 w 1703163"/>
              <a:gd name="connsiteY28" fmla="*/ 1799491 h 2197100"/>
              <a:gd name="connsiteX29" fmla="*/ 104970 w 1703163"/>
              <a:gd name="connsiteY29" fmla="*/ 1774253 h 2197100"/>
              <a:gd name="connsiteX0" fmla="*/ 104970 w 1703163"/>
              <a:gd name="connsiteY0" fmla="*/ 1774253 h 2197100"/>
              <a:gd name="connsiteX1" fmla="*/ 104970 w 1703163"/>
              <a:gd name="connsiteY1" fmla="*/ 1774251 h 2197100"/>
              <a:gd name="connsiteX2" fmla="*/ 79733 w 1703163"/>
              <a:gd name="connsiteY2" fmla="*/ 1705299 h 2197100"/>
              <a:gd name="connsiteX3" fmla="*/ 1 w 1703163"/>
              <a:gd name="connsiteY3" fmla="*/ 1177913 h 2197100"/>
              <a:gd name="connsiteX4" fmla="*/ 79734 w 1703163"/>
              <a:gd name="connsiteY4" fmla="*/ 650527 h 2197100"/>
              <a:gd name="connsiteX5" fmla="*/ 104971 w 1703163"/>
              <a:gd name="connsiteY5" fmla="*/ 581573 h 2197100"/>
              <a:gd name="connsiteX6" fmla="*/ 173924 w 1703163"/>
              <a:gd name="connsiteY6" fmla="*/ 556335 h 2197100"/>
              <a:gd name="connsiteX7" fmla="*/ 701311 w 1703163"/>
              <a:gd name="connsiteY7" fmla="*/ 476601 h 2197100"/>
              <a:gd name="connsiteX8" fmla="*/ 1228697 w 1703163"/>
              <a:gd name="connsiteY8" fmla="*/ 556335 h 2197100"/>
              <a:gd name="connsiteX9" fmla="*/ 1297650 w 1703163"/>
              <a:gd name="connsiteY9" fmla="*/ 581573 h 2197100"/>
              <a:gd name="connsiteX10" fmla="*/ 1703163 w 1703163"/>
              <a:gd name="connsiteY10" fmla="*/ 0 h 2197100"/>
              <a:gd name="connsiteX11" fmla="*/ 1703163 w 1703163"/>
              <a:gd name="connsiteY11" fmla="*/ 789934 h 2197100"/>
              <a:gd name="connsiteX12" fmla="*/ 1297651 w 1703163"/>
              <a:gd name="connsiteY12" fmla="*/ 581573 h 2197100"/>
              <a:gd name="connsiteX13" fmla="*/ 1322888 w 1703163"/>
              <a:gd name="connsiteY13" fmla="*/ 650527 h 2197100"/>
              <a:gd name="connsiteX14" fmla="*/ 1402621 w 1703163"/>
              <a:gd name="connsiteY14" fmla="*/ 1177913 h 2197100"/>
              <a:gd name="connsiteX15" fmla="*/ 1322888 w 1703163"/>
              <a:gd name="connsiteY15" fmla="*/ 1705299 h 2197100"/>
              <a:gd name="connsiteX16" fmla="*/ 1297651 w 1703163"/>
              <a:gd name="connsiteY16" fmla="*/ 1774251 h 2197100"/>
              <a:gd name="connsiteX17" fmla="*/ 1391640 w 1703163"/>
              <a:gd name="connsiteY17" fmla="*/ 1739851 h 2197100"/>
              <a:gd name="connsiteX18" fmla="*/ 1584086 w 1703163"/>
              <a:gd name="connsiteY18" fmla="*/ 1644253 h 2197100"/>
              <a:gd name="connsiteX19" fmla="*/ 1703163 w 1703163"/>
              <a:gd name="connsiteY19" fmla="*/ 1565890 h 2197100"/>
              <a:gd name="connsiteX20" fmla="*/ 1703163 w 1703163"/>
              <a:gd name="connsiteY20" fmla="*/ 2197100 h 2197100"/>
              <a:gd name="connsiteX21" fmla="*/ 1077880 w 1703163"/>
              <a:gd name="connsiteY21" fmla="*/ 2197100 h 2197100"/>
              <a:gd name="connsiteX22" fmla="*/ 1167651 w 1703163"/>
              <a:gd name="connsiteY22" fmla="*/ 2060687 h 2197100"/>
              <a:gd name="connsiteX23" fmla="*/ 1263249 w 1703163"/>
              <a:gd name="connsiteY23" fmla="*/ 1868241 h 2197100"/>
              <a:gd name="connsiteX24" fmla="*/ 1297650 w 1703163"/>
              <a:gd name="connsiteY24" fmla="*/ 1774253 h 2197100"/>
              <a:gd name="connsiteX25" fmla="*/ 1228697 w 1703163"/>
              <a:gd name="connsiteY25" fmla="*/ 1799491 h 2197100"/>
              <a:gd name="connsiteX26" fmla="*/ 701311 w 1703163"/>
              <a:gd name="connsiteY26" fmla="*/ 1879223 h 2197100"/>
              <a:gd name="connsiteX27" fmla="*/ 173923 w 1703163"/>
              <a:gd name="connsiteY27" fmla="*/ 1799491 h 2197100"/>
              <a:gd name="connsiteX28" fmla="*/ 104970 w 1703163"/>
              <a:gd name="connsiteY28" fmla="*/ 1774253 h 2197100"/>
              <a:gd name="connsiteX0" fmla="*/ 104970 w 1703163"/>
              <a:gd name="connsiteY0" fmla="*/ 1774253 h 2197100"/>
              <a:gd name="connsiteX1" fmla="*/ 104970 w 1703163"/>
              <a:gd name="connsiteY1" fmla="*/ 1774251 h 2197100"/>
              <a:gd name="connsiteX2" fmla="*/ 79733 w 1703163"/>
              <a:gd name="connsiteY2" fmla="*/ 1705299 h 2197100"/>
              <a:gd name="connsiteX3" fmla="*/ 1 w 1703163"/>
              <a:gd name="connsiteY3" fmla="*/ 1177913 h 2197100"/>
              <a:gd name="connsiteX4" fmla="*/ 79734 w 1703163"/>
              <a:gd name="connsiteY4" fmla="*/ 650527 h 2197100"/>
              <a:gd name="connsiteX5" fmla="*/ 104971 w 1703163"/>
              <a:gd name="connsiteY5" fmla="*/ 581573 h 2197100"/>
              <a:gd name="connsiteX6" fmla="*/ 173924 w 1703163"/>
              <a:gd name="connsiteY6" fmla="*/ 556335 h 2197100"/>
              <a:gd name="connsiteX7" fmla="*/ 701311 w 1703163"/>
              <a:gd name="connsiteY7" fmla="*/ 476601 h 2197100"/>
              <a:gd name="connsiteX8" fmla="*/ 1228697 w 1703163"/>
              <a:gd name="connsiteY8" fmla="*/ 556335 h 2197100"/>
              <a:gd name="connsiteX9" fmla="*/ 1297650 w 1703163"/>
              <a:gd name="connsiteY9" fmla="*/ 581573 h 2197100"/>
              <a:gd name="connsiteX10" fmla="*/ 1703163 w 1703163"/>
              <a:gd name="connsiteY10" fmla="*/ 0 h 2197100"/>
              <a:gd name="connsiteX11" fmla="*/ 1297651 w 1703163"/>
              <a:gd name="connsiteY11" fmla="*/ 581573 h 2197100"/>
              <a:gd name="connsiteX12" fmla="*/ 1322888 w 1703163"/>
              <a:gd name="connsiteY12" fmla="*/ 650527 h 2197100"/>
              <a:gd name="connsiteX13" fmla="*/ 1402621 w 1703163"/>
              <a:gd name="connsiteY13" fmla="*/ 1177913 h 2197100"/>
              <a:gd name="connsiteX14" fmla="*/ 1322888 w 1703163"/>
              <a:gd name="connsiteY14" fmla="*/ 1705299 h 2197100"/>
              <a:gd name="connsiteX15" fmla="*/ 1297651 w 1703163"/>
              <a:gd name="connsiteY15" fmla="*/ 1774251 h 2197100"/>
              <a:gd name="connsiteX16" fmla="*/ 1391640 w 1703163"/>
              <a:gd name="connsiteY16" fmla="*/ 1739851 h 2197100"/>
              <a:gd name="connsiteX17" fmla="*/ 1584086 w 1703163"/>
              <a:gd name="connsiteY17" fmla="*/ 1644253 h 2197100"/>
              <a:gd name="connsiteX18" fmla="*/ 1703163 w 1703163"/>
              <a:gd name="connsiteY18" fmla="*/ 1565890 h 2197100"/>
              <a:gd name="connsiteX19" fmla="*/ 1703163 w 1703163"/>
              <a:gd name="connsiteY19" fmla="*/ 2197100 h 2197100"/>
              <a:gd name="connsiteX20" fmla="*/ 1077880 w 1703163"/>
              <a:gd name="connsiteY20" fmla="*/ 2197100 h 2197100"/>
              <a:gd name="connsiteX21" fmla="*/ 1167651 w 1703163"/>
              <a:gd name="connsiteY21" fmla="*/ 2060687 h 2197100"/>
              <a:gd name="connsiteX22" fmla="*/ 1263249 w 1703163"/>
              <a:gd name="connsiteY22" fmla="*/ 1868241 h 2197100"/>
              <a:gd name="connsiteX23" fmla="*/ 1297650 w 1703163"/>
              <a:gd name="connsiteY23" fmla="*/ 1774253 h 2197100"/>
              <a:gd name="connsiteX24" fmla="*/ 1228697 w 1703163"/>
              <a:gd name="connsiteY24" fmla="*/ 1799491 h 2197100"/>
              <a:gd name="connsiteX25" fmla="*/ 701311 w 1703163"/>
              <a:gd name="connsiteY25" fmla="*/ 1879223 h 2197100"/>
              <a:gd name="connsiteX26" fmla="*/ 173923 w 1703163"/>
              <a:gd name="connsiteY26" fmla="*/ 1799491 h 2197100"/>
              <a:gd name="connsiteX27" fmla="*/ 104970 w 1703163"/>
              <a:gd name="connsiteY27" fmla="*/ 1774253 h 2197100"/>
              <a:gd name="connsiteX0" fmla="*/ 104970 w 1703163"/>
              <a:gd name="connsiteY0" fmla="*/ 1297652 h 1720499"/>
              <a:gd name="connsiteX1" fmla="*/ 104970 w 1703163"/>
              <a:gd name="connsiteY1" fmla="*/ 1297650 h 1720499"/>
              <a:gd name="connsiteX2" fmla="*/ 79733 w 1703163"/>
              <a:gd name="connsiteY2" fmla="*/ 1228698 h 1720499"/>
              <a:gd name="connsiteX3" fmla="*/ 1 w 1703163"/>
              <a:gd name="connsiteY3" fmla="*/ 701312 h 1720499"/>
              <a:gd name="connsiteX4" fmla="*/ 79734 w 1703163"/>
              <a:gd name="connsiteY4" fmla="*/ 173926 h 1720499"/>
              <a:gd name="connsiteX5" fmla="*/ 104971 w 1703163"/>
              <a:gd name="connsiteY5" fmla="*/ 104972 h 1720499"/>
              <a:gd name="connsiteX6" fmla="*/ 173924 w 1703163"/>
              <a:gd name="connsiteY6" fmla="*/ 79734 h 1720499"/>
              <a:gd name="connsiteX7" fmla="*/ 701311 w 1703163"/>
              <a:gd name="connsiteY7" fmla="*/ 0 h 1720499"/>
              <a:gd name="connsiteX8" fmla="*/ 1228697 w 1703163"/>
              <a:gd name="connsiteY8" fmla="*/ 79734 h 1720499"/>
              <a:gd name="connsiteX9" fmla="*/ 1297650 w 1703163"/>
              <a:gd name="connsiteY9" fmla="*/ 104972 h 1720499"/>
              <a:gd name="connsiteX10" fmla="*/ 1297651 w 1703163"/>
              <a:gd name="connsiteY10" fmla="*/ 104972 h 1720499"/>
              <a:gd name="connsiteX11" fmla="*/ 1322888 w 1703163"/>
              <a:gd name="connsiteY11" fmla="*/ 173926 h 1720499"/>
              <a:gd name="connsiteX12" fmla="*/ 1402621 w 1703163"/>
              <a:gd name="connsiteY12" fmla="*/ 701312 h 1720499"/>
              <a:gd name="connsiteX13" fmla="*/ 1322888 w 1703163"/>
              <a:gd name="connsiteY13" fmla="*/ 1228698 h 1720499"/>
              <a:gd name="connsiteX14" fmla="*/ 1297651 w 1703163"/>
              <a:gd name="connsiteY14" fmla="*/ 1297650 h 1720499"/>
              <a:gd name="connsiteX15" fmla="*/ 1391640 w 1703163"/>
              <a:gd name="connsiteY15" fmla="*/ 1263250 h 1720499"/>
              <a:gd name="connsiteX16" fmla="*/ 1584086 w 1703163"/>
              <a:gd name="connsiteY16" fmla="*/ 1167652 h 1720499"/>
              <a:gd name="connsiteX17" fmla="*/ 1703163 w 1703163"/>
              <a:gd name="connsiteY17" fmla="*/ 1089289 h 1720499"/>
              <a:gd name="connsiteX18" fmla="*/ 1703163 w 1703163"/>
              <a:gd name="connsiteY18" fmla="*/ 1720499 h 1720499"/>
              <a:gd name="connsiteX19" fmla="*/ 1077880 w 1703163"/>
              <a:gd name="connsiteY19" fmla="*/ 1720499 h 1720499"/>
              <a:gd name="connsiteX20" fmla="*/ 1167651 w 1703163"/>
              <a:gd name="connsiteY20" fmla="*/ 1584086 h 1720499"/>
              <a:gd name="connsiteX21" fmla="*/ 1263249 w 1703163"/>
              <a:gd name="connsiteY21" fmla="*/ 1391640 h 1720499"/>
              <a:gd name="connsiteX22" fmla="*/ 1297650 w 1703163"/>
              <a:gd name="connsiteY22" fmla="*/ 1297652 h 1720499"/>
              <a:gd name="connsiteX23" fmla="*/ 1228697 w 1703163"/>
              <a:gd name="connsiteY23" fmla="*/ 1322890 h 1720499"/>
              <a:gd name="connsiteX24" fmla="*/ 701311 w 1703163"/>
              <a:gd name="connsiteY24" fmla="*/ 1402622 h 1720499"/>
              <a:gd name="connsiteX25" fmla="*/ 173923 w 1703163"/>
              <a:gd name="connsiteY25" fmla="*/ 1322890 h 1720499"/>
              <a:gd name="connsiteX26" fmla="*/ 104970 w 1703163"/>
              <a:gd name="connsiteY26" fmla="*/ 1297652 h 1720499"/>
              <a:gd name="connsiteX0" fmla="*/ 104970 w 1703163"/>
              <a:gd name="connsiteY0" fmla="*/ 1297652 h 1720499"/>
              <a:gd name="connsiteX1" fmla="*/ 104970 w 1703163"/>
              <a:gd name="connsiteY1" fmla="*/ 1297650 h 1720499"/>
              <a:gd name="connsiteX2" fmla="*/ 79733 w 1703163"/>
              <a:gd name="connsiteY2" fmla="*/ 1228698 h 1720499"/>
              <a:gd name="connsiteX3" fmla="*/ 1 w 1703163"/>
              <a:gd name="connsiteY3" fmla="*/ 701312 h 1720499"/>
              <a:gd name="connsiteX4" fmla="*/ 79734 w 1703163"/>
              <a:gd name="connsiteY4" fmla="*/ 173926 h 1720499"/>
              <a:gd name="connsiteX5" fmla="*/ 104971 w 1703163"/>
              <a:gd name="connsiteY5" fmla="*/ 104972 h 1720499"/>
              <a:gd name="connsiteX6" fmla="*/ 173924 w 1703163"/>
              <a:gd name="connsiteY6" fmla="*/ 79734 h 1720499"/>
              <a:gd name="connsiteX7" fmla="*/ 701311 w 1703163"/>
              <a:gd name="connsiteY7" fmla="*/ 0 h 1720499"/>
              <a:gd name="connsiteX8" fmla="*/ 1228697 w 1703163"/>
              <a:gd name="connsiteY8" fmla="*/ 79734 h 1720499"/>
              <a:gd name="connsiteX9" fmla="*/ 1297650 w 1703163"/>
              <a:gd name="connsiteY9" fmla="*/ 104972 h 1720499"/>
              <a:gd name="connsiteX10" fmla="*/ 1297651 w 1703163"/>
              <a:gd name="connsiteY10" fmla="*/ 104972 h 1720499"/>
              <a:gd name="connsiteX11" fmla="*/ 1322888 w 1703163"/>
              <a:gd name="connsiteY11" fmla="*/ 173926 h 1720499"/>
              <a:gd name="connsiteX12" fmla="*/ 1402621 w 1703163"/>
              <a:gd name="connsiteY12" fmla="*/ 701312 h 1720499"/>
              <a:gd name="connsiteX13" fmla="*/ 1322888 w 1703163"/>
              <a:gd name="connsiteY13" fmla="*/ 1228698 h 1720499"/>
              <a:gd name="connsiteX14" fmla="*/ 1297651 w 1703163"/>
              <a:gd name="connsiteY14" fmla="*/ 1297650 h 1720499"/>
              <a:gd name="connsiteX15" fmla="*/ 1391640 w 1703163"/>
              <a:gd name="connsiteY15" fmla="*/ 1263250 h 1720499"/>
              <a:gd name="connsiteX16" fmla="*/ 1703163 w 1703163"/>
              <a:gd name="connsiteY16" fmla="*/ 1089289 h 1720499"/>
              <a:gd name="connsiteX17" fmla="*/ 1703163 w 1703163"/>
              <a:gd name="connsiteY17" fmla="*/ 1720499 h 1720499"/>
              <a:gd name="connsiteX18" fmla="*/ 1077880 w 1703163"/>
              <a:gd name="connsiteY18" fmla="*/ 1720499 h 1720499"/>
              <a:gd name="connsiteX19" fmla="*/ 1167651 w 1703163"/>
              <a:gd name="connsiteY19" fmla="*/ 1584086 h 1720499"/>
              <a:gd name="connsiteX20" fmla="*/ 1263249 w 1703163"/>
              <a:gd name="connsiteY20" fmla="*/ 1391640 h 1720499"/>
              <a:gd name="connsiteX21" fmla="*/ 1297650 w 1703163"/>
              <a:gd name="connsiteY21" fmla="*/ 1297652 h 1720499"/>
              <a:gd name="connsiteX22" fmla="*/ 1228697 w 1703163"/>
              <a:gd name="connsiteY22" fmla="*/ 1322890 h 1720499"/>
              <a:gd name="connsiteX23" fmla="*/ 701311 w 1703163"/>
              <a:gd name="connsiteY23" fmla="*/ 1402622 h 1720499"/>
              <a:gd name="connsiteX24" fmla="*/ 173923 w 1703163"/>
              <a:gd name="connsiteY24" fmla="*/ 1322890 h 1720499"/>
              <a:gd name="connsiteX25" fmla="*/ 104970 w 1703163"/>
              <a:gd name="connsiteY25" fmla="*/ 1297652 h 1720499"/>
              <a:gd name="connsiteX0" fmla="*/ 104970 w 1703163"/>
              <a:gd name="connsiteY0" fmla="*/ 1297652 h 1720499"/>
              <a:gd name="connsiteX1" fmla="*/ 104970 w 1703163"/>
              <a:gd name="connsiteY1" fmla="*/ 1297650 h 1720499"/>
              <a:gd name="connsiteX2" fmla="*/ 79733 w 1703163"/>
              <a:gd name="connsiteY2" fmla="*/ 1228698 h 1720499"/>
              <a:gd name="connsiteX3" fmla="*/ 1 w 1703163"/>
              <a:gd name="connsiteY3" fmla="*/ 701312 h 1720499"/>
              <a:gd name="connsiteX4" fmla="*/ 79734 w 1703163"/>
              <a:gd name="connsiteY4" fmla="*/ 173926 h 1720499"/>
              <a:gd name="connsiteX5" fmla="*/ 104971 w 1703163"/>
              <a:gd name="connsiteY5" fmla="*/ 104972 h 1720499"/>
              <a:gd name="connsiteX6" fmla="*/ 173924 w 1703163"/>
              <a:gd name="connsiteY6" fmla="*/ 79734 h 1720499"/>
              <a:gd name="connsiteX7" fmla="*/ 701311 w 1703163"/>
              <a:gd name="connsiteY7" fmla="*/ 0 h 1720499"/>
              <a:gd name="connsiteX8" fmla="*/ 1228697 w 1703163"/>
              <a:gd name="connsiteY8" fmla="*/ 79734 h 1720499"/>
              <a:gd name="connsiteX9" fmla="*/ 1297650 w 1703163"/>
              <a:gd name="connsiteY9" fmla="*/ 104972 h 1720499"/>
              <a:gd name="connsiteX10" fmla="*/ 1297651 w 1703163"/>
              <a:gd name="connsiteY10" fmla="*/ 104972 h 1720499"/>
              <a:gd name="connsiteX11" fmla="*/ 1322888 w 1703163"/>
              <a:gd name="connsiteY11" fmla="*/ 173926 h 1720499"/>
              <a:gd name="connsiteX12" fmla="*/ 1402621 w 1703163"/>
              <a:gd name="connsiteY12" fmla="*/ 701312 h 1720499"/>
              <a:gd name="connsiteX13" fmla="*/ 1322888 w 1703163"/>
              <a:gd name="connsiteY13" fmla="*/ 1228698 h 1720499"/>
              <a:gd name="connsiteX14" fmla="*/ 1297651 w 1703163"/>
              <a:gd name="connsiteY14" fmla="*/ 1297650 h 1720499"/>
              <a:gd name="connsiteX15" fmla="*/ 1703163 w 1703163"/>
              <a:gd name="connsiteY15" fmla="*/ 1089289 h 1720499"/>
              <a:gd name="connsiteX16" fmla="*/ 1703163 w 1703163"/>
              <a:gd name="connsiteY16" fmla="*/ 1720499 h 1720499"/>
              <a:gd name="connsiteX17" fmla="*/ 1077880 w 1703163"/>
              <a:gd name="connsiteY17" fmla="*/ 1720499 h 1720499"/>
              <a:gd name="connsiteX18" fmla="*/ 1167651 w 1703163"/>
              <a:gd name="connsiteY18" fmla="*/ 1584086 h 1720499"/>
              <a:gd name="connsiteX19" fmla="*/ 1263249 w 1703163"/>
              <a:gd name="connsiteY19" fmla="*/ 1391640 h 1720499"/>
              <a:gd name="connsiteX20" fmla="*/ 1297650 w 1703163"/>
              <a:gd name="connsiteY20" fmla="*/ 1297652 h 1720499"/>
              <a:gd name="connsiteX21" fmla="*/ 1228697 w 1703163"/>
              <a:gd name="connsiteY21" fmla="*/ 1322890 h 1720499"/>
              <a:gd name="connsiteX22" fmla="*/ 701311 w 1703163"/>
              <a:gd name="connsiteY22" fmla="*/ 1402622 h 1720499"/>
              <a:gd name="connsiteX23" fmla="*/ 173923 w 1703163"/>
              <a:gd name="connsiteY23" fmla="*/ 1322890 h 1720499"/>
              <a:gd name="connsiteX24" fmla="*/ 104970 w 1703163"/>
              <a:gd name="connsiteY24" fmla="*/ 1297652 h 1720499"/>
              <a:gd name="connsiteX0" fmla="*/ 104970 w 1703163"/>
              <a:gd name="connsiteY0" fmla="*/ 1297652 h 1720499"/>
              <a:gd name="connsiteX1" fmla="*/ 104970 w 1703163"/>
              <a:gd name="connsiteY1" fmla="*/ 1297650 h 1720499"/>
              <a:gd name="connsiteX2" fmla="*/ 79733 w 1703163"/>
              <a:gd name="connsiteY2" fmla="*/ 1228698 h 1720499"/>
              <a:gd name="connsiteX3" fmla="*/ 1 w 1703163"/>
              <a:gd name="connsiteY3" fmla="*/ 701312 h 1720499"/>
              <a:gd name="connsiteX4" fmla="*/ 79734 w 1703163"/>
              <a:gd name="connsiteY4" fmla="*/ 173926 h 1720499"/>
              <a:gd name="connsiteX5" fmla="*/ 104971 w 1703163"/>
              <a:gd name="connsiteY5" fmla="*/ 104972 h 1720499"/>
              <a:gd name="connsiteX6" fmla="*/ 173924 w 1703163"/>
              <a:gd name="connsiteY6" fmla="*/ 79734 h 1720499"/>
              <a:gd name="connsiteX7" fmla="*/ 701311 w 1703163"/>
              <a:gd name="connsiteY7" fmla="*/ 0 h 1720499"/>
              <a:gd name="connsiteX8" fmla="*/ 1228697 w 1703163"/>
              <a:gd name="connsiteY8" fmla="*/ 79734 h 1720499"/>
              <a:gd name="connsiteX9" fmla="*/ 1297650 w 1703163"/>
              <a:gd name="connsiteY9" fmla="*/ 104972 h 1720499"/>
              <a:gd name="connsiteX10" fmla="*/ 1297651 w 1703163"/>
              <a:gd name="connsiteY10" fmla="*/ 104972 h 1720499"/>
              <a:gd name="connsiteX11" fmla="*/ 1322888 w 1703163"/>
              <a:gd name="connsiteY11" fmla="*/ 173926 h 1720499"/>
              <a:gd name="connsiteX12" fmla="*/ 1402621 w 1703163"/>
              <a:gd name="connsiteY12" fmla="*/ 701312 h 1720499"/>
              <a:gd name="connsiteX13" fmla="*/ 1322888 w 1703163"/>
              <a:gd name="connsiteY13" fmla="*/ 1228698 h 1720499"/>
              <a:gd name="connsiteX14" fmla="*/ 1297651 w 1703163"/>
              <a:gd name="connsiteY14" fmla="*/ 1297650 h 1720499"/>
              <a:gd name="connsiteX15" fmla="*/ 1703163 w 1703163"/>
              <a:gd name="connsiteY15" fmla="*/ 1089289 h 1720499"/>
              <a:gd name="connsiteX16" fmla="*/ 1703163 w 1703163"/>
              <a:gd name="connsiteY16" fmla="*/ 1720499 h 1720499"/>
              <a:gd name="connsiteX17" fmla="*/ 1077880 w 1703163"/>
              <a:gd name="connsiteY17" fmla="*/ 1720499 h 1720499"/>
              <a:gd name="connsiteX18" fmla="*/ 1167651 w 1703163"/>
              <a:gd name="connsiteY18" fmla="*/ 1584086 h 1720499"/>
              <a:gd name="connsiteX19" fmla="*/ 1297650 w 1703163"/>
              <a:gd name="connsiteY19" fmla="*/ 1297652 h 1720499"/>
              <a:gd name="connsiteX20" fmla="*/ 1228697 w 1703163"/>
              <a:gd name="connsiteY20" fmla="*/ 1322890 h 1720499"/>
              <a:gd name="connsiteX21" fmla="*/ 701311 w 1703163"/>
              <a:gd name="connsiteY21" fmla="*/ 1402622 h 1720499"/>
              <a:gd name="connsiteX22" fmla="*/ 173923 w 1703163"/>
              <a:gd name="connsiteY22" fmla="*/ 1322890 h 1720499"/>
              <a:gd name="connsiteX23" fmla="*/ 104970 w 1703163"/>
              <a:gd name="connsiteY23" fmla="*/ 1297652 h 1720499"/>
              <a:gd name="connsiteX0" fmla="*/ 104970 w 1703163"/>
              <a:gd name="connsiteY0" fmla="*/ 1297652 h 1720499"/>
              <a:gd name="connsiteX1" fmla="*/ 104970 w 1703163"/>
              <a:gd name="connsiteY1" fmla="*/ 1297650 h 1720499"/>
              <a:gd name="connsiteX2" fmla="*/ 79733 w 1703163"/>
              <a:gd name="connsiteY2" fmla="*/ 1228698 h 1720499"/>
              <a:gd name="connsiteX3" fmla="*/ 1 w 1703163"/>
              <a:gd name="connsiteY3" fmla="*/ 701312 h 1720499"/>
              <a:gd name="connsiteX4" fmla="*/ 79734 w 1703163"/>
              <a:gd name="connsiteY4" fmla="*/ 173926 h 1720499"/>
              <a:gd name="connsiteX5" fmla="*/ 104971 w 1703163"/>
              <a:gd name="connsiteY5" fmla="*/ 104972 h 1720499"/>
              <a:gd name="connsiteX6" fmla="*/ 173924 w 1703163"/>
              <a:gd name="connsiteY6" fmla="*/ 79734 h 1720499"/>
              <a:gd name="connsiteX7" fmla="*/ 701311 w 1703163"/>
              <a:gd name="connsiteY7" fmla="*/ 0 h 1720499"/>
              <a:gd name="connsiteX8" fmla="*/ 1228697 w 1703163"/>
              <a:gd name="connsiteY8" fmla="*/ 79734 h 1720499"/>
              <a:gd name="connsiteX9" fmla="*/ 1297650 w 1703163"/>
              <a:gd name="connsiteY9" fmla="*/ 104972 h 1720499"/>
              <a:gd name="connsiteX10" fmla="*/ 1297651 w 1703163"/>
              <a:gd name="connsiteY10" fmla="*/ 104972 h 1720499"/>
              <a:gd name="connsiteX11" fmla="*/ 1322888 w 1703163"/>
              <a:gd name="connsiteY11" fmla="*/ 173926 h 1720499"/>
              <a:gd name="connsiteX12" fmla="*/ 1402621 w 1703163"/>
              <a:gd name="connsiteY12" fmla="*/ 701312 h 1720499"/>
              <a:gd name="connsiteX13" fmla="*/ 1322888 w 1703163"/>
              <a:gd name="connsiteY13" fmla="*/ 1228698 h 1720499"/>
              <a:gd name="connsiteX14" fmla="*/ 1297651 w 1703163"/>
              <a:gd name="connsiteY14" fmla="*/ 1297650 h 1720499"/>
              <a:gd name="connsiteX15" fmla="*/ 1703163 w 1703163"/>
              <a:gd name="connsiteY15" fmla="*/ 1089289 h 1720499"/>
              <a:gd name="connsiteX16" fmla="*/ 1703163 w 1703163"/>
              <a:gd name="connsiteY16" fmla="*/ 1720499 h 1720499"/>
              <a:gd name="connsiteX17" fmla="*/ 1077880 w 1703163"/>
              <a:gd name="connsiteY17" fmla="*/ 1720499 h 1720499"/>
              <a:gd name="connsiteX18" fmla="*/ 1297650 w 1703163"/>
              <a:gd name="connsiteY18" fmla="*/ 1297652 h 1720499"/>
              <a:gd name="connsiteX19" fmla="*/ 1228697 w 1703163"/>
              <a:gd name="connsiteY19" fmla="*/ 1322890 h 1720499"/>
              <a:gd name="connsiteX20" fmla="*/ 701311 w 1703163"/>
              <a:gd name="connsiteY20" fmla="*/ 1402622 h 1720499"/>
              <a:gd name="connsiteX21" fmla="*/ 173923 w 1703163"/>
              <a:gd name="connsiteY21" fmla="*/ 1322890 h 1720499"/>
              <a:gd name="connsiteX22" fmla="*/ 104970 w 1703163"/>
              <a:gd name="connsiteY22" fmla="*/ 1297652 h 1720499"/>
              <a:gd name="connsiteX0" fmla="*/ 104970 w 1703163"/>
              <a:gd name="connsiteY0" fmla="*/ 1297652 h 1720499"/>
              <a:gd name="connsiteX1" fmla="*/ 104970 w 1703163"/>
              <a:gd name="connsiteY1" fmla="*/ 1297650 h 1720499"/>
              <a:gd name="connsiteX2" fmla="*/ 79733 w 1703163"/>
              <a:gd name="connsiteY2" fmla="*/ 1228698 h 1720499"/>
              <a:gd name="connsiteX3" fmla="*/ 1 w 1703163"/>
              <a:gd name="connsiteY3" fmla="*/ 701312 h 1720499"/>
              <a:gd name="connsiteX4" fmla="*/ 79734 w 1703163"/>
              <a:gd name="connsiteY4" fmla="*/ 173926 h 1720499"/>
              <a:gd name="connsiteX5" fmla="*/ 104971 w 1703163"/>
              <a:gd name="connsiteY5" fmla="*/ 104972 h 1720499"/>
              <a:gd name="connsiteX6" fmla="*/ 173924 w 1703163"/>
              <a:gd name="connsiteY6" fmla="*/ 79734 h 1720499"/>
              <a:gd name="connsiteX7" fmla="*/ 701311 w 1703163"/>
              <a:gd name="connsiteY7" fmla="*/ 0 h 1720499"/>
              <a:gd name="connsiteX8" fmla="*/ 1228697 w 1703163"/>
              <a:gd name="connsiteY8" fmla="*/ 79734 h 1720499"/>
              <a:gd name="connsiteX9" fmla="*/ 1297650 w 1703163"/>
              <a:gd name="connsiteY9" fmla="*/ 104972 h 1720499"/>
              <a:gd name="connsiteX10" fmla="*/ 1297651 w 1703163"/>
              <a:gd name="connsiteY10" fmla="*/ 104972 h 1720499"/>
              <a:gd name="connsiteX11" fmla="*/ 1322888 w 1703163"/>
              <a:gd name="connsiteY11" fmla="*/ 173926 h 1720499"/>
              <a:gd name="connsiteX12" fmla="*/ 1402621 w 1703163"/>
              <a:gd name="connsiteY12" fmla="*/ 701312 h 1720499"/>
              <a:gd name="connsiteX13" fmla="*/ 1322888 w 1703163"/>
              <a:gd name="connsiteY13" fmla="*/ 1228698 h 1720499"/>
              <a:gd name="connsiteX14" fmla="*/ 1297651 w 1703163"/>
              <a:gd name="connsiteY14" fmla="*/ 1297650 h 1720499"/>
              <a:gd name="connsiteX15" fmla="*/ 1703163 w 1703163"/>
              <a:gd name="connsiteY15" fmla="*/ 1089289 h 1720499"/>
              <a:gd name="connsiteX16" fmla="*/ 1703163 w 1703163"/>
              <a:gd name="connsiteY16" fmla="*/ 1720499 h 1720499"/>
              <a:gd name="connsiteX17" fmla="*/ 1297650 w 1703163"/>
              <a:gd name="connsiteY17" fmla="*/ 1297652 h 1720499"/>
              <a:gd name="connsiteX18" fmla="*/ 1228697 w 1703163"/>
              <a:gd name="connsiteY18" fmla="*/ 1322890 h 1720499"/>
              <a:gd name="connsiteX19" fmla="*/ 701311 w 1703163"/>
              <a:gd name="connsiteY19" fmla="*/ 1402622 h 1720499"/>
              <a:gd name="connsiteX20" fmla="*/ 173923 w 1703163"/>
              <a:gd name="connsiteY20" fmla="*/ 1322890 h 1720499"/>
              <a:gd name="connsiteX21" fmla="*/ 104970 w 1703163"/>
              <a:gd name="connsiteY21" fmla="*/ 1297652 h 1720499"/>
              <a:gd name="connsiteX0" fmla="*/ 104970 w 1703163"/>
              <a:gd name="connsiteY0" fmla="*/ 1297652 h 1402622"/>
              <a:gd name="connsiteX1" fmla="*/ 104970 w 1703163"/>
              <a:gd name="connsiteY1" fmla="*/ 1297650 h 1402622"/>
              <a:gd name="connsiteX2" fmla="*/ 79733 w 1703163"/>
              <a:gd name="connsiteY2" fmla="*/ 1228698 h 1402622"/>
              <a:gd name="connsiteX3" fmla="*/ 1 w 1703163"/>
              <a:gd name="connsiteY3" fmla="*/ 701312 h 1402622"/>
              <a:gd name="connsiteX4" fmla="*/ 79734 w 1703163"/>
              <a:gd name="connsiteY4" fmla="*/ 173926 h 1402622"/>
              <a:gd name="connsiteX5" fmla="*/ 104971 w 1703163"/>
              <a:gd name="connsiteY5" fmla="*/ 104972 h 1402622"/>
              <a:gd name="connsiteX6" fmla="*/ 173924 w 1703163"/>
              <a:gd name="connsiteY6" fmla="*/ 79734 h 1402622"/>
              <a:gd name="connsiteX7" fmla="*/ 701311 w 1703163"/>
              <a:gd name="connsiteY7" fmla="*/ 0 h 1402622"/>
              <a:gd name="connsiteX8" fmla="*/ 1228697 w 1703163"/>
              <a:gd name="connsiteY8" fmla="*/ 79734 h 1402622"/>
              <a:gd name="connsiteX9" fmla="*/ 1297650 w 1703163"/>
              <a:gd name="connsiteY9" fmla="*/ 104972 h 1402622"/>
              <a:gd name="connsiteX10" fmla="*/ 1297651 w 1703163"/>
              <a:gd name="connsiteY10" fmla="*/ 104972 h 1402622"/>
              <a:gd name="connsiteX11" fmla="*/ 1322888 w 1703163"/>
              <a:gd name="connsiteY11" fmla="*/ 173926 h 1402622"/>
              <a:gd name="connsiteX12" fmla="*/ 1402621 w 1703163"/>
              <a:gd name="connsiteY12" fmla="*/ 701312 h 1402622"/>
              <a:gd name="connsiteX13" fmla="*/ 1322888 w 1703163"/>
              <a:gd name="connsiteY13" fmla="*/ 1228698 h 1402622"/>
              <a:gd name="connsiteX14" fmla="*/ 1297651 w 1703163"/>
              <a:gd name="connsiteY14" fmla="*/ 1297650 h 1402622"/>
              <a:gd name="connsiteX15" fmla="*/ 1703163 w 1703163"/>
              <a:gd name="connsiteY15" fmla="*/ 1089289 h 1402622"/>
              <a:gd name="connsiteX16" fmla="*/ 1297650 w 1703163"/>
              <a:gd name="connsiteY16" fmla="*/ 1297652 h 1402622"/>
              <a:gd name="connsiteX17" fmla="*/ 1228697 w 1703163"/>
              <a:gd name="connsiteY17" fmla="*/ 1322890 h 1402622"/>
              <a:gd name="connsiteX18" fmla="*/ 701311 w 1703163"/>
              <a:gd name="connsiteY18" fmla="*/ 1402622 h 1402622"/>
              <a:gd name="connsiteX19" fmla="*/ 173923 w 1703163"/>
              <a:gd name="connsiteY19" fmla="*/ 1322890 h 1402622"/>
              <a:gd name="connsiteX20" fmla="*/ 104970 w 1703163"/>
              <a:gd name="connsiteY20" fmla="*/ 1297652 h 1402622"/>
              <a:gd name="connsiteX0" fmla="*/ 104970 w 1402621"/>
              <a:gd name="connsiteY0" fmla="*/ 1297652 h 1402622"/>
              <a:gd name="connsiteX1" fmla="*/ 104970 w 1402621"/>
              <a:gd name="connsiteY1" fmla="*/ 1297650 h 1402622"/>
              <a:gd name="connsiteX2" fmla="*/ 79733 w 1402621"/>
              <a:gd name="connsiteY2" fmla="*/ 1228698 h 1402622"/>
              <a:gd name="connsiteX3" fmla="*/ 1 w 1402621"/>
              <a:gd name="connsiteY3" fmla="*/ 701312 h 1402622"/>
              <a:gd name="connsiteX4" fmla="*/ 79734 w 1402621"/>
              <a:gd name="connsiteY4" fmla="*/ 173926 h 1402622"/>
              <a:gd name="connsiteX5" fmla="*/ 104971 w 1402621"/>
              <a:gd name="connsiteY5" fmla="*/ 104972 h 1402622"/>
              <a:gd name="connsiteX6" fmla="*/ 173924 w 1402621"/>
              <a:gd name="connsiteY6" fmla="*/ 79734 h 1402622"/>
              <a:gd name="connsiteX7" fmla="*/ 701311 w 1402621"/>
              <a:gd name="connsiteY7" fmla="*/ 0 h 1402622"/>
              <a:gd name="connsiteX8" fmla="*/ 1228697 w 1402621"/>
              <a:gd name="connsiteY8" fmla="*/ 79734 h 1402622"/>
              <a:gd name="connsiteX9" fmla="*/ 1297650 w 1402621"/>
              <a:gd name="connsiteY9" fmla="*/ 104972 h 1402622"/>
              <a:gd name="connsiteX10" fmla="*/ 1297651 w 1402621"/>
              <a:gd name="connsiteY10" fmla="*/ 104972 h 1402622"/>
              <a:gd name="connsiteX11" fmla="*/ 1322888 w 1402621"/>
              <a:gd name="connsiteY11" fmla="*/ 173926 h 1402622"/>
              <a:gd name="connsiteX12" fmla="*/ 1402621 w 1402621"/>
              <a:gd name="connsiteY12" fmla="*/ 701312 h 1402622"/>
              <a:gd name="connsiteX13" fmla="*/ 1322888 w 1402621"/>
              <a:gd name="connsiteY13" fmla="*/ 1228698 h 1402622"/>
              <a:gd name="connsiteX14" fmla="*/ 1297651 w 1402621"/>
              <a:gd name="connsiteY14" fmla="*/ 1297650 h 1402622"/>
              <a:gd name="connsiteX15" fmla="*/ 1297650 w 1402621"/>
              <a:gd name="connsiteY15" fmla="*/ 1297652 h 1402622"/>
              <a:gd name="connsiteX16" fmla="*/ 1228697 w 1402621"/>
              <a:gd name="connsiteY16" fmla="*/ 1322890 h 1402622"/>
              <a:gd name="connsiteX17" fmla="*/ 701311 w 1402621"/>
              <a:gd name="connsiteY17" fmla="*/ 1402622 h 1402622"/>
              <a:gd name="connsiteX18" fmla="*/ 173923 w 1402621"/>
              <a:gd name="connsiteY18" fmla="*/ 1322890 h 1402622"/>
              <a:gd name="connsiteX19" fmla="*/ 104970 w 1402621"/>
              <a:gd name="connsiteY19" fmla="*/ 1297652 h 140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02621" h="1402622">
                <a:moveTo>
                  <a:pt x="104970" y="1297652"/>
                </a:moveTo>
                <a:lnTo>
                  <a:pt x="104970" y="1297650"/>
                </a:lnTo>
                <a:lnTo>
                  <a:pt x="79733" y="1228698"/>
                </a:lnTo>
                <a:cubicBezTo>
                  <a:pt x="27915" y="1062096"/>
                  <a:pt x="0" y="884964"/>
                  <a:pt x="1" y="701312"/>
                </a:cubicBezTo>
                <a:cubicBezTo>
                  <a:pt x="1" y="517660"/>
                  <a:pt x="27916" y="340526"/>
                  <a:pt x="79734" y="173926"/>
                </a:cubicBezTo>
                <a:lnTo>
                  <a:pt x="104971" y="104972"/>
                </a:lnTo>
                <a:lnTo>
                  <a:pt x="173924" y="79734"/>
                </a:lnTo>
                <a:cubicBezTo>
                  <a:pt x="340526" y="27916"/>
                  <a:pt x="517659" y="0"/>
                  <a:pt x="701311" y="0"/>
                </a:cubicBezTo>
                <a:cubicBezTo>
                  <a:pt x="884963" y="0"/>
                  <a:pt x="1062095" y="27916"/>
                  <a:pt x="1228697" y="79734"/>
                </a:cubicBezTo>
                <a:lnTo>
                  <a:pt x="1297650" y="104972"/>
                </a:lnTo>
                <a:lnTo>
                  <a:pt x="1297651" y="104972"/>
                </a:lnTo>
                <a:lnTo>
                  <a:pt x="1322888" y="173926"/>
                </a:lnTo>
                <a:cubicBezTo>
                  <a:pt x="1374707" y="340526"/>
                  <a:pt x="1402621" y="517660"/>
                  <a:pt x="1402621" y="701312"/>
                </a:cubicBezTo>
                <a:cubicBezTo>
                  <a:pt x="1402621" y="884964"/>
                  <a:pt x="1374707" y="1062096"/>
                  <a:pt x="1322888" y="1228698"/>
                </a:cubicBezTo>
                <a:lnTo>
                  <a:pt x="1297651" y="1297650"/>
                </a:lnTo>
                <a:cubicBezTo>
                  <a:pt x="1297651" y="1297651"/>
                  <a:pt x="1297650" y="1297651"/>
                  <a:pt x="1297650" y="1297652"/>
                </a:cubicBezTo>
                <a:lnTo>
                  <a:pt x="1228697" y="1322890"/>
                </a:lnTo>
                <a:cubicBezTo>
                  <a:pt x="1062095" y="1374708"/>
                  <a:pt x="884963" y="1402622"/>
                  <a:pt x="701311" y="1402622"/>
                </a:cubicBezTo>
                <a:cubicBezTo>
                  <a:pt x="517659" y="1402622"/>
                  <a:pt x="340526" y="1374708"/>
                  <a:pt x="173923" y="1322890"/>
                </a:cubicBezTo>
                <a:lnTo>
                  <a:pt x="104970" y="1297652"/>
                </a:lnTo>
                <a:close/>
              </a:path>
            </a:pathLst>
          </a:custGeom>
          <a:solidFill>
            <a:schemeClr val="accent4">
              <a:lumMod val="60000"/>
              <a:lumOff val="4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300" b="1" dirty="0">
                <a:solidFill>
                  <a:schemeClr val="tx1"/>
                </a:solidFill>
                <a:latin typeface="Montserrat" panose="00000500000000000000" pitchFamily="50" charset="0"/>
              </a:rPr>
              <a:t>MOBILE CONTENT</a:t>
            </a:r>
          </a:p>
        </p:txBody>
      </p:sp>
    </p:spTree>
    <p:extLst>
      <p:ext uri="{BB962C8B-B14F-4D97-AF65-F5344CB8AC3E}">
        <p14:creationId xmlns:p14="http://schemas.microsoft.com/office/powerpoint/2010/main" val="2440721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1500"/>
                                        <p:tgtEl>
                                          <p:spTgt spid="72"/>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2000"/>
                                        <p:tgtEl>
                                          <p:spTgt spid="6"/>
                                        </p:tgtEl>
                                      </p:cBhvr>
                                    </p:animEffect>
                                  </p:childTnLst>
                                </p:cTn>
                              </p:par>
                              <p:par>
                                <p:cTn id="11" presetID="63" presetClass="path" presetSubtype="0" accel="50000" decel="50000" fill="hold" nodeType="withEffect">
                                  <p:stCondLst>
                                    <p:cond delay="0"/>
                                  </p:stCondLst>
                                  <p:childTnLst>
                                    <p:animMotion origin="layout" path="M 0.04505 0 L 1.45833E-6 0 " pathEditMode="relative" rAng="0" ptsTypes="AA">
                                      <p:cBhvr>
                                        <p:cTn id="12" dur="2000" fill="hold"/>
                                        <p:tgtEl>
                                          <p:spTgt spid="6"/>
                                        </p:tgtEl>
                                        <p:attrNameLst>
                                          <p:attrName>ppt_x</p:attrName>
                                          <p:attrName>ppt_y</p:attrName>
                                        </p:attrNameLst>
                                      </p:cBhvr>
                                      <p:rCtr x="-2253" y="0"/>
                                    </p:animMotion>
                                  </p:childTnLst>
                                </p:cTn>
                              </p:par>
                              <p:par>
                                <p:cTn id="13" presetID="10"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2000"/>
                                        <p:tgtEl>
                                          <p:spTgt spid="4"/>
                                        </p:tgtEl>
                                      </p:cBhvr>
                                    </p:animEffect>
                                  </p:childTnLst>
                                </p:cTn>
                              </p:par>
                              <p:par>
                                <p:cTn id="16" presetID="63" presetClass="path" presetSubtype="0" accel="50000" decel="50000" fill="hold" nodeType="withEffect">
                                  <p:stCondLst>
                                    <p:cond delay="0"/>
                                  </p:stCondLst>
                                  <p:childTnLst>
                                    <p:animMotion origin="layout" path="M 4.58333E-6 0 L -0.04506 0 " pathEditMode="relative" rAng="0" ptsTypes="AA">
                                      <p:cBhvr>
                                        <p:cTn id="17" dur="2000" spd="-100000" fill="hold"/>
                                        <p:tgtEl>
                                          <p:spTgt spid="4"/>
                                        </p:tgtEl>
                                        <p:attrNameLst>
                                          <p:attrName>ppt_x</p:attrName>
                                          <p:attrName>ppt_y</p:attrName>
                                        </p:attrNameLst>
                                      </p:cBhvr>
                                      <p:rCtr x="-2253" y="0"/>
                                    </p:animMotion>
                                  </p:childTnLst>
                                </p:cTn>
                              </p:par>
                              <p:par>
                                <p:cTn id="18" presetID="10" presetClass="entr" presetSubtype="0" fill="hold" nodeType="with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2000"/>
                                        <p:tgtEl>
                                          <p:spTgt spid="5"/>
                                        </p:tgtEl>
                                      </p:cBhvr>
                                    </p:animEffect>
                                  </p:childTnLst>
                                </p:cTn>
                              </p:par>
                              <p:par>
                                <p:cTn id="21" presetID="63" presetClass="path" presetSubtype="0" accel="50000" decel="50000" fill="hold" nodeType="withEffect">
                                  <p:stCondLst>
                                    <p:cond delay="0"/>
                                  </p:stCondLst>
                                  <p:childTnLst>
                                    <p:animMotion origin="layout" path="M -0.00026 -0.08217 L 3.125E-6 -3.7037E-6 " pathEditMode="relative" rAng="0" ptsTypes="AA">
                                      <p:cBhvr>
                                        <p:cTn id="22" dur="2000" fill="hold"/>
                                        <p:tgtEl>
                                          <p:spTgt spid="5"/>
                                        </p:tgtEl>
                                        <p:attrNameLst>
                                          <p:attrName>ppt_x</p:attrName>
                                          <p:attrName>ppt_y</p:attrName>
                                        </p:attrNameLst>
                                      </p:cBhvr>
                                      <p:rCtr x="13" y="4097"/>
                                    </p:animMotion>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2000"/>
                                        <p:tgtEl>
                                          <p:spTgt spid="3"/>
                                        </p:tgtEl>
                                      </p:cBhvr>
                                    </p:animEffect>
                                  </p:childTnLst>
                                </p:cTn>
                              </p:par>
                              <p:par>
                                <p:cTn id="26" presetID="63" presetClass="path" presetSubtype="0" accel="50000" decel="50000" fill="hold" nodeType="withEffect">
                                  <p:stCondLst>
                                    <p:cond delay="0"/>
                                  </p:stCondLst>
                                  <p:childTnLst>
                                    <p:animMotion origin="layout" path="M 3.54167E-6 -4.07407E-6 L 0.00026 0.08218 " pathEditMode="relative" rAng="0" ptsTypes="AA">
                                      <p:cBhvr>
                                        <p:cTn id="27" dur="2000" spd="-100000" fill="hold"/>
                                        <p:tgtEl>
                                          <p:spTgt spid="3"/>
                                        </p:tgtEl>
                                        <p:attrNameLst>
                                          <p:attrName>ppt_x</p:attrName>
                                          <p:attrName>ppt_y</p:attrName>
                                        </p:attrNameLst>
                                      </p:cBhvr>
                                      <p:rCtr x="13" y="4097"/>
                                    </p:animMotion>
                                  </p:childTnLst>
                                </p:cTn>
                              </p:par>
                              <p:par>
                                <p:cTn id="28" presetID="10" presetClass="entr" presetSubtype="0" fill="hold"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2000"/>
                                        <p:tgtEl>
                                          <p:spTgt spid="7"/>
                                        </p:tgtEl>
                                      </p:cBhvr>
                                    </p:animEffect>
                                  </p:childTnLst>
                                </p:cTn>
                              </p:par>
                              <p:par>
                                <p:cTn id="31" presetID="63" presetClass="path" presetSubtype="0" accel="50000" decel="50000" fill="hold" nodeType="withEffect">
                                  <p:stCondLst>
                                    <p:cond delay="0"/>
                                  </p:stCondLst>
                                  <p:childTnLst>
                                    <p:animMotion origin="layout" path="M 0.02331 -0.04144 L -2.70833E-6 3.7037E-6 " pathEditMode="relative" rAng="0" ptsTypes="AA">
                                      <p:cBhvr>
                                        <p:cTn id="32" dur="2000" fill="hold"/>
                                        <p:tgtEl>
                                          <p:spTgt spid="7"/>
                                        </p:tgtEl>
                                        <p:attrNameLst>
                                          <p:attrName>ppt_x</p:attrName>
                                          <p:attrName>ppt_y</p:attrName>
                                        </p:attrNameLst>
                                      </p:cBhvr>
                                      <p:rCtr x="-1172" y="2060"/>
                                    </p:animMotion>
                                  </p:childTnLst>
                                </p:cTn>
                              </p:par>
                              <p:par>
                                <p:cTn id="33" presetID="10" presetClass="entr" presetSubtype="0" fill="hold" nodeType="with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2000"/>
                                        <p:tgtEl>
                                          <p:spTgt spid="9"/>
                                        </p:tgtEl>
                                      </p:cBhvr>
                                    </p:animEffect>
                                  </p:childTnLst>
                                </p:cTn>
                              </p:par>
                              <p:par>
                                <p:cTn id="36" presetID="63" presetClass="path" presetSubtype="0" accel="50000" decel="50000" fill="hold" nodeType="withEffect">
                                  <p:stCondLst>
                                    <p:cond delay="0"/>
                                  </p:stCondLst>
                                  <p:childTnLst>
                                    <p:animMotion origin="layout" path="M 3.125E-6 2.96296E-6 L -0.02331 0.04143 " pathEditMode="relative" rAng="0" ptsTypes="AA">
                                      <p:cBhvr>
                                        <p:cTn id="37" dur="2000" spd="-100000" fill="hold"/>
                                        <p:tgtEl>
                                          <p:spTgt spid="9"/>
                                        </p:tgtEl>
                                        <p:attrNameLst>
                                          <p:attrName>ppt_x</p:attrName>
                                          <p:attrName>ppt_y</p:attrName>
                                        </p:attrNameLst>
                                      </p:cBhvr>
                                      <p:rCtr x="-1172" y="2060"/>
                                    </p:animMotion>
                                  </p:childTnLst>
                                </p:cTn>
                              </p:par>
                              <p:par>
                                <p:cTn id="38" presetID="10" presetClass="entr" presetSubtype="0" fill="hold" nodeType="with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fade">
                                      <p:cBhvr>
                                        <p:cTn id="40" dur="2000"/>
                                        <p:tgtEl>
                                          <p:spTgt spid="8"/>
                                        </p:tgtEl>
                                      </p:cBhvr>
                                    </p:animEffect>
                                  </p:childTnLst>
                                </p:cTn>
                              </p:par>
                              <p:par>
                                <p:cTn id="41" presetID="63" presetClass="path" presetSubtype="0" accel="50000" decel="50000" fill="hold" nodeType="withEffect">
                                  <p:stCondLst>
                                    <p:cond delay="0"/>
                                  </p:stCondLst>
                                  <p:childTnLst>
                                    <p:animMotion origin="layout" path="M -0.02044 -0.03635 L -1.04167E-6 3.7037E-6 " pathEditMode="relative" rAng="0" ptsTypes="AA">
                                      <p:cBhvr>
                                        <p:cTn id="42" dur="2000" fill="hold"/>
                                        <p:tgtEl>
                                          <p:spTgt spid="8"/>
                                        </p:tgtEl>
                                        <p:attrNameLst>
                                          <p:attrName>ppt_x</p:attrName>
                                          <p:attrName>ppt_y</p:attrName>
                                        </p:attrNameLst>
                                      </p:cBhvr>
                                      <p:rCtr x="1016" y="1806"/>
                                    </p:animMotion>
                                  </p:childTnLst>
                                </p:cTn>
                              </p:par>
                              <p:par>
                                <p:cTn id="43" presetID="10" presetClass="entr" presetSubtype="0" fill="hold" nodeType="with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2000"/>
                                        <p:tgtEl>
                                          <p:spTgt spid="11"/>
                                        </p:tgtEl>
                                      </p:cBhvr>
                                    </p:animEffect>
                                  </p:childTnLst>
                                </p:cTn>
                              </p:par>
                              <p:par>
                                <p:cTn id="46" presetID="63" presetClass="path" presetSubtype="0" accel="50000" decel="50000" fill="hold" nodeType="withEffect">
                                  <p:stCondLst>
                                    <p:cond delay="0"/>
                                  </p:stCondLst>
                                  <p:childTnLst>
                                    <p:animMotion origin="layout" path="M 2.08333E-7 4.07407E-6 L 0.02044 0.03634 " pathEditMode="relative" rAng="0" ptsTypes="AA">
                                      <p:cBhvr>
                                        <p:cTn id="47" dur="2000" spd="-100000" fill="hold"/>
                                        <p:tgtEl>
                                          <p:spTgt spid="11"/>
                                        </p:tgtEl>
                                        <p:attrNameLst>
                                          <p:attrName>ppt_x</p:attrName>
                                          <p:attrName>ppt_y</p:attrName>
                                        </p:attrNameLst>
                                      </p:cBhvr>
                                      <p:rCtr x="1016" y="1806"/>
                                    </p:animMotion>
                                  </p:childTnLst>
                                </p:cTn>
                              </p:par>
                              <p:par>
                                <p:cTn id="48" presetID="10" presetClass="entr" presetSubtype="0" fill="hold" nodeType="with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fade">
                                      <p:cBhvr>
                                        <p:cTn id="50" dur="2000"/>
                                        <p:tgtEl>
                                          <p:spTgt spid="27"/>
                                        </p:tgtEl>
                                      </p:cBhvr>
                                    </p:animEffect>
                                  </p:childTnLst>
                                </p:cTn>
                              </p:par>
                              <p:par>
                                <p:cTn id="51" presetID="63" presetClass="path" presetSubtype="0" accel="50000" decel="50000" fill="hold" nodeType="withEffect">
                                  <p:stCondLst>
                                    <p:cond delay="0"/>
                                  </p:stCondLst>
                                  <p:childTnLst>
                                    <p:animMotion origin="layout" path="M -0.00026 -0.08217 L 3.125E-6 -3.7037E-6 " pathEditMode="relative" rAng="0" ptsTypes="AA">
                                      <p:cBhvr>
                                        <p:cTn id="52" dur="2000" fill="hold"/>
                                        <p:tgtEl>
                                          <p:spTgt spid="27"/>
                                        </p:tgtEl>
                                        <p:attrNameLst>
                                          <p:attrName>ppt_x</p:attrName>
                                          <p:attrName>ppt_y</p:attrName>
                                        </p:attrNameLst>
                                      </p:cBhvr>
                                      <p:rCtr x="13" y="4097"/>
                                    </p:animMotion>
                                  </p:childTnLst>
                                </p:cTn>
                              </p:par>
                              <p:par>
                                <p:cTn id="53" presetID="10" presetClass="entr" presetSubtype="0" fill="hold" nodeType="withEffect">
                                  <p:stCondLst>
                                    <p:cond delay="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2000"/>
                                        <p:tgtEl>
                                          <p:spTgt spid="29"/>
                                        </p:tgtEl>
                                      </p:cBhvr>
                                    </p:animEffect>
                                  </p:childTnLst>
                                </p:cTn>
                              </p:par>
                              <p:par>
                                <p:cTn id="56" presetID="63" presetClass="path" presetSubtype="0" accel="50000" decel="50000" fill="hold" nodeType="withEffect">
                                  <p:stCondLst>
                                    <p:cond delay="0"/>
                                  </p:stCondLst>
                                  <p:childTnLst>
                                    <p:animMotion origin="layout" path="M 3.54167E-6 -4.07407E-6 L 0.00026 0.08218 " pathEditMode="relative" rAng="0" ptsTypes="AA">
                                      <p:cBhvr>
                                        <p:cTn id="57" dur="2000" spd="-100000" fill="hold"/>
                                        <p:tgtEl>
                                          <p:spTgt spid="29"/>
                                        </p:tgtEl>
                                        <p:attrNameLst>
                                          <p:attrName>ppt_x</p:attrName>
                                          <p:attrName>ppt_y</p:attrName>
                                        </p:attrNameLst>
                                      </p:cBhvr>
                                      <p:rCtr x="13" y="4097"/>
                                    </p:animMotion>
                                  </p:childTnLst>
                                </p:cTn>
                              </p:par>
                              <p:par>
                                <p:cTn id="58" presetID="10" presetClass="entr" presetSubtype="0" fill="hold" nodeType="withEffect">
                                  <p:stCondLst>
                                    <p:cond delay="0"/>
                                  </p:stCondLst>
                                  <p:childTnLst>
                                    <p:set>
                                      <p:cBhvr>
                                        <p:cTn id="59" dur="1" fill="hold">
                                          <p:stCondLst>
                                            <p:cond delay="0"/>
                                          </p:stCondLst>
                                        </p:cTn>
                                        <p:tgtEl>
                                          <p:spTgt spid="30"/>
                                        </p:tgtEl>
                                        <p:attrNameLst>
                                          <p:attrName>style.visibility</p:attrName>
                                        </p:attrNameLst>
                                      </p:cBhvr>
                                      <p:to>
                                        <p:strVal val="visible"/>
                                      </p:to>
                                    </p:set>
                                    <p:animEffect transition="in" filter="fade">
                                      <p:cBhvr>
                                        <p:cTn id="60" dur="2000"/>
                                        <p:tgtEl>
                                          <p:spTgt spid="30"/>
                                        </p:tgtEl>
                                      </p:cBhvr>
                                    </p:animEffect>
                                  </p:childTnLst>
                                </p:cTn>
                              </p:par>
                              <p:par>
                                <p:cTn id="61" presetID="63" presetClass="path" presetSubtype="0" accel="50000" decel="50000" fill="hold" nodeType="withEffect">
                                  <p:stCondLst>
                                    <p:cond delay="0"/>
                                  </p:stCondLst>
                                  <p:childTnLst>
                                    <p:animMotion origin="layout" path="M 0.04505 0 L 1.45833E-6 0 " pathEditMode="relative" rAng="0" ptsTypes="AA">
                                      <p:cBhvr>
                                        <p:cTn id="62" dur="2000" fill="hold"/>
                                        <p:tgtEl>
                                          <p:spTgt spid="30"/>
                                        </p:tgtEl>
                                        <p:attrNameLst>
                                          <p:attrName>ppt_x</p:attrName>
                                          <p:attrName>ppt_y</p:attrName>
                                        </p:attrNameLst>
                                      </p:cBhvr>
                                      <p:rCtr x="-2253" y="0"/>
                                    </p:animMotion>
                                  </p:childTnLst>
                                </p:cTn>
                              </p:par>
                              <p:par>
                                <p:cTn id="63" presetID="10" presetClass="entr" presetSubtype="0" fill="hold" nodeType="withEffect">
                                  <p:stCondLst>
                                    <p:cond delay="0"/>
                                  </p:stCondLst>
                                  <p:childTnLst>
                                    <p:set>
                                      <p:cBhvr>
                                        <p:cTn id="64" dur="1" fill="hold">
                                          <p:stCondLst>
                                            <p:cond delay="0"/>
                                          </p:stCondLst>
                                        </p:cTn>
                                        <p:tgtEl>
                                          <p:spTgt spid="28"/>
                                        </p:tgtEl>
                                        <p:attrNameLst>
                                          <p:attrName>style.visibility</p:attrName>
                                        </p:attrNameLst>
                                      </p:cBhvr>
                                      <p:to>
                                        <p:strVal val="visible"/>
                                      </p:to>
                                    </p:set>
                                    <p:animEffect transition="in" filter="fade">
                                      <p:cBhvr>
                                        <p:cTn id="65" dur="2000"/>
                                        <p:tgtEl>
                                          <p:spTgt spid="28"/>
                                        </p:tgtEl>
                                      </p:cBhvr>
                                    </p:animEffect>
                                  </p:childTnLst>
                                </p:cTn>
                              </p:par>
                              <p:par>
                                <p:cTn id="66" presetID="63" presetClass="path" presetSubtype="0" accel="50000" decel="50000" fill="hold" nodeType="withEffect">
                                  <p:stCondLst>
                                    <p:cond delay="0"/>
                                  </p:stCondLst>
                                  <p:childTnLst>
                                    <p:animMotion origin="layout" path="M 4.58333E-6 0 L -0.04506 0 " pathEditMode="relative" rAng="0" ptsTypes="AA">
                                      <p:cBhvr>
                                        <p:cTn id="67" dur="2000" spd="-100000" fill="hold"/>
                                        <p:tgtEl>
                                          <p:spTgt spid="28"/>
                                        </p:tgtEl>
                                        <p:attrNameLst>
                                          <p:attrName>ppt_x</p:attrName>
                                          <p:attrName>ppt_y</p:attrName>
                                        </p:attrNameLst>
                                      </p:cBhvr>
                                      <p:rCtr x="-2253" y="0"/>
                                    </p:animMotion>
                                  </p:childTnLst>
                                </p:cTn>
                              </p:par>
                              <p:par>
                                <p:cTn id="68" presetID="22" presetClass="entr" presetSubtype="8" fill="hold" grpId="0" nodeType="withEffect">
                                  <p:stCondLst>
                                    <p:cond delay="1500"/>
                                  </p:stCondLst>
                                  <p:childTnLst>
                                    <p:set>
                                      <p:cBhvr>
                                        <p:cTn id="69" dur="1" fill="hold">
                                          <p:stCondLst>
                                            <p:cond delay="0"/>
                                          </p:stCondLst>
                                        </p:cTn>
                                        <p:tgtEl>
                                          <p:spTgt spid="58"/>
                                        </p:tgtEl>
                                        <p:attrNameLst>
                                          <p:attrName>style.visibility</p:attrName>
                                        </p:attrNameLst>
                                      </p:cBhvr>
                                      <p:to>
                                        <p:strVal val="visible"/>
                                      </p:to>
                                    </p:set>
                                    <p:animEffect transition="in" filter="wipe(left)">
                                      <p:cBhvr>
                                        <p:cTn id="70" dur="1500"/>
                                        <p:tgtEl>
                                          <p:spTgt spid="58"/>
                                        </p:tgtEl>
                                      </p:cBhvr>
                                    </p:animEffect>
                                  </p:childTnLst>
                                </p:cTn>
                              </p:par>
                              <p:par>
                                <p:cTn id="71" presetID="22" presetClass="entr" presetSubtype="8" fill="hold" grpId="0" nodeType="withEffect">
                                  <p:stCondLst>
                                    <p:cond delay="1500"/>
                                  </p:stCondLst>
                                  <p:childTnLst>
                                    <p:set>
                                      <p:cBhvr>
                                        <p:cTn id="72" dur="1" fill="hold">
                                          <p:stCondLst>
                                            <p:cond delay="0"/>
                                          </p:stCondLst>
                                        </p:cTn>
                                        <p:tgtEl>
                                          <p:spTgt spid="53"/>
                                        </p:tgtEl>
                                        <p:attrNameLst>
                                          <p:attrName>style.visibility</p:attrName>
                                        </p:attrNameLst>
                                      </p:cBhvr>
                                      <p:to>
                                        <p:strVal val="visible"/>
                                      </p:to>
                                    </p:set>
                                    <p:animEffect transition="in" filter="wipe(left)">
                                      <p:cBhvr>
                                        <p:cTn id="73" dur="1500"/>
                                        <p:tgtEl>
                                          <p:spTgt spid="53"/>
                                        </p:tgtEl>
                                      </p:cBhvr>
                                    </p:animEffect>
                                  </p:childTnLst>
                                </p:cTn>
                              </p:par>
                              <p:par>
                                <p:cTn id="74" presetID="22" presetClass="entr" presetSubtype="8" fill="hold" grpId="0" nodeType="withEffect">
                                  <p:stCondLst>
                                    <p:cond delay="1500"/>
                                  </p:stCondLst>
                                  <p:childTnLst>
                                    <p:set>
                                      <p:cBhvr>
                                        <p:cTn id="75" dur="1" fill="hold">
                                          <p:stCondLst>
                                            <p:cond delay="0"/>
                                          </p:stCondLst>
                                        </p:cTn>
                                        <p:tgtEl>
                                          <p:spTgt spid="61"/>
                                        </p:tgtEl>
                                        <p:attrNameLst>
                                          <p:attrName>style.visibility</p:attrName>
                                        </p:attrNameLst>
                                      </p:cBhvr>
                                      <p:to>
                                        <p:strVal val="visible"/>
                                      </p:to>
                                    </p:set>
                                    <p:animEffect transition="in" filter="wipe(left)">
                                      <p:cBhvr>
                                        <p:cTn id="76" dur="1500"/>
                                        <p:tgtEl>
                                          <p:spTgt spid="61"/>
                                        </p:tgtEl>
                                      </p:cBhvr>
                                    </p:animEffect>
                                  </p:childTnLst>
                                </p:cTn>
                              </p:par>
                              <p:par>
                                <p:cTn id="77" presetID="22" presetClass="entr" presetSubtype="8" fill="hold" grpId="0" nodeType="withEffect">
                                  <p:stCondLst>
                                    <p:cond delay="1500"/>
                                  </p:stCondLst>
                                  <p:childTnLst>
                                    <p:set>
                                      <p:cBhvr>
                                        <p:cTn id="78" dur="1" fill="hold">
                                          <p:stCondLst>
                                            <p:cond delay="0"/>
                                          </p:stCondLst>
                                        </p:cTn>
                                        <p:tgtEl>
                                          <p:spTgt spid="64"/>
                                        </p:tgtEl>
                                        <p:attrNameLst>
                                          <p:attrName>style.visibility</p:attrName>
                                        </p:attrNameLst>
                                      </p:cBhvr>
                                      <p:to>
                                        <p:strVal val="visible"/>
                                      </p:to>
                                    </p:set>
                                    <p:animEffect transition="in" filter="wipe(left)">
                                      <p:cBhvr>
                                        <p:cTn id="79" dur="1500"/>
                                        <p:tgtEl>
                                          <p:spTgt spid="64"/>
                                        </p:tgtEl>
                                      </p:cBhvr>
                                    </p:animEffect>
                                  </p:childTnLst>
                                </p:cTn>
                              </p:par>
                              <p:par>
                                <p:cTn id="80" presetID="12" presetClass="entr" presetSubtype="1" fill="hold" grpId="0" nodeType="withEffect">
                                  <p:stCondLst>
                                    <p:cond delay="1500"/>
                                  </p:stCondLst>
                                  <p:childTnLst>
                                    <p:set>
                                      <p:cBhvr>
                                        <p:cTn id="81" dur="1" fill="hold">
                                          <p:stCondLst>
                                            <p:cond delay="0"/>
                                          </p:stCondLst>
                                        </p:cTn>
                                        <p:tgtEl>
                                          <p:spTgt spid="54"/>
                                        </p:tgtEl>
                                        <p:attrNameLst>
                                          <p:attrName>style.visibility</p:attrName>
                                        </p:attrNameLst>
                                      </p:cBhvr>
                                      <p:to>
                                        <p:strVal val="visible"/>
                                      </p:to>
                                    </p:set>
                                    <p:anim calcmode="lin" valueType="num">
                                      <p:cBhvr additive="base">
                                        <p:cTn id="82" dur="1500"/>
                                        <p:tgtEl>
                                          <p:spTgt spid="54"/>
                                        </p:tgtEl>
                                        <p:attrNameLst>
                                          <p:attrName>ppt_y</p:attrName>
                                        </p:attrNameLst>
                                      </p:cBhvr>
                                      <p:tavLst>
                                        <p:tav tm="0">
                                          <p:val>
                                            <p:strVal val="#ppt_y-#ppt_h*1.125000"/>
                                          </p:val>
                                        </p:tav>
                                        <p:tav tm="100000">
                                          <p:val>
                                            <p:strVal val="#ppt_y"/>
                                          </p:val>
                                        </p:tav>
                                      </p:tavLst>
                                    </p:anim>
                                    <p:animEffect transition="in" filter="wipe(down)">
                                      <p:cBhvr>
                                        <p:cTn id="83" dur="1500"/>
                                        <p:tgtEl>
                                          <p:spTgt spid="54"/>
                                        </p:tgtEl>
                                      </p:cBhvr>
                                    </p:animEffect>
                                  </p:childTnLst>
                                </p:cTn>
                              </p:par>
                              <p:par>
                                <p:cTn id="84" presetID="12" presetClass="entr" presetSubtype="1" fill="hold" grpId="0" nodeType="withEffect">
                                  <p:stCondLst>
                                    <p:cond delay="1500"/>
                                  </p:stCondLst>
                                  <p:childTnLst>
                                    <p:set>
                                      <p:cBhvr>
                                        <p:cTn id="85" dur="1" fill="hold">
                                          <p:stCondLst>
                                            <p:cond delay="0"/>
                                          </p:stCondLst>
                                        </p:cTn>
                                        <p:tgtEl>
                                          <p:spTgt spid="59"/>
                                        </p:tgtEl>
                                        <p:attrNameLst>
                                          <p:attrName>style.visibility</p:attrName>
                                        </p:attrNameLst>
                                      </p:cBhvr>
                                      <p:to>
                                        <p:strVal val="visible"/>
                                      </p:to>
                                    </p:set>
                                    <p:anim calcmode="lin" valueType="num">
                                      <p:cBhvr additive="base">
                                        <p:cTn id="86" dur="1500"/>
                                        <p:tgtEl>
                                          <p:spTgt spid="59"/>
                                        </p:tgtEl>
                                        <p:attrNameLst>
                                          <p:attrName>ppt_y</p:attrName>
                                        </p:attrNameLst>
                                      </p:cBhvr>
                                      <p:tavLst>
                                        <p:tav tm="0">
                                          <p:val>
                                            <p:strVal val="#ppt_y-#ppt_h*1.125000"/>
                                          </p:val>
                                        </p:tav>
                                        <p:tav tm="100000">
                                          <p:val>
                                            <p:strVal val="#ppt_y"/>
                                          </p:val>
                                        </p:tav>
                                      </p:tavLst>
                                    </p:anim>
                                    <p:animEffect transition="in" filter="wipe(down)">
                                      <p:cBhvr>
                                        <p:cTn id="87" dur="1500"/>
                                        <p:tgtEl>
                                          <p:spTgt spid="59"/>
                                        </p:tgtEl>
                                      </p:cBhvr>
                                    </p:animEffect>
                                  </p:childTnLst>
                                </p:cTn>
                              </p:par>
                              <p:par>
                                <p:cTn id="88" presetID="12" presetClass="entr" presetSubtype="1" fill="hold" grpId="0" nodeType="withEffect">
                                  <p:stCondLst>
                                    <p:cond delay="1500"/>
                                  </p:stCondLst>
                                  <p:childTnLst>
                                    <p:set>
                                      <p:cBhvr>
                                        <p:cTn id="89" dur="1" fill="hold">
                                          <p:stCondLst>
                                            <p:cond delay="0"/>
                                          </p:stCondLst>
                                        </p:cTn>
                                        <p:tgtEl>
                                          <p:spTgt spid="62"/>
                                        </p:tgtEl>
                                        <p:attrNameLst>
                                          <p:attrName>style.visibility</p:attrName>
                                        </p:attrNameLst>
                                      </p:cBhvr>
                                      <p:to>
                                        <p:strVal val="visible"/>
                                      </p:to>
                                    </p:set>
                                    <p:anim calcmode="lin" valueType="num">
                                      <p:cBhvr additive="base">
                                        <p:cTn id="90" dur="1500"/>
                                        <p:tgtEl>
                                          <p:spTgt spid="62"/>
                                        </p:tgtEl>
                                        <p:attrNameLst>
                                          <p:attrName>ppt_y</p:attrName>
                                        </p:attrNameLst>
                                      </p:cBhvr>
                                      <p:tavLst>
                                        <p:tav tm="0">
                                          <p:val>
                                            <p:strVal val="#ppt_y-#ppt_h*1.125000"/>
                                          </p:val>
                                        </p:tav>
                                        <p:tav tm="100000">
                                          <p:val>
                                            <p:strVal val="#ppt_y"/>
                                          </p:val>
                                        </p:tav>
                                      </p:tavLst>
                                    </p:anim>
                                    <p:animEffect transition="in" filter="wipe(down)">
                                      <p:cBhvr>
                                        <p:cTn id="91" dur="1500"/>
                                        <p:tgtEl>
                                          <p:spTgt spid="62"/>
                                        </p:tgtEl>
                                      </p:cBhvr>
                                    </p:animEffect>
                                  </p:childTnLst>
                                </p:cTn>
                              </p:par>
                              <p:par>
                                <p:cTn id="92" presetID="12" presetClass="entr" presetSubtype="1" fill="hold" grpId="0" nodeType="withEffect">
                                  <p:stCondLst>
                                    <p:cond delay="1500"/>
                                  </p:stCondLst>
                                  <p:childTnLst>
                                    <p:set>
                                      <p:cBhvr>
                                        <p:cTn id="93" dur="1" fill="hold">
                                          <p:stCondLst>
                                            <p:cond delay="0"/>
                                          </p:stCondLst>
                                        </p:cTn>
                                        <p:tgtEl>
                                          <p:spTgt spid="65"/>
                                        </p:tgtEl>
                                        <p:attrNameLst>
                                          <p:attrName>style.visibility</p:attrName>
                                        </p:attrNameLst>
                                      </p:cBhvr>
                                      <p:to>
                                        <p:strVal val="visible"/>
                                      </p:to>
                                    </p:set>
                                    <p:anim calcmode="lin" valueType="num">
                                      <p:cBhvr additive="base">
                                        <p:cTn id="94" dur="1500"/>
                                        <p:tgtEl>
                                          <p:spTgt spid="65"/>
                                        </p:tgtEl>
                                        <p:attrNameLst>
                                          <p:attrName>ppt_y</p:attrName>
                                        </p:attrNameLst>
                                      </p:cBhvr>
                                      <p:tavLst>
                                        <p:tav tm="0">
                                          <p:val>
                                            <p:strVal val="#ppt_y-#ppt_h*1.125000"/>
                                          </p:val>
                                        </p:tav>
                                        <p:tav tm="100000">
                                          <p:val>
                                            <p:strVal val="#ppt_y"/>
                                          </p:val>
                                        </p:tav>
                                      </p:tavLst>
                                    </p:anim>
                                    <p:animEffect transition="in" filter="wipe(down)">
                                      <p:cBhvr>
                                        <p:cTn id="95" dur="1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P spid="54" grpId="0"/>
      <p:bldP spid="58" grpId="0"/>
      <p:bldP spid="59" grpId="0"/>
      <p:bldP spid="61" grpId="0"/>
      <p:bldP spid="62" grpId="0"/>
      <p:bldP spid="64" grpId="0"/>
      <p:bldP spid="65" grpId="0"/>
      <p:bldP spid="7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 name="Freeform: Shape 129">
            <a:extLst>
              <a:ext uri="{FF2B5EF4-FFF2-40B4-BE49-F238E27FC236}">
                <a16:creationId xmlns:a16="http://schemas.microsoft.com/office/drawing/2014/main" id="{BD23A7A7-59E3-4D6A-A6B7-B9EC4E773D34}"/>
              </a:ext>
            </a:extLst>
          </p:cNvPr>
          <p:cNvSpPr/>
          <p:nvPr/>
        </p:nvSpPr>
        <p:spPr>
          <a:xfrm>
            <a:off x="3124871" y="2754819"/>
            <a:ext cx="3358878" cy="3358878"/>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adFill>
            <a:gsLst>
              <a:gs pos="100000">
                <a:schemeClr val="accent4">
                  <a:alpha val="75000"/>
                </a:schemeClr>
              </a:gs>
              <a:gs pos="0">
                <a:schemeClr val="accent4">
                  <a:alpha val="25000"/>
                </a:schemeClr>
              </a:gs>
            </a:gsLst>
            <a:lin ang="2700000" scaled="1"/>
          </a:gradFill>
          <a:ln w="25400" cap="flat">
            <a:noFill/>
            <a:prstDash val="solid"/>
            <a:round/>
          </a:ln>
        </p:spPr>
        <p:txBody>
          <a:bodyPr wrap="square" rtlCol="0" anchor="ctr">
            <a:noAutofit/>
          </a:bodyPr>
          <a:lstStyle/>
          <a:p>
            <a:endParaRPr lang="en-US"/>
          </a:p>
        </p:txBody>
      </p:sp>
      <p:sp>
        <p:nvSpPr>
          <p:cNvPr id="127" name="Freeform: Shape 126">
            <a:extLst>
              <a:ext uri="{FF2B5EF4-FFF2-40B4-BE49-F238E27FC236}">
                <a16:creationId xmlns:a16="http://schemas.microsoft.com/office/drawing/2014/main" id="{26037DEF-7165-41A6-BA8C-4DA7652AEC40}"/>
              </a:ext>
            </a:extLst>
          </p:cNvPr>
          <p:cNvSpPr/>
          <p:nvPr/>
        </p:nvSpPr>
        <p:spPr>
          <a:xfrm>
            <a:off x="1118185" y="744304"/>
            <a:ext cx="3358878" cy="3358878"/>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adFill>
            <a:gsLst>
              <a:gs pos="100000">
                <a:schemeClr val="accent1">
                  <a:alpha val="75000"/>
                </a:schemeClr>
              </a:gs>
              <a:gs pos="0">
                <a:schemeClr val="accent1">
                  <a:alpha val="25000"/>
                </a:schemeClr>
              </a:gs>
            </a:gsLst>
            <a:lin ang="13500000" scaled="1"/>
          </a:gradFill>
          <a:ln w="25400" cap="flat">
            <a:noFill/>
            <a:prstDash val="solid"/>
            <a:round/>
          </a:ln>
        </p:spPr>
        <p:txBody>
          <a:bodyPr wrap="square" rtlCol="0" anchor="ctr">
            <a:noAutofit/>
          </a:bodyPr>
          <a:lstStyle/>
          <a:p>
            <a:endParaRPr lang="en-US"/>
          </a:p>
        </p:txBody>
      </p:sp>
      <p:sp>
        <p:nvSpPr>
          <p:cNvPr id="128" name="Freeform: Shape 127">
            <a:extLst>
              <a:ext uri="{FF2B5EF4-FFF2-40B4-BE49-F238E27FC236}">
                <a16:creationId xmlns:a16="http://schemas.microsoft.com/office/drawing/2014/main" id="{06BB652E-D0CD-4EB7-8959-6EEDA47ED4BB}"/>
              </a:ext>
            </a:extLst>
          </p:cNvPr>
          <p:cNvSpPr/>
          <p:nvPr/>
        </p:nvSpPr>
        <p:spPr>
          <a:xfrm>
            <a:off x="1118185" y="2754819"/>
            <a:ext cx="3358878" cy="3358878"/>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adFill>
            <a:gsLst>
              <a:gs pos="100000">
                <a:schemeClr val="accent5">
                  <a:lumMod val="75000"/>
                  <a:alpha val="75000"/>
                </a:schemeClr>
              </a:gs>
              <a:gs pos="0">
                <a:schemeClr val="accent5">
                  <a:alpha val="40000"/>
                </a:schemeClr>
              </a:gs>
            </a:gsLst>
            <a:lin ang="8100000" scaled="1"/>
          </a:gradFill>
          <a:ln w="25400" cap="flat">
            <a:noFill/>
            <a:prstDash val="solid"/>
            <a:round/>
          </a:ln>
        </p:spPr>
        <p:txBody>
          <a:bodyPr wrap="square" rtlCol="0" anchor="ctr">
            <a:noAutofit/>
          </a:bodyPr>
          <a:lstStyle/>
          <a:p>
            <a:endParaRPr lang="en-US"/>
          </a:p>
        </p:txBody>
      </p:sp>
      <p:sp>
        <p:nvSpPr>
          <p:cNvPr id="129" name="Freeform: Shape 128">
            <a:extLst>
              <a:ext uri="{FF2B5EF4-FFF2-40B4-BE49-F238E27FC236}">
                <a16:creationId xmlns:a16="http://schemas.microsoft.com/office/drawing/2014/main" id="{0CB59B14-DDE5-4B8D-AD56-2100DBB3453B}"/>
              </a:ext>
            </a:extLst>
          </p:cNvPr>
          <p:cNvSpPr/>
          <p:nvPr/>
        </p:nvSpPr>
        <p:spPr>
          <a:xfrm>
            <a:off x="3124871" y="744304"/>
            <a:ext cx="3358878" cy="3358878"/>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adFill>
            <a:gsLst>
              <a:gs pos="100000">
                <a:schemeClr val="accent3">
                  <a:alpha val="75000"/>
                </a:schemeClr>
              </a:gs>
              <a:gs pos="0">
                <a:schemeClr val="accent3">
                  <a:alpha val="25000"/>
                </a:schemeClr>
              </a:gs>
            </a:gsLst>
            <a:lin ang="18900000" scaled="1"/>
          </a:gradFill>
          <a:ln w="25400" cap="flat">
            <a:noFill/>
            <a:prstDash val="solid"/>
            <a:round/>
          </a:ln>
        </p:spPr>
        <p:txBody>
          <a:bodyPr wrap="square" rtlCol="0" anchor="ctr">
            <a:noAutofit/>
          </a:bodyPr>
          <a:lstStyle/>
          <a:p>
            <a:endParaRPr lang="en-US"/>
          </a:p>
        </p:txBody>
      </p:sp>
      <p:sp>
        <p:nvSpPr>
          <p:cNvPr id="141" name="Rectangle 32">
            <a:extLst>
              <a:ext uri="{FF2B5EF4-FFF2-40B4-BE49-F238E27FC236}">
                <a16:creationId xmlns:a16="http://schemas.microsoft.com/office/drawing/2014/main" id="{D1A11807-EDAB-4E64-8380-2AF40B8A47CF}"/>
              </a:ext>
            </a:extLst>
          </p:cNvPr>
          <p:cNvSpPr>
            <a:spLocks noChangeArrowheads="1"/>
          </p:cNvSpPr>
          <p:nvPr/>
        </p:nvSpPr>
        <p:spPr bwMode="auto">
          <a:xfrm>
            <a:off x="3410148" y="2000176"/>
            <a:ext cx="780983"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algn="ctr" defTabSz="914172" eaLnBrk="0" fontAlgn="base" hangingPunct="0">
              <a:spcBef>
                <a:spcPct val="0"/>
              </a:spcBef>
              <a:spcAft>
                <a:spcPct val="0"/>
              </a:spcAft>
            </a:pPr>
            <a:r>
              <a:rPr lang="en-US" altLang="en-US" sz="1600" b="1" spc="-80" dirty="0">
                <a:solidFill>
                  <a:schemeClr val="bg1"/>
                </a:solidFill>
                <a:latin typeface="Montserrat" panose="00000500000000000000" pitchFamily="50" charset="0"/>
              </a:rPr>
              <a:t>Analyze</a:t>
            </a:r>
          </a:p>
        </p:txBody>
      </p:sp>
      <p:sp>
        <p:nvSpPr>
          <p:cNvPr id="142" name="Rectangle 32">
            <a:extLst>
              <a:ext uri="{FF2B5EF4-FFF2-40B4-BE49-F238E27FC236}">
                <a16:creationId xmlns:a16="http://schemas.microsoft.com/office/drawing/2014/main" id="{0DAB9302-F0C7-4942-A78E-0900564CEC0F}"/>
              </a:ext>
            </a:extLst>
          </p:cNvPr>
          <p:cNvSpPr>
            <a:spLocks noChangeArrowheads="1"/>
          </p:cNvSpPr>
          <p:nvPr/>
        </p:nvSpPr>
        <p:spPr bwMode="auto">
          <a:xfrm>
            <a:off x="2061856" y="3302761"/>
            <a:ext cx="792205"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algn="ctr" defTabSz="914172" eaLnBrk="0" fontAlgn="base" hangingPunct="0">
              <a:spcBef>
                <a:spcPct val="0"/>
              </a:spcBef>
              <a:spcAft>
                <a:spcPct val="0"/>
              </a:spcAft>
            </a:pPr>
            <a:r>
              <a:rPr lang="en-US" altLang="en-US" sz="1600" b="1" spc="-80" dirty="0">
                <a:solidFill>
                  <a:schemeClr val="bg1"/>
                </a:solidFill>
                <a:latin typeface="Montserrat" panose="00000500000000000000" pitchFamily="50" charset="0"/>
              </a:rPr>
              <a:t>Success</a:t>
            </a:r>
          </a:p>
        </p:txBody>
      </p:sp>
      <p:sp>
        <p:nvSpPr>
          <p:cNvPr id="143" name="Rectangle 32">
            <a:extLst>
              <a:ext uri="{FF2B5EF4-FFF2-40B4-BE49-F238E27FC236}">
                <a16:creationId xmlns:a16="http://schemas.microsoft.com/office/drawing/2014/main" id="{36D83C6E-E11D-41CA-B4F0-14F8E748E423}"/>
              </a:ext>
            </a:extLst>
          </p:cNvPr>
          <p:cNvSpPr>
            <a:spLocks noChangeArrowheads="1"/>
          </p:cNvSpPr>
          <p:nvPr/>
        </p:nvSpPr>
        <p:spPr bwMode="auto">
          <a:xfrm>
            <a:off x="3290564" y="4477720"/>
            <a:ext cx="1020151"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algn="ctr" defTabSz="914172" eaLnBrk="0" fontAlgn="base" hangingPunct="0">
              <a:spcBef>
                <a:spcPct val="0"/>
              </a:spcBef>
              <a:spcAft>
                <a:spcPct val="0"/>
              </a:spcAft>
            </a:pPr>
            <a:r>
              <a:rPr lang="en-US" altLang="en-US" sz="1600" b="1" spc="-80" dirty="0">
                <a:solidFill>
                  <a:schemeClr val="bg1"/>
                </a:solidFill>
                <a:latin typeface="Montserrat" panose="00000500000000000000" pitchFamily="50" charset="0"/>
              </a:rPr>
              <a:t>Marketing</a:t>
            </a:r>
          </a:p>
        </p:txBody>
      </p:sp>
      <p:sp>
        <p:nvSpPr>
          <p:cNvPr id="144" name="Rectangle 32">
            <a:extLst>
              <a:ext uri="{FF2B5EF4-FFF2-40B4-BE49-F238E27FC236}">
                <a16:creationId xmlns:a16="http://schemas.microsoft.com/office/drawing/2014/main" id="{239A9F73-13A8-49AE-A977-B1912051F5F8}"/>
              </a:ext>
            </a:extLst>
          </p:cNvPr>
          <p:cNvSpPr>
            <a:spLocks noChangeArrowheads="1"/>
          </p:cNvSpPr>
          <p:nvPr/>
        </p:nvSpPr>
        <p:spPr bwMode="auto">
          <a:xfrm>
            <a:off x="4923350" y="3302761"/>
            <a:ext cx="439864"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algn="ctr" defTabSz="914172" eaLnBrk="0" fontAlgn="base" hangingPunct="0">
              <a:spcBef>
                <a:spcPct val="0"/>
              </a:spcBef>
              <a:spcAft>
                <a:spcPct val="0"/>
              </a:spcAft>
            </a:pPr>
            <a:r>
              <a:rPr lang="en-US" altLang="en-US" sz="1600" b="1" spc="-80" dirty="0">
                <a:solidFill>
                  <a:schemeClr val="bg1"/>
                </a:solidFill>
                <a:latin typeface="Montserrat" panose="00000500000000000000" pitchFamily="50" charset="0"/>
              </a:rPr>
              <a:t>Plan</a:t>
            </a:r>
          </a:p>
        </p:txBody>
      </p:sp>
      <p:sp>
        <p:nvSpPr>
          <p:cNvPr id="156" name="Rectangle 32">
            <a:extLst>
              <a:ext uri="{FF2B5EF4-FFF2-40B4-BE49-F238E27FC236}">
                <a16:creationId xmlns:a16="http://schemas.microsoft.com/office/drawing/2014/main" id="{A0FF4590-9390-45AA-9B1E-B487D30D98D7}"/>
              </a:ext>
            </a:extLst>
          </p:cNvPr>
          <p:cNvSpPr>
            <a:spLocks noChangeArrowheads="1"/>
          </p:cNvSpPr>
          <p:nvPr/>
        </p:nvSpPr>
        <p:spPr bwMode="auto">
          <a:xfrm>
            <a:off x="1533138" y="4797327"/>
            <a:ext cx="1179414"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defTabSz="914172" eaLnBrk="0" fontAlgn="base" hangingPunct="0">
              <a:spcBef>
                <a:spcPct val="0"/>
              </a:spcBef>
              <a:spcAft>
                <a:spcPct val="0"/>
              </a:spcAft>
            </a:pPr>
            <a:r>
              <a:rPr lang="en-US" altLang="en-US" b="1" spc="-75" dirty="0">
                <a:solidFill>
                  <a:schemeClr val="bg1"/>
                </a:solidFill>
                <a:latin typeface="Montserrat" panose="00000500000000000000" pitchFamily="50" charset="0"/>
              </a:rPr>
              <a:t>Analyze</a:t>
            </a:r>
          </a:p>
        </p:txBody>
      </p:sp>
      <p:sp>
        <p:nvSpPr>
          <p:cNvPr id="157" name="Rectangle 156">
            <a:extLst>
              <a:ext uri="{FF2B5EF4-FFF2-40B4-BE49-F238E27FC236}">
                <a16:creationId xmlns:a16="http://schemas.microsoft.com/office/drawing/2014/main" id="{BD54AFEF-5E53-4381-8771-3C896A521D5B}"/>
              </a:ext>
            </a:extLst>
          </p:cNvPr>
          <p:cNvSpPr/>
          <p:nvPr/>
        </p:nvSpPr>
        <p:spPr>
          <a:xfrm>
            <a:off x="1533138" y="4571256"/>
            <a:ext cx="1179414" cy="202363"/>
          </a:xfrm>
          <a:prstGeom prst="rect">
            <a:avLst/>
          </a:prstGeom>
        </p:spPr>
        <p:txBody>
          <a:bodyPr wrap="square" lIns="0" tIns="0" rIns="0" bIns="0" anchor="b">
            <a:spAutoFit/>
          </a:bodyPr>
          <a:lstStyle/>
          <a:p>
            <a:pPr>
              <a:lnSpc>
                <a:spcPct val="120000"/>
              </a:lnSpc>
            </a:pPr>
            <a:r>
              <a:rPr lang="en-US" sz="1200" i="1" dirty="0">
                <a:solidFill>
                  <a:schemeClr val="bg1"/>
                </a:solidFill>
                <a:latin typeface="Montserrat" panose="00000500000000000000" pitchFamily="50" charset="0"/>
              </a:rPr>
              <a:t>What you love</a:t>
            </a:r>
          </a:p>
        </p:txBody>
      </p:sp>
      <p:sp>
        <p:nvSpPr>
          <p:cNvPr id="154" name="Rectangle 32">
            <a:extLst>
              <a:ext uri="{FF2B5EF4-FFF2-40B4-BE49-F238E27FC236}">
                <a16:creationId xmlns:a16="http://schemas.microsoft.com/office/drawing/2014/main" id="{28AF3A4F-D2DD-45DF-B5C9-0C3E2ED04C31}"/>
              </a:ext>
            </a:extLst>
          </p:cNvPr>
          <p:cNvSpPr>
            <a:spLocks noChangeArrowheads="1"/>
          </p:cNvSpPr>
          <p:nvPr/>
        </p:nvSpPr>
        <p:spPr bwMode="auto">
          <a:xfrm>
            <a:off x="4555589" y="4797327"/>
            <a:ext cx="1512549"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algn="r" defTabSz="914172" eaLnBrk="0" fontAlgn="base" hangingPunct="0">
              <a:spcBef>
                <a:spcPct val="0"/>
              </a:spcBef>
              <a:spcAft>
                <a:spcPct val="0"/>
              </a:spcAft>
            </a:pPr>
            <a:r>
              <a:rPr lang="en-US" altLang="en-US" b="1" spc="-75" dirty="0">
                <a:solidFill>
                  <a:schemeClr val="bg1"/>
                </a:solidFill>
                <a:latin typeface="Montserrat" panose="00000500000000000000" pitchFamily="50" charset="0"/>
              </a:rPr>
              <a:t>Marketing</a:t>
            </a:r>
          </a:p>
        </p:txBody>
      </p:sp>
      <p:sp>
        <p:nvSpPr>
          <p:cNvPr id="155" name="Rectangle 154">
            <a:extLst>
              <a:ext uri="{FF2B5EF4-FFF2-40B4-BE49-F238E27FC236}">
                <a16:creationId xmlns:a16="http://schemas.microsoft.com/office/drawing/2014/main" id="{CBFA2737-B11B-454E-A519-D55DE7792A80}"/>
              </a:ext>
            </a:extLst>
          </p:cNvPr>
          <p:cNvSpPr/>
          <p:nvPr/>
        </p:nvSpPr>
        <p:spPr>
          <a:xfrm>
            <a:off x="4555589" y="4571256"/>
            <a:ext cx="1512549" cy="202363"/>
          </a:xfrm>
          <a:prstGeom prst="rect">
            <a:avLst/>
          </a:prstGeom>
        </p:spPr>
        <p:txBody>
          <a:bodyPr wrap="square" lIns="0" tIns="0" rIns="0" bIns="0" anchor="b">
            <a:spAutoFit/>
          </a:bodyPr>
          <a:lstStyle/>
          <a:p>
            <a:pPr algn="r">
              <a:lnSpc>
                <a:spcPct val="120000"/>
              </a:lnSpc>
            </a:pPr>
            <a:r>
              <a:rPr lang="en-US" sz="1200" i="1" dirty="0">
                <a:solidFill>
                  <a:schemeClr val="bg1"/>
                </a:solidFill>
                <a:latin typeface="Montserrat" panose="00000500000000000000" pitchFamily="50" charset="0"/>
              </a:rPr>
              <a:t>What you love</a:t>
            </a:r>
          </a:p>
        </p:txBody>
      </p:sp>
      <p:sp>
        <p:nvSpPr>
          <p:cNvPr id="152" name="Rectangle 32">
            <a:extLst>
              <a:ext uri="{FF2B5EF4-FFF2-40B4-BE49-F238E27FC236}">
                <a16:creationId xmlns:a16="http://schemas.microsoft.com/office/drawing/2014/main" id="{66FE369B-309D-4020-8C45-34AA5D6BEB0B}"/>
              </a:ext>
            </a:extLst>
          </p:cNvPr>
          <p:cNvSpPr>
            <a:spLocks noChangeArrowheads="1"/>
          </p:cNvSpPr>
          <p:nvPr/>
        </p:nvSpPr>
        <p:spPr bwMode="auto">
          <a:xfrm>
            <a:off x="4892015" y="1999488"/>
            <a:ext cx="1176123"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algn="r" defTabSz="914172" eaLnBrk="0" fontAlgn="base" hangingPunct="0">
              <a:spcBef>
                <a:spcPct val="0"/>
              </a:spcBef>
              <a:spcAft>
                <a:spcPct val="0"/>
              </a:spcAft>
            </a:pPr>
            <a:r>
              <a:rPr lang="en-US" altLang="en-US" b="1" spc="-75" dirty="0">
                <a:solidFill>
                  <a:schemeClr val="bg1"/>
                </a:solidFill>
                <a:latin typeface="Montserrat" panose="00000500000000000000" pitchFamily="50" charset="0"/>
              </a:rPr>
              <a:t>Planning</a:t>
            </a:r>
          </a:p>
        </p:txBody>
      </p:sp>
      <p:sp>
        <p:nvSpPr>
          <p:cNvPr id="153" name="Rectangle 152">
            <a:extLst>
              <a:ext uri="{FF2B5EF4-FFF2-40B4-BE49-F238E27FC236}">
                <a16:creationId xmlns:a16="http://schemas.microsoft.com/office/drawing/2014/main" id="{2C21DFBB-A75E-47C5-A278-0C8CF9BA4432}"/>
              </a:ext>
            </a:extLst>
          </p:cNvPr>
          <p:cNvSpPr/>
          <p:nvPr/>
        </p:nvSpPr>
        <p:spPr>
          <a:xfrm>
            <a:off x="4892015" y="1773417"/>
            <a:ext cx="1176123" cy="202363"/>
          </a:xfrm>
          <a:prstGeom prst="rect">
            <a:avLst/>
          </a:prstGeom>
        </p:spPr>
        <p:txBody>
          <a:bodyPr wrap="square" lIns="0" tIns="0" rIns="0" bIns="0" anchor="b">
            <a:spAutoFit/>
          </a:bodyPr>
          <a:lstStyle/>
          <a:p>
            <a:pPr algn="r">
              <a:lnSpc>
                <a:spcPct val="120000"/>
              </a:lnSpc>
            </a:pPr>
            <a:r>
              <a:rPr lang="en-US" sz="1200" i="1" dirty="0">
                <a:solidFill>
                  <a:schemeClr val="bg1"/>
                </a:solidFill>
                <a:latin typeface="Montserrat" panose="00000500000000000000" pitchFamily="50" charset="0"/>
              </a:rPr>
              <a:t>What you love</a:t>
            </a:r>
          </a:p>
        </p:txBody>
      </p:sp>
      <p:sp>
        <p:nvSpPr>
          <p:cNvPr id="150" name="Rectangle 32">
            <a:extLst>
              <a:ext uri="{FF2B5EF4-FFF2-40B4-BE49-F238E27FC236}">
                <a16:creationId xmlns:a16="http://schemas.microsoft.com/office/drawing/2014/main" id="{5FEDFFDB-8981-4BC2-A47D-8B360B21B58E}"/>
              </a:ext>
            </a:extLst>
          </p:cNvPr>
          <p:cNvSpPr>
            <a:spLocks noChangeArrowheads="1"/>
          </p:cNvSpPr>
          <p:nvPr/>
        </p:nvSpPr>
        <p:spPr bwMode="auto">
          <a:xfrm>
            <a:off x="1533138" y="1999488"/>
            <a:ext cx="1320924" cy="276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defTabSz="914172" eaLnBrk="0" fontAlgn="base" hangingPunct="0">
              <a:spcBef>
                <a:spcPct val="0"/>
              </a:spcBef>
              <a:spcAft>
                <a:spcPct val="0"/>
              </a:spcAft>
            </a:pPr>
            <a:r>
              <a:rPr lang="en-US" altLang="en-US" b="1" spc="-75" dirty="0">
                <a:solidFill>
                  <a:schemeClr val="bg1"/>
                </a:solidFill>
                <a:latin typeface="Montserrat" panose="00000500000000000000" pitchFamily="50" charset="0"/>
              </a:rPr>
              <a:t>Successful</a:t>
            </a:r>
          </a:p>
        </p:txBody>
      </p:sp>
      <p:sp>
        <p:nvSpPr>
          <p:cNvPr id="151" name="Rectangle 150">
            <a:extLst>
              <a:ext uri="{FF2B5EF4-FFF2-40B4-BE49-F238E27FC236}">
                <a16:creationId xmlns:a16="http://schemas.microsoft.com/office/drawing/2014/main" id="{37BF8F2E-1A69-4CFA-8E5A-1BC9608E89E9}"/>
              </a:ext>
            </a:extLst>
          </p:cNvPr>
          <p:cNvSpPr/>
          <p:nvPr/>
        </p:nvSpPr>
        <p:spPr>
          <a:xfrm>
            <a:off x="1533138" y="1773417"/>
            <a:ext cx="1320924" cy="202363"/>
          </a:xfrm>
          <a:prstGeom prst="rect">
            <a:avLst/>
          </a:prstGeom>
        </p:spPr>
        <p:txBody>
          <a:bodyPr wrap="square" lIns="0" tIns="0" rIns="0" bIns="0" anchor="b">
            <a:spAutoFit/>
          </a:bodyPr>
          <a:lstStyle/>
          <a:p>
            <a:pPr>
              <a:lnSpc>
                <a:spcPct val="120000"/>
              </a:lnSpc>
            </a:pPr>
            <a:r>
              <a:rPr lang="en-US" sz="1200" i="1" dirty="0">
                <a:solidFill>
                  <a:schemeClr val="bg1"/>
                </a:solidFill>
                <a:latin typeface="Montserrat" panose="00000500000000000000" pitchFamily="50" charset="0"/>
              </a:rPr>
              <a:t>What you love</a:t>
            </a:r>
          </a:p>
        </p:txBody>
      </p:sp>
      <p:sp>
        <p:nvSpPr>
          <p:cNvPr id="158" name="TextBox 157">
            <a:extLst>
              <a:ext uri="{FF2B5EF4-FFF2-40B4-BE49-F238E27FC236}">
                <a16:creationId xmlns:a16="http://schemas.microsoft.com/office/drawing/2014/main" id="{BD1B83D3-5309-4D12-9AE9-242417F2F01C}"/>
              </a:ext>
            </a:extLst>
          </p:cNvPr>
          <p:cNvSpPr txBox="1">
            <a:spLocks noChangeAspect="1"/>
          </p:cNvSpPr>
          <p:nvPr/>
        </p:nvSpPr>
        <p:spPr>
          <a:xfrm>
            <a:off x="3378795" y="3003934"/>
            <a:ext cx="212071" cy="212071"/>
          </a:xfrm>
          <a:prstGeom prst="ellipse">
            <a:avLst/>
          </a:prstGeom>
          <a:noFill/>
          <a:ln w="9525">
            <a:noFill/>
            <a:prstDash val="dash"/>
          </a:ln>
          <a:effectLst/>
        </p:spPr>
        <p:txBody>
          <a:bodyPr wrap="none" lIns="0" tIns="0" rIns="0" bIns="0" rtlCol="0" anchor="ctr" anchorCtr="0">
            <a:noAutofit/>
          </a:bodyPr>
          <a:lstStyle/>
          <a:p>
            <a:pPr algn="ctr">
              <a:lnSpc>
                <a:spcPct val="110000"/>
              </a:lnSpc>
            </a:pPr>
            <a:r>
              <a:rPr lang="en-US" sz="1200" b="1" dirty="0">
                <a:solidFill>
                  <a:schemeClr val="tx1">
                    <a:lumMod val="10000"/>
                    <a:lumOff val="90000"/>
                  </a:schemeClr>
                </a:solidFill>
                <a:latin typeface="Montserrat" panose="00000500000000000000" pitchFamily="50" charset="0"/>
              </a:rPr>
              <a:t>01</a:t>
            </a:r>
            <a:endParaRPr lang="ru-RU" sz="1200" b="1" dirty="0">
              <a:solidFill>
                <a:schemeClr val="tx1">
                  <a:lumMod val="10000"/>
                  <a:lumOff val="90000"/>
                </a:schemeClr>
              </a:solidFill>
              <a:latin typeface="Montserrat" panose="00000500000000000000" pitchFamily="50" charset="0"/>
            </a:endParaRPr>
          </a:p>
        </p:txBody>
      </p:sp>
      <p:sp>
        <p:nvSpPr>
          <p:cNvPr id="159" name="TextBox 158">
            <a:extLst>
              <a:ext uri="{FF2B5EF4-FFF2-40B4-BE49-F238E27FC236}">
                <a16:creationId xmlns:a16="http://schemas.microsoft.com/office/drawing/2014/main" id="{AAA841F4-3240-477C-9936-F1E3125EB401}"/>
              </a:ext>
            </a:extLst>
          </p:cNvPr>
          <p:cNvSpPr txBox="1">
            <a:spLocks noChangeAspect="1"/>
          </p:cNvSpPr>
          <p:nvPr/>
        </p:nvSpPr>
        <p:spPr>
          <a:xfrm>
            <a:off x="4011537" y="3003934"/>
            <a:ext cx="212071" cy="212071"/>
          </a:xfrm>
          <a:prstGeom prst="ellipse">
            <a:avLst/>
          </a:prstGeom>
          <a:noFill/>
          <a:ln w="9525">
            <a:noFill/>
            <a:prstDash val="dash"/>
          </a:ln>
          <a:effectLst/>
        </p:spPr>
        <p:txBody>
          <a:bodyPr wrap="none" lIns="0" tIns="0" rIns="0" bIns="0" rtlCol="0" anchor="ctr" anchorCtr="0">
            <a:noAutofit/>
          </a:bodyPr>
          <a:lstStyle/>
          <a:p>
            <a:pPr algn="ctr">
              <a:lnSpc>
                <a:spcPct val="110000"/>
              </a:lnSpc>
            </a:pPr>
            <a:r>
              <a:rPr lang="en-US" sz="1200" b="1" dirty="0">
                <a:solidFill>
                  <a:schemeClr val="tx1">
                    <a:lumMod val="10000"/>
                    <a:lumOff val="90000"/>
                  </a:schemeClr>
                </a:solidFill>
                <a:latin typeface="Montserrat" panose="00000500000000000000" pitchFamily="50" charset="0"/>
              </a:rPr>
              <a:t>02</a:t>
            </a:r>
            <a:endParaRPr lang="ru-RU" sz="1200" b="1" dirty="0">
              <a:solidFill>
                <a:schemeClr val="tx1">
                  <a:lumMod val="10000"/>
                  <a:lumOff val="90000"/>
                </a:schemeClr>
              </a:solidFill>
              <a:latin typeface="Montserrat" panose="00000500000000000000" pitchFamily="50" charset="0"/>
            </a:endParaRPr>
          </a:p>
        </p:txBody>
      </p:sp>
      <p:sp>
        <p:nvSpPr>
          <p:cNvPr id="160" name="TextBox 159">
            <a:extLst>
              <a:ext uri="{FF2B5EF4-FFF2-40B4-BE49-F238E27FC236}">
                <a16:creationId xmlns:a16="http://schemas.microsoft.com/office/drawing/2014/main" id="{A3059704-EEF2-4D2A-8DDE-3136C272FC91}"/>
              </a:ext>
            </a:extLst>
          </p:cNvPr>
          <p:cNvSpPr txBox="1">
            <a:spLocks noChangeAspect="1"/>
          </p:cNvSpPr>
          <p:nvPr/>
        </p:nvSpPr>
        <p:spPr>
          <a:xfrm>
            <a:off x="4011537" y="3636273"/>
            <a:ext cx="212071" cy="212071"/>
          </a:xfrm>
          <a:prstGeom prst="ellipse">
            <a:avLst/>
          </a:prstGeom>
          <a:noFill/>
          <a:ln w="9525">
            <a:noFill/>
            <a:prstDash val="dash"/>
          </a:ln>
          <a:effectLst/>
        </p:spPr>
        <p:txBody>
          <a:bodyPr wrap="none" lIns="0" tIns="0" rIns="0" bIns="0" rtlCol="0" anchor="ctr" anchorCtr="0">
            <a:noAutofit/>
          </a:bodyPr>
          <a:lstStyle/>
          <a:p>
            <a:pPr algn="ctr">
              <a:lnSpc>
                <a:spcPct val="110000"/>
              </a:lnSpc>
            </a:pPr>
            <a:r>
              <a:rPr lang="en-US" sz="1200" b="1" dirty="0">
                <a:solidFill>
                  <a:schemeClr val="tx1">
                    <a:lumMod val="10000"/>
                    <a:lumOff val="90000"/>
                  </a:schemeClr>
                </a:solidFill>
                <a:latin typeface="Montserrat" panose="00000500000000000000" pitchFamily="50" charset="0"/>
              </a:rPr>
              <a:t>03</a:t>
            </a:r>
            <a:endParaRPr lang="ru-RU" sz="1200" b="1" dirty="0">
              <a:solidFill>
                <a:schemeClr val="tx1">
                  <a:lumMod val="10000"/>
                  <a:lumOff val="90000"/>
                </a:schemeClr>
              </a:solidFill>
              <a:latin typeface="Montserrat" panose="00000500000000000000" pitchFamily="50" charset="0"/>
            </a:endParaRPr>
          </a:p>
        </p:txBody>
      </p:sp>
      <p:sp>
        <p:nvSpPr>
          <p:cNvPr id="161" name="TextBox 160">
            <a:extLst>
              <a:ext uri="{FF2B5EF4-FFF2-40B4-BE49-F238E27FC236}">
                <a16:creationId xmlns:a16="http://schemas.microsoft.com/office/drawing/2014/main" id="{EBCD9ABC-04D4-49DF-8EDC-D882E7816B58}"/>
              </a:ext>
            </a:extLst>
          </p:cNvPr>
          <p:cNvSpPr txBox="1">
            <a:spLocks noChangeAspect="1"/>
          </p:cNvSpPr>
          <p:nvPr/>
        </p:nvSpPr>
        <p:spPr>
          <a:xfrm>
            <a:off x="3378795" y="3636273"/>
            <a:ext cx="212071" cy="212071"/>
          </a:xfrm>
          <a:prstGeom prst="ellipse">
            <a:avLst/>
          </a:prstGeom>
          <a:noFill/>
          <a:ln w="9525">
            <a:noFill/>
            <a:prstDash val="dash"/>
          </a:ln>
          <a:effectLst/>
        </p:spPr>
        <p:txBody>
          <a:bodyPr wrap="none" lIns="0" tIns="0" rIns="0" bIns="0" rtlCol="0" anchor="ctr" anchorCtr="0">
            <a:noAutofit/>
          </a:bodyPr>
          <a:lstStyle/>
          <a:p>
            <a:pPr algn="ctr">
              <a:lnSpc>
                <a:spcPct val="110000"/>
              </a:lnSpc>
            </a:pPr>
            <a:r>
              <a:rPr lang="en-US" sz="1200" b="1" dirty="0">
                <a:solidFill>
                  <a:schemeClr val="tx1">
                    <a:lumMod val="10000"/>
                    <a:lumOff val="90000"/>
                  </a:schemeClr>
                </a:solidFill>
                <a:latin typeface="Montserrat" panose="00000500000000000000" pitchFamily="50" charset="0"/>
              </a:rPr>
              <a:t>04</a:t>
            </a:r>
            <a:endParaRPr lang="ru-RU" sz="1200" b="1" dirty="0">
              <a:solidFill>
                <a:schemeClr val="tx1">
                  <a:lumMod val="10000"/>
                  <a:lumOff val="90000"/>
                </a:schemeClr>
              </a:solidFill>
              <a:latin typeface="Montserrat" panose="00000500000000000000" pitchFamily="50" charset="0"/>
            </a:endParaRPr>
          </a:p>
        </p:txBody>
      </p:sp>
      <p:grpSp>
        <p:nvGrpSpPr>
          <p:cNvPr id="47" name="Group 46">
            <a:extLst>
              <a:ext uri="{FF2B5EF4-FFF2-40B4-BE49-F238E27FC236}">
                <a16:creationId xmlns:a16="http://schemas.microsoft.com/office/drawing/2014/main" id="{9951BF15-1B7F-4752-910E-D00BC038B287}"/>
              </a:ext>
            </a:extLst>
          </p:cNvPr>
          <p:cNvGrpSpPr/>
          <p:nvPr/>
        </p:nvGrpSpPr>
        <p:grpSpPr>
          <a:xfrm>
            <a:off x="1118185" y="744304"/>
            <a:ext cx="5365564" cy="5369393"/>
            <a:chOff x="7024268" y="1064043"/>
            <a:chExt cx="5365564" cy="5369393"/>
          </a:xfrm>
          <a:noFill/>
        </p:grpSpPr>
        <p:sp>
          <p:nvSpPr>
            <p:cNvPr id="88" name="Freeform: Shape 87">
              <a:extLst>
                <a:ext uri="{FF2B5EF4-FFF2-40B4-BE49-F238E27FC236}">
                  <a16:creationId xmlns:a16="http://schemas.microsoft.com/office/drawing/2014/main" id="{6A2B8658-5A69-4EC8-9D97-3C87A9A0CAEE}"/>
                </a:ext>
              </a:extLst>
            </p:cNvPr>
            <p:cNvSpPr/>
            <p:nvPr/>
          </p:nvSpPr>
          <p:spPr>
            <a:xfrm>
              <a:off x="9030954" y="3074558"/>
              <a:ext cx="3358878" cy="3358878"/>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pFill/>
            <a:ln w="25400" cap="flat">
              <a:solidFill>
                <a:schemeClr val="bg1">
                  <a:alpha val="25000"/>
                </a:schemeClr>
              </a:solidFill>
              <a:prstDash val="solid"/>
              <a:round/>
            </a:ln>
          </p:spPr>
          <p:txBody>
            <a:bodyPr wrap="square" rtlCol="0" anchor="ctr">
              <a:noAutofit/>
            </a:bodyPr>
            <a:lstStyle/>
            <a:p>
              <a:endParaRPr lang="en-US"/>
            </a:p>
          </p:txBody>
        </p:sp>
        <p:sp>
          <p:nvSpPr>
            <p:cNvPr id="89" name="Freeform: Shape 88">
              <a:extLst>
                <a:ext uri="{FF2B5EF4-FFF2-40B4-BE49-F238E27FC236}">
                  <a16:creationId xmlns:a16="http://schemas.microsoft.com/office/drawing/2014/main" id="{74A8CFEB-C14A-4547-8334-6D17BCF8D098}"/>
                </a:ext>
              </a:extLst>
            </p:cNvPr>
            <p:cNvSpPr/>
            <p:nvPr/>
          </p:nvSpPr>
          <p:spPr>
            <a:xfrm>
              <a:off x="7024268" y="1064043"/>
              <a:ext cx="3358878" cy="3358878"/>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pFill/>
            <a:ln w="25400" cap="flat">
              <a:solidFill>
                <a:schemeClr val="bg1">
                  <a:alpha val="25000"/>
                </a:schemeClr>
              </a:solidFill>
              <a:prstDash val="solid"/>
              <a:round/>
            </a:ln>
          </p:spPr>
          <p:txBody>
            <a:bodyPr wrap="square" rtlCol="0" anchor="ctr">
              <a:noAutofit/>
            </a:bodyPr>
            <a:lstStyle/>
            <a:p>
              <a:endParaRPr lang="en-US"/>
            </a:p>
          </p:txBody>
        </p:sp>
        <p:sp>
          <p:nvSpPr>
            <p:cNvPr id="90" name="Freeform: Shape 89">
              <a:extLst>
                <a:ext uri="{FF2B5EF4-FFF2-40B4-BE49-F238E27FC236}">
                  <a16:creationId xmlns:a16="http://schemas.microsoft.com/office/drawing/2014/main" id="{6B863169-27EA-4BA3-BDB5-336F91FA2E28}"/>
                </a:ext>
              </a:extLst>
            </p:cNvPr>
            <p:cNvSpPr/>
            <p:nvPr/>
          </p:nvSpPr>
          <p:spPr>
            <a:xfrm>
              <a:off x="7024268" y="3074558"/>
              <a:ext cx="3358878" cy="3358878"/>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pFill/>
            <a:ln w="25400" cap="flat">
              <a:solidFill>
                <a:schemeClr val="bg1">
                  <a:alpha val="25000"/>
                </a:schemeClr>
              </a:solidFill>
              <a:prstDash val="solid"/>
              <a:round/>
            </a:ln>
          </p:spPr>
          <p:txBody>
            <a:bodyPr wrap="square" rtlCol="0" anchor="ctr">
              <a:noAutofit/>
            </a:bodyPr>
            <a:lstStyle/>
            <a:p>
              <a:endParaRPr lang="en-US"/>
            </a:p>
          </p:txBody>
        </p:sp>
        <p:sp>
          <p:nvSpPr>
            <p:cNvPr id="91" name="Freeform: Shape 90">
              <a:extLst>
                <a:ext uri="{FF2B5EF4-FFF2-40B4-BE49-F238E27FC236}">
                  <a16:creationId xmlns:a16="http://schemas.microsoft.com/office/drawing/2014/main" id="{C765AF0D-5601-4B3A-B34F-082EA77FDA15}"/>
                </a:ext>
              </a:extLst>
            </p:cNvPr>
            <p:cNvSpPr/>
            <p:nvPr/>
          </p:nvSpPr>
          <p:spPr>
            <a:xfrm>
              <a:off x="9030954" y="1064043"/>
              <a:ext cx="3358878" cy="3358878"/>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pFill/>
            <a:ln w="25400" cap="flat">
              <a:solidFill>
                <a:schemeClr val="bg1">
                  <a:alpha val="25000"/>
                </a:schemeClr>
              </a:solidFill>
              <a:prstDash val="solid"/>
              <a:round/>
            </a:ln>
          </p:spPr>
          <p:txBody>
            <a:bodyPr wrap="square" rtlCol="0" anchor="ctr">
              <a:noAutofit/>
            </a:bodyPr>
            <a:lstStyle/>
            <a:p>
              <a:endParaRPr lang="en-US"/>
            </a:p>
          </p:txBody>
        </p:sp>
      </p:grpSp>
      <p:sp>
        <p:nvSpPr>
          <p:cNvPr id="95" name="TextBox 94">
            <a:extLst>
              <a:ext uri="{FF2B5EF4-FFF2-40B4-BE49-F238E27FC236}">
                <a16:creationId xmlns:a16="http://schemas.microsoft.com/office/drawing/2014/main" id="{A2248415-F553-4FCA-94CC-EF733386F133}"/>
              </a:ext>
            </a:extLst>
          </p:cNvPr>
          <p:cNvSpPr txBox="1"/>
          <p:nvPr/>
        </p:nvSpPr>
        <p:spPr>
          <a:xfrm>
            <a:off x="7633451" y="1685776"/>
            <a:ext cx="1401346" cy="400110"/>
          </a:xfrm>
          <a:prstGeom prst="rect">
            <a:avLst/>
          </a:prstGeom>
          <a:noFill/>
        </p:spPr>
        <p:txBody>
          <a:bodyPr wrap="none" rtlCol="0">
            <a:spAutoFit/>
          </a:bodyPr>
          <a:lstStyle/>
          <a:p>
            <a:pPr defTabSz="457200"/>
            <a:r>
              <a:rPr lang="en-US" sz="2000" b="1" dirty="0">
                <a:latin typeface="Montserrat" panose="00000500000000000000" pitchFamily="50" charset="0"/>
              </a:rPr>
              <a:t>01</a:t>
            </a:r>
            <a:r>
              <a:rPr lang="en-US" sz="1300" b="1" dirty="0">
                <a:solidFill>
                  <a:schemeClr val="accent1"/>
                </a:solidFill>
                <a:latin typeface="Montserrat" panose="00000500000000000000" pitchFamily="50" charset="0"/>
              </a:rPr>
              <a:t>	OFFLINE</a:t>
            </a:r>
          </a:p>
        </p:txBody>
      </p:sp>
      <p:sp>
        <p:nvSpPr>
          <p:cNvPr id="96" name="TextBox 95">
            <a:extLst>
              <a:ext uri="{FF2B5EF4-FFF2-40B4-BE49-F238E27FC236}">
                <a16:creationId xmlns:a16="http://schemas.microsoft.com/office/drawing/2014/main" id="{BE7C7C14-F69C-4DF8-A83F-5AAA37770FF8}"/>
              </a:ext>
            </a:extLst>
          </p:cNvPr>
          <p:cNvSpPr txBox="1"/>
          <p:nvPr/>
        </p:nvSpPr>
        <p:spPr>
          <a:xfrm>
            <a:off x="8095848" y="2055159"/>
            <a:ext cx="2823126" cy="651460"/>
          </a:xfrm>
          <a:prstGeom prst="rect">
            <a:avLst/>
          </a:prstGeom>
          <a:noFill/>
        </p:spPr>
        <p:txBody>
          <a:bodyPr wrap="square" rtlCol="0">
            <a:spAutoFit/>
          </a:bodyPr>
          <a:lstStyle/>
          <a:p>
            <a:pPr>
              <a:lnSpc>
                <a:spcPts val="1500"/>
              </a:lnSpc>
            </a:pPr>
            <a:r>
              <a:rPr lang="en-US" sz="1000" dirty="0">
                <a:solidFill>
                  <a:schemeClr val="tx1">
                    <a:lumMod val="75000"/>
                    <a:lumOff val="25000"/>
                  </a:schemeClr>
                </a:solidFill>
                <a:latin typeface="Montserrat" panose="00000500000000000000" pitchFamily="50" charset="0"/>
              </a:rPr>
              <a:t>Lorem ipsum dolor sit </a:t>
            </a:r>
            <a:r>
              <a:rPr lang="en-US" sz="1000" dirty="0" err="1">
                <a:solidFill>
                  <a:schemeClr val="tx1">
                    <a:lumMod val="75000"/>
                    <a:lumOff val="25000"/>
                  </a:schemeClr>
                </a:solidFill>
                <a:latin typeface="Montserrat" panose="00000500000000000000" pitchFamily="50" charset="0"/>
              </a:rPr>
              <a:t>ame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consectetur</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adipiscing</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elit</a:t>
            </a:r>
            <a:r>
              <a:rPr lang="en-US" sz="1000" dirty="0">
                <a:solidFill>
                  <a:schemeClr val="tx1">
                    <a:lumMod val="75000"/>
                    <a:lumOff val="25000"/>
                  </a:schemeClr>
                </a:solidFill>
                <a:latin typeface="Montserrat" panose="00000500000000000000" pitchFamily="50" charset="0"/>
              </a:rPr>
              <a:t>, sed do </a:t>
            </a:r>
            <a:r>
              <a:rPr lang="en-US" sz="1000" dirty="0" err="1">
                <a:solidFill>
                  <a:schemeClr val="tx1">
                    <a:lumMod val="75000"/>
                    <a:lumOff val="25000"/>
                  </a:schemeClr>
                </a:solidFill>
                <a:latin typeface="Montserrat" panose="00000500000000000000" pitchFamily="50" charset="0"/>
              </a:rPr>
              <a:t>eiusmod</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tempor</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incididun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u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labore</a:t>
            </a:r>
            <a:r>
              <a:rPr lang="en-US" sz="1000" dirty="0">
                <a:solidFill>
                  <a:schemeClr val="tx1">
                    <a:lumMod val="75000"/>
                    <a:lumOff val="25000"/>
                  </a:schemeClr>
                </a:solidFill>
                <a:latin typeface="Montserrat" panose="00000500000000000000" pitchFamily="50" charset="0"/>
              </a:rPr>
              <a:t> et dolore magna</a:t>
            </a:r>
          </a:p>
        </p:txBody>
      </p:sp>
      <p:sp>
        <p:nvSpPr>
          <p:cNvPr id="98" name="TextBox 97">
            <a:extLst>
              <a:ext uri="{FF2B5EF4-FFF2-40B4-BE49-F238E27FC236}">
                <a16:creationId xmlns:a16="http://schemas.microsoft.com/office/drawing/2014/main" id="{9CE1DBF3-D8A4-4885-A99C-41AE9E0DCD45}"/>
              </a:ext>
            </a:extLst>
          </p:cNvPr>
          <p:cNvSpPr txBox="1"/>
          <p:nvPr/>
        </p:nvSpPr>
        <p:spPr>
          <a:xfrm>
            <a:off x="7633451" y="2915989"/>
            <a:ext cx="1297150" cy="400110"/>
          </a:xfrm>
          <a:prstGeom prst="rect">
            <a:avLst/>
          </a:prstGeom>
          <a:noFill/>
        </p:spPr>
        <p:txBody>
          <a:bodyPr wrap="none" rtlCol="0">
            <a:spAutoFit/>
          </a:bodyPr>
          <a:lstStyle/>
          <a:p>
            <a:pPr defTabSz="457200"/>
            <a:r>
              <a:rPr lang="en-US" sz="2000" b="1" dirty="0">
                <a:latin typeface="Montserrat" panose="00000500000000000000" pitchFamily="50" charset="0"/>
              </a:rPr>
              <a:t>02</a:t>
            </a:r>
            <a:r>
              <a:rPr lang="en-US" sz="1300" b="1" dirty="0">
                <a:solidFill>
                  <a:schemeClr val="accent1"/>
                </a:solidFill>
                <a:latin typeface="Montserrat" panose="00000500000000000000" pitchFamily="50" charset="0"/>
              </a:rPr>
              <a:t>	BRAND</a:t>
            </a:r>
          </a:p>
        </p:txBody>
      </p:sp>
      <p:sp>
        <p:nvSpPr>
          <p:cNvPr id="99" name="TextBox 98">
            <a:extLst>
              <a:ext uri="{FF2B5EF4-FFF2-40B4-BE49-F238E27FC236}">
                <a16:creationId xmlns:a16="http://schemas.microsoft.com/office/drawing/2014/main" id="{D250929C-2283-4B04-9BBE-F81CDC7BE19E}"/>
              </a:ext>
            </a:extLst>
          </p:cNvPr>
          <p:cNvSpPr txBox="1"/>
          <p:nvPr/>
        </p:nvSpPr>
        <p:spPr>
          <a:xfrm>
            <a:off x="8095848" y="3285372"/>
            <a:ext cx="2823126" cy="651460"/>
          </a:xfrm>
          <a:prstGeom prst="rect">
            <a:avLst/>
          </a:prstGeom>
          <a:noFill/>
        </p:spPr>
        <p:txBody>
          <a:bodyPr wrap="square" rtlCol="0">
            <a:spAutoFit/>
          </a:bodyPr>
          <a:lstStyle/>
          <a:p>
            <a:pPr>
              <a:lnSpc>
                <a:spcPts val="1500"/>
              </a:lnSpc>
            </a:pPr>
            <a:r>
              <a:rPr lang="en-US" sz="1000" dirty="0">
                <a:solidFill>
                  <a:schemeClr val="tx1">
                    <a:lumMod val="75000"/>
                    <a:lumOff val="25000"/>
                  </a:schemeClr>
                </a:solidFill>
                <a:latin typeface="Montserrat" panose="00000500000000000000" pitchFamily="50" charset="0"/>
              </a:rPr>
              <a:t>Lorem ipsum dolor sit </a:t>
            </a:r>
            <a:r>
              <a:rPr lang="en-US" sz="1000" dirty="0" err="1">
                <a:solidFill>
                  <a:schemeClr val="tx1">
                    <a:lumMod val="75000"/>
                    <a:lumOff val="25000"/>
                  </a:schemeClr>
                </a:solidFill>
                <a:latin typeface="Montserrat" panose="00000500000000000000" pitchFamily="50" charset="0"/>
              </a:rPr>
              <a:t>ame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consectetur</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adipiscing</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elit</a:t>
            </a:r>
            <a:r>
              <a:rPr lang="en-US" sz="1000" dirty="0">
                <a:solidFill>
                  <a:schemeClr val="tx1">
                    <a:lumMod val="75000"/>
                    <a:lumOff val="25000"/>
                  </a:schemeClr>
                </a:solidFill>
                <a:latin typeface="Montserrat" panose="00000500000000000000" pitchFamily="50" charset="0"/>
              </a:rPr>
              <a:t>, sed do </a:t>
            </a:r>
            <a:r>
              <a:rPr lang="en-US" sz="1000" dirty="0" err="1">
                <a:solidFill>
                  <a:schemeClr val="tx1">
                    <a:lumMod val="75000"/>
                    <a:lumOff val="25000"/>
                  </a:schemeClr>
                </a:solidFill>
                <a:latin typeface="Montserrat" panose="00000500000000000000" pitchFamily="50" charset="0"/>
              </a:rPr>
              <a:t>eiusmod</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tempor</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incididun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u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labore</a:t>
            </a:r>
            <a:r>
              <a:rPr lang="en-US" sz="1000" dirty="0">
                <a:solidFill>
                  <a:schemeClr val="tx1">
                    <a:lumMod val="75000"/>
                    <a:lumOff val="25000"/>
                  </a:schemeClr>
                </a:solidFill>
                <a:latin typeface="Montserrat" panose="00000500000000000000" pitchFamily="50" charset="0"/>
              </a:rPr>
              <a:t> et dolore magna</a:t>
            </a:r>
          </a:p>
        </p:txBody>
      </p:sp>
      <p:sp>
        <p:nvSpPr>
          <p:cNvPr id="101" name="TextBox 100">
            <a:extLst>
              <a:ext uri="{FF2B5EF4-FFF2-40B4-BE49-F238E27FC236}">
                <a16:creationId xmlns:a16="http://schemas.microsoft.com/office/drawing/2014/main" id="{7C503F34-AF3B-49AF-9F60-D684E34F6BF6}"/>
              </a:ext>
            </a:extLst>
          </p:cNvPr>
          <p:cNvSpPr txBox="1"/>
          <p:nvPr/>
        </p:nvSpPr>
        <p:spPr>
          <a:xfrm>
            <a:off x="7633451" y="4146202"/>
            <a:ext cx="1324402" cy="400110"/>
          </a:xfrm>
          <a:prstGeom prst="rect">
            <a:avLst/>
          </a:prstGeom>
          <a:noFill/>
        </p:spPr>
        <p:txBody>
          <a:bodyPr wrap="none" rtlCol="0">
            <a:spAutoFit/>
          </a:bodyPr>
          <a:lstStyle/>
          <a:p>
            <a:pPr defTabSz="457200"/>
            <a:r>
              <a:rPr lang="en-US" sz="2000" b="1" dirty="0">
                <a:latin typeface="Montserrat" panose="00000500000000000000" pitchFamily="50" charset="0"/>
              </a:rPr>
              <a:t>03</a:t>
            </a:r>
            <a:r>
              <a:rPr lang="en-US" sz="1300" b="1" dirty="0">
                <a:solidFill>
                  <a:schemeClr val="accent1"/>
                </a:solidFill>
                <a:latin typeface="Montserrat" panose="00000500000000000000" pitchFamily="50" charset="0"/>
              </a:rPr>
              <a:t>	ONLINE</a:t>
            </a:r>
          </a:p>
        </p:txBody>
      </p:sp>
      <p:sp>
        <p:nvSpPr>
          <p:cNvPr id="102" name="TextBox 101">
            <a:extLst>
              <a:ext uri="{FF2B5EF4-FFF2-40B4-BE49-F238E27FC236}">
                <a16:creationId xmlns:a16="http://schemas.microsoft.com/office/drawing/2014/main" id="{ABB37E82-4703-42EC-BD43-88275A829C8F}"/>
              </a:ext>
            </a:extLst>
          </p:cNvPr>
          <p:cNvSpPr txBox="1"/>
          <p:nvPr/>
        </p:nvSpPr>
        <p:spPr>
          <a:xfrm>
            <a:off x="8095848" y="4515585"/>
            <a:ext cx="2823126" cy="651460"/>
          </a:xfrm>
          <a:prstGeom prst="rect">
            <a:avLst/>
          </a:prstGeom>
          <a:noFill/>
        </p:spPr>
        <p:txBody>
          <a:bodyPr wrap="square" rtlCol="0">
            <a:spAutoFit/>
          </a:bodyPr>
          <a:lstStyle/>
          <a:p>
            <a:pPr>
              <a:lnSpc>
                <a:spcPts val="1500"/>
              </a:lnSpc>
            </a:pPr>
            <a:r>
              <a:rPr lang="en-US" sz="1000" dirty="0">
                <a:solidFill>
                  <a:schemeClr val="tx1">
                    <a:lumMod val="75000"/>
                    <a:lumOff val="25000"/>
                  </a:schemeClr>
                </a:solidFill>
                <a:latin typeface="Montserrat" panose="00000500000000000000" pitchFamily="50" charset="0"/>
              </a:rPr>
              <a:t>Lorem ipsum dolor sit </a:t>
            </a:r>
            <a:r>
              <a:rPr lang="en-US" sz="1000" dirty="0" err="1">
                <a:solidFill>
                  <a:schemeClr val="tx1">
                    <a:lumMod val="75000"/>
                    <a:lumOff val="25000"/>
                  </a:schemeClr>
                </a:solidFill>
                <a:latin typeface="Montserrat" panose="00000500000000000000" pitchFamily="50" charset="0"/>
              </a:rPr>
              <a:t>ame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consectetur</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adipiscing</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elit</a:t>
            </a:r>
            <a:r>
              <a:rPr lang="en-US" sz="1000" dirty="0">
                <a:solidFill>
                  <a:schemeClr val="tx1">
                    <a:lumMod val="75000"/>
                    <a:lumOff val="25000"/>
                  </a:schemeClr>
                </a:solidFill>
                <a:latin typeface="Montserrat" panose="00000500000000000000" pitchFamily="50" charset="0"/>
              </a:rPr>
              <a:t>, sed do </a:t>
            </a:r>
            <a:r>
              <a:rPr lang="en-US" sz="1000" dirty="0" err="1">
                <a:solidFill>
                  <a:schemeClr val="tx1">
                    <a:lumMod val="75000"/>
                    <a:lumOff val="25000"/>
                  </a:schemeClr>
                </a:solidFill>
                <a:latin typeface="Montserrat" panose="00000500000000000000" pitchFamily="50" charset="0"/>
              </a:rPr>
              <a:t>eiusmod</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tempor</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incididun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u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labore</a:t>
            </a:r>
            <a:r>
              <a:rPr lang="en-US" sz="1000" dirty="0">
                <a:solidFill>
                  <a:schemeClr val="tx1">
                    <a:lumMod val="75000"/>
                    <a:lumOff val="25000"/>
                  </a:schemeClr>
                </a:solidFill>
                <a:latin typeface="Montserrat" panose="00000500000000000000" pitchFamily="50" charset="0"/>
              </a:rPr>
              <a:t> et dolore magna</a:t>
            </a:r>
          </a:p>
        </p:txBody>
      </p:sp>
      <p:sp>
        <p:nvSpPr>
          <p:cNvPr id="104" name="TextBox 103">
            <a:extLst>
              <a:ext uri="{FF2B5EF4-FFF2-40B4-BE49-F238E27FC236}">
                <a16:creationId xmlns:a16="http://schemas.microsoft.com/office/drawing/2014/main" id="{9E826B20-87A9-4D29-B8CC-465E77504905}"/>
              </a:ext>
            </a:extLst>
          </p:cNvPr>
          <p:cNvSpPr txBox="1"/>
          <p:nvPr/>
        </p:nvSpPr>
        <p:spPr>
          <a:xfrm>
            <a:off x="7633451" y="5376415"/>
            <a:ext cx="1199367" cy="400110"/>
          </a:xfrm>
          <a:prstGeom prst="rect">
            <a:avLst/>
          </a:prstGeom>
          <a:noFill/>
        </p:spPr>
        <p:txBody>
          <a:bodyPr wrap="none" rtlCol="0">
            <a:spAutoFit/>
          </a:bodyPr>
          <a:lstStyle/>
          <a:p>
            <a:pPr defTabSz="457200"/>
            <a:r>
              <a:rPr lang="en-US" sz="2000" b="1" dirty="0">
                <a:latin typeface="Montserrat" panose="00000500000000000000" pitchFamily="50" charset="0"/>
              </a:rPr>
              <a:t>04</a:t>
            </a:r>
            <a:r>
              <a:rPr lang="en-US" sz="1300" b="1" dirty="0">
                <a:solidFill>
                  <a:schemeClr val="accent1"/>
                </a:solidFill>
                <a:latin typeface="Montserrat" panose="00000500000000000000" pitchFamily="50" charset="0"/>
              </a:rPr>
              <a:t>	SALES</a:t>
            </a:r>
          </a:p>
        </p:txBody>
      </p:sp>
      <p:sp>
        <p:nvSpPr>
          <p:cNvPr id="105" name="TextBox 104">
            <a:extLst>
              <a:ext uri="{FF2B5EF4-FFF2-40B4-BE49-F238E27FC236}">
                <a16:creationId xmlns:a16="http://schemas.microsoft.com/office/drawing/2014/main" id="{75407E4A-6834-4BCE-A6AC-3164495283EB}"/>
              </a:ext>
            </a:extLst>
          </p:cNvPr>
          <p:cNvSpPr txBox="1"/>
          <p:nvPr/>
        </p:nvSpPr>
        <p:spPr>
          <a:xfrm>
            <a:off x="8095848" y="5745798"/>
            <a:ext cx="2823126" cy="651460"/>
          </a:xfrm>
          <a:prstGeom prst="rect">
            <a:avLst/>
          </a:prstGeom>
          <a:noFill/>
        </p:spPr>
        <p:txBody>
          <a:bodyPr wrap="square" rtlCol="0">
            <a:spAutoFit/>
          </a:bodyPr>
          <a:lstStyle/>
          <a:p>
            <a:pPr>
              <a:lnSpc>
                <a:spcPts val="1500"/>
              </a:lnSpc>
            </a:pPr>
            <a:r>
              <a:rPr lang="en-US" sz="1000" dirty="0">
                <a:solidFill>
                  <a:schemeClr val="tx1">
                    <a:lumMod val="75000"/>
                    <a:lumOff val="25000"/>
                  </a:schemeClr>
                </a:solidFill>
                <a:latin typeface="Montserrat" panose="00000500000000000000" pitchFamily="50" charset="0"/>
              </a:rPr>
              <a:t>Lorem ipsum dolor sit </a:t>
            </a:r>
            <a:r>
              <a:rPr lang="en-US" sz="1000" dirty="0" err="1">
                <a:solidFill>
                  <a:schemeClr val="tx1">
                    <a:lumMod val="75000"/>
                    <a:lumOff val="25000"/>
                  </a:schemeClr>
                </a:solidFill>
                <a:latin typeface="Montserrat" panose="00000500000000000000" pitchFamily="50" charset="0"/>
              </a:rPr>
              <a:t>ame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consectetur</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adipiscing</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elit</a:t>
            </a:r>
            <a:r>
              <a:rPr lang="en-US" sz="1000" dirty="0">
                <a:solidFill>
                  <a:schemeClr val="tx1">
                    <a:lumMod val="75000"/>
                    <a:lumOff val="25000"/>
                  </a:schemeClr>
                </a:solidFill>
                <a:latin typeface="Montserrat" panose="00000500000000000000" pitchFamily="50" charset="0"/>
              </a:rPr>
              <a:t>, sed do </a:t>
            </a:r>
            <a:r>
              <a:rPr lang="en-US" sz="1000" dirty="0" err="1">
                <a:solidFill>
                  <a:schemeClr val="tx1">
                    <a:lumMod val="75000"/>
                    <a:lumOff val="25000"/>
                  </a:schemeClr>
                </a:solidFill>
                <a:latin typeface="Montserrat" panose="00000500000000000000" pitchFamily="50" charset="0"/>
              </a:rPr>
              <a:t>eiusmod</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tempor</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incididun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u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labore</a:t>
            </a:r>
            <a:r>
              <a:rPr lang="en-US" sz="1000" dirty="0">
                <a:solidFill>
                  <a:schemeClr val="tx1">
                    <a:lumMod val="75000"/>
                    <a:lumOff val="25000"/>
                  </a:schemeClr>
                </a:solidFill>
                <a:latin typeface="Montserrat" panose="00000500000000000000" pitchFamily="50" charset="0"/>
              </a:rPr>
              <a:t> et dolore magna</a:t>
            </a:r>
          </a:p>
        </p:txBody>
      </p:sp>
      <p:sp>
        <p:nvSpPr>
          <p:cNvPr id="106" name="TextBox 105">
            <a:extLst>
              <a:ext uri="{FF2B5EF4-FFF2-40B4-BE49-F238E27FC236}">
                <a16:creationId xmlns:a16="http://schemas.microsoft.com/office/drawing/2014/main" id="{C5B66D96-E828-4C46-8ABD-00BCC26A9DF4}"/>
              </a:ext>
            </a:extLst>
          </p:cNvPr>
          <p:cNvSpPr txBox="1"/>
          <p:nvPr/>
        </p:nvSpPr>
        <p:spPr>
          <a:xfrm>
            <a:off x="7633451" y="460743"/>
            <a:ext cx="3440365" cy="1015663"/>
          </a:xfrm>
          <a:prstGeom prst="rect">
            <a:avLst/>
          </a:prstGeom>
          <a:noFill/>
        </p:spPr>
        <p:txBody>
          <a:bodyPr wrap="none" rtlCol="0">
            <a:spAutoFit/>
          </a:bodyPr>
          <a:lstStyle/>
          <a:p>
            <a:r>
              <a:rPr lang="en-US" sz="3000" b="1" dirty="0">
                <a:solidFill>
                  <a:schemeClr val="tx2">
                    <a:lumMod val="40000"/>
                    <a:lumOff val="60000"/>
                  </a:schemeClr>
                </a:solidFill>
                <a:latin typeface="Montserrat" panose="00000500000000000000" pitchFamily="50" charset="0"/>
              </a:rPr>
              <a:t>VENN DIAGRAM</a:t>
            </a:r>
          </a:p>
          <a:p>
            <a:r>
              <a:rPr lang="en-US" sz="3000" b="1" dirty="0">
                <a:solidFill>
                  <a:schemeClr val="tx2">
                    <a:lumMod val="40000"/>
                    <a:lumOff val="60000"/>
                  </a:schemeClr>
                </a:solidFill>
                <a:latin typeface="Montserrat" panose="00000500000000000000" pitchFamily="50" charset="0"/>
              </a:rPr>
              <a:t>(4-CIRCLE)</a:t>
            </a:r>
          </a:p>
        </p:txBody>
      </p:sp>
    </p:spTree>
    <p:extLst>
      <p:ext uri="{BB962C8B-B14F-4D97-AF65-F5344CB8AC3E}">
        <p14:creationId xmlns:p14="http://schemas.microsoft.com/office/powerpoint/2010/main" val="1793085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29"/>
                                        </p:tgtEl>
                                        <p:attrNameLst>
                                          <p:attrName>style.visibility</p:attrName>
                                        </p:attrNameLst>
                                      </p:cBhvr>
                                      <p:to>
                                        <p:strVal val="visible"/>
                                      </p:to>
                                    </p:set>
                                    <p:anim calcmode="lin" valueType="num">
                                      <p:cBhvr>
                                        <p:cTn id="7" dur="2000" fill="hold"/>
                                        <p:tgtEl>
                                          <p:spTgt spid="129"/>
                                        </p:tgtEl>
                                        <p:attrNameLst>
                                          <p:attrName>ppt_w</p:attrName>
                                        </p:attrNameLst>
                                      </p:cBhvr>
                                      <p:tavLst>
                                        <p:tav tm="0">
                                          <p:val>
                                            <p:fltVal val="0"/>
                                          </p:val>
                                        </p:tav>
                                        <p:tav tm="100000">
                                          <p:val>
                                            <p:strVal val="#ppt_w"/>
                                          </p:val>
                                        </p:tav>
                                      </p:tavLst>
                                    </p:anim>
                                    <p:anim calcmode="lin" valueType="num">
                                      <p:cBhvr>
                                        <p:cTn id="8" dur="2000" fill="hold"/>
                                        <p:tgtEl>
                                          <p:spTgt spid="129"/>
                                        </p:tgtEl>
                                        <p:attrNameLst>
                                          <p:attrName>ppt_h</p:attrName>
                                        </p:attrNameLst>
                                      </p:cBhvr>
                                      <p:tavLst>
                                        <p:tav tm="0">
                                          <p:val>
                                            <p:fltVal val="0"/>
                                          </p:val>
                                        </p:tav>
                                        <p:tav tm="100000">
                                          <p:val>
                                            <p:strVal val="#ppt_h"/>
                                          </p:val>
                                        </p:tav>
                                      </p:tavLst>
                                    </p:anim>
                                    <p:animEffect transition="in" filter="fade">
                                      <p:cBhvr>
                                        <p:cTn id="9" dur="2000"/>
                                        <p:tgtEl>
                                          <p:spTgt spid="129"/>
                                        </p:tgtEl>
                                      </p:cBhvr>
                                    </p:animEffect>
                                  </p:childTnLst>
                                </p:cTn>
                              </p:par>
                              <p:par>
                                <p:cTn id="10" presetID="42" presetClass="path" presetSubtype="0" accel="50000" decel="50000" fill="hold" grpId="1" nodeType="withEffect">
                                  <p:stCondLst>
                                    <p:cond delay="0"/>
                                  </p:stCondLst>
                                  <p:childTnLst>
                                    <p:animMotion origin="layout" path="M -0.08255 0.14653 L -8.33333E-7 1.11111E-6 " pathEditMode="relative" rAng="0" ptsTypes="AA">
                                      <p:cBhvr>
                                        <p:cTn id="11" dur="2000" fill="hold"/>
                                        <p:tgtEl>
                                          <p:spTgt spid="129"/>
                                        </p:tgtEl>
                                        <p:attrNameLst>
                                          <p:attrName>ppt_x</p:attrName>
                                          <p:attrName>ppt_y</p:attrName>
                                        </p:attrNameLst>
                                      </p:cBhvr>
                                      <p:rCtr x="4141" y="-7431"/>
                                    </p:animMotion>
                                  </p:childTnLst>
                                </p:cTn>
                              </p:par>
                              <p:par>
                                <p:cTn id="12" presetID="53" presetClass="entr" presetSubtype="16" fill="hold" grpId="0" nodeType="withEffect">
                                  <p:stCondLst>
                                    <p:cond delay="0"/>
                                  </p:stCondLst>
                                  <p:childTnLst>
                                    <p:set>
                                      <p:cBhvr>
                                        <p:cTn id="13" dur="1" fill="hold">
                                          <p:stCondLst>
                                            <p:cond delay="0"/>
                                          </p:stCondLst>
                                        </p:cTn>
                                        <p:tgtEl>
                                          <p:spTgt spid="130"/>
                                        </p:tgtEl>
                                        <p:attrNameLst>
                                          <p:attrName>style.visibility</p:attrName>
                                        </p:attrNameLst>
                                      </p:cBhvr>
                                      <p:to>
                                        <p:strVal val="visible"/>
                                      </p:to>
                                    </p:set>
                                    <p:anim calcmode="lin" valueType="num">
                                      <p:cBhvr>
                                        <p:cTn id="14" dur="2000" fill="hold"/>
                                        <p:tgtEl>
                                          <p:spTgt spid="130"/>
                                        </p:tgtEl>
                                        <p:attrNameLst>
                                          <p:attrName>ppt_w</p:attrName>
                                        </p:attrNameLst>
                                      </p:cBhvr>
                                      <p:tavLst>
                                        <p:tav tm="0">
                                          <p:val>
                                            <p:fltVal val="0"/>
                                          </p:val>
                                        </p:tav>
                                        <p:tav tm="100000">
                                          <p:val>
                                            <p:strVal val="#ppt_w"/>
                                          </p:val>
                                        </p:tav>
                                      </p:tavLst>
                                    </p:anim>
                                    <p:anim calcmode="lin" valueType="num">
                                      <p:cBhvr>
                                        <p:cTn id="15" dur="2000" fill="hold"/>
                                        <p:tgtEl>
                                          <p:spTgt spid="130"/>
                                        </p:tgtEl>
                                        <p:attrNameLst>
                                          <p:attrName>ppt_h</p:attrName>
                                        </p:attrNameLst>
                                      </p:cBhvr>
                                      <p:tavLst>
                                        <p:tav tm="0">
                                          <p:val>
                                            <p:fltVal val="0"/>
                                          </p:val>
                                        </p:tav>
                                        <p:tav tm="100000">
                                          <p:val>
                                            <p:strVal val="#ppt_h"/>
                                          </p:val>
                                        </p:tav>
                                      </p:tavLst>
                                    </p:anim>
                                    <p:animEffect transition="in" filter="fade">
                                      <p:cBhvr>
                                        <p:cTn id="16" dur="2000"/>
                                        <p:tgtEl>
                                          <p:spTgt spid="130"/>
                                        </p:tgtEl>
                                      </p:cBhvr>
                                    </p:animEffect>
                                  </p:childTnLst>
                                </p:cTn>
                              </p:par>
                              <p:par>
                                <p:cTn id="17" presetID="42" presetClass="path" presetSubtype="0" accel="50000" decel="50000" fill="hold" grpId="1" nodeType="withEffect">
                                  <p:stCondLst>
                                    <p:cond delay="0"/>
                                  </p:stCondLst>
                                  <p:childTnLst>
                                    <p:animMotion origin="layout" path="M -0.08255 -0.14653 L -4.16667E-7 2.22222E-6 " pathEditMode="relative" rAng="0" ptsTypes="AA">
                                      <p:cBhvr>
                                        <p:cTn id="18" dur="2000" fill="hold"/>
                                        <p:tgtEl>
                                          <p:spTgt spid="130"/>
                                        </p:tgtEl>
                                        <p:attrNameLst>
                                          <p:attrName>ppt_x</p:attrName>
                                          <p:attrName>ppt_y</p:attrName>
                                        </p:attrNameLst>
                                      </p:cBhvr>
                                      <p:rCtr x="4128" y="7315"/>
                                    </p:animMotion>
                                  </p:childTnLst>
                                </p:cTn>
                              </p:par>
                              <p:par>
                                <p:cTn id="19" presetID="53" presetClass="entr" presetSubtype="16" fill="hold" grpId="0" nodeType="withEffect">
                                  <p:stCondLst>
                                    <p:cond delay="0"/>
                                  </p:stCondLst>
                                  <p:childTnLst>
                                    <p:set>
                                      <p:cBhvr>
                                        <p:cTn id="20" dur="1" fill="hold">
                                          <p:stCondLst>
                                            <p:cond delay="0"/>
                                          </p:stCondLst>
                                        </p:cTn>
                                        <p:tgtEl>
                                          <p:spTgt spid="127"/>
                                        </p:tgtEl>
                                        <p:attrNameLst>
                                          <p:attrName>style.visibility</p:attrName>
                                        </p:attrNameLst>
                                      </p:cBhvr>
                                      <p:to>
                                        <p:strVal val="visible"/>
                                      </p:to>
                                    </p:set>
                                    <p:anim calcmode="lin" valueType="num">
                                      <p:cBhvr>
                                        <p:cTn id="21" dur="2000" fill="hold"/>
                                        <p:tgtEl>
                                          <p:spTgt spid="127"/>
                                        </p:tgtEl>
                                        <p:attrNameLst>
                                          <p:attrName>ppt_w</p:attrName>
                                        </p:attrNameLst>
                                      </p:cBhvr>
                                      <p:tavLst>
                                        <p:tav tm="0">
                                          <p:val>
                                            <p:fltVal val="0"/>
                                          </p:val>
                                        </p:tav>
                                        <p:tav tm="100000">
                                          <p:val>
                                            <p:strVal val="#ppt_w"/>
                                          </p:val>
                                        </p:tav>
                                      </p:tavLst>
                                    </p:anim>
                                    <p:anim calcmode="lin" valueType="num">
                                      <p:cBhvr>
                                        <p:cTn id="22" dur="2000" fill="hold"/>
                                        <p:tgtEl>
                                          <p:spTgt spid="127"/>
                                        </p:tgtEl>
                                        <p:attrNameLst>
                                          <p:attrName>ppt_h</p:attrName>
                                        </p:attrNameLst>
                                      </p:cBhvr>
                                      <p:tavLst>
                                        <p:tav tm="0">
                                          <p:val>
                                            <p:fltVal val="0"/>
                                          </p:val>
                                        </p:tav>
                                        <p:tav tm="100000">
                                          <p:val>
                                            <p:strVal val="#ppt_h"/>
                                          </p:val>
                                        </p:tav>
                                      </p:tavLst>
                                    </p:anim>
                                    <p:animEffect transition="in" filter="fade">
                                      <p:cBhvr>
                                        <p:cTn id="23" dur="2000"/>
                                        <p:tgtEl>
                                          <p:spTgt spid="127"/>
                                        </p:tgtEl>
                                      </p:cBhvr>
                                    </p:animEffect>
                                  </p:childTnLst>
                                </p:cTn>
                              </p:par>
                              <p:par>
                                <p:cTn id="24" presetID="42" presetClass="path" presetSubtype="0" accel="50000" decel="50000" fill="hold" grpId="1" nodeType="withEffect">
                                  <p:stCondLst>
                                    <p:cond delay="0"/>
                                  </p:stCondLst>
                                  <p:childTnLst>
                                    <p:animMotion origin="layout" path="M -1.04167E-6 2.22222E-6 L 0.08255 0.14653 " pathEditMode="relative" rAng="0" ptsTypes="AA">
                                      <p:cBhvr>
                                        <p:cTn id="25" dur="2000" spd="-100000" fill="hold"/>
                                        <p:tgtEl>
                                          <p:spTgt spid="127"/>
                                        </p:tgtEl>
                                        <p:attrNameLst>
                                          <p:attrName>ppt_x</p:attrName>
                                          <p:attrName>ppt_y</p:attrName>
                                        </p:attrNameLst>
                                      </p:cBhvr>
                                      <p:rCtr x="4128" y="7315"/>
                                    </p:animMotion>
                                  </p:childTnLst>
                                </p:cTn>
                              </p:par>
                              <p:par>
                                <p:cTn id="26" presetID="53" presetClass="entr" presetSubtype="16" fill="hold" grpId="0" nodeType="withEffect">
                                  <p:stCondLst>
                                    <p:cond delay="0"/>
                                  </p:stCondLst>
                                  <p:childTnLst>
                                    <p:set>
                                      <p:cBhvr>
                                        <p:cTn id="27" dur="1" fill="hold">
                                          <p:stCondLst>
                                            <p:cond delay="0"/>
                                          </p:stCondLst>
                                        </p:cTn>
                                        <p:tgtEl>
                                          <p:spTgt spid="128"/>
                                        </p:tgtEl>
                                        <p:attrNameLst>
                                          <p:attrName>style.visibility</p:attrName>
                                        </p:attrNameLst>
                                      </p:cBhvr>
                                      <p:to>
                                        <p:strVal val="visible"/>
                                      </p:to>
                                    </p:set>
                                    <p:anim calcmode="lin" valueType="num">
                                      <p:cBhvr>
                                        <p:cTn id="28" dur="2000" fill="hold"/>
                                        <p:tgtEl>
                                          <p:spTgt spid="128"/>
                                        </p:tgtEl>
                                        <p:attrNameLst>
                                          <p:attrName>ppt_w</p:attrName>
                                        </p:attrNameLst>
                                      </p:cBhvr>
                                      <p:tavLst>
                                        <p:tav tm="0">
                                          <p:val>
                                            <p:fltVal val="0"/>
                                          </p:val>
                                        </p:tav>
                                        <p:tav tm="100000">
                                          <p:val>
                                            <p:strVal val="#ppt_w"/>
                                          </p:val>
                                        </p:tav>
                                      </p:tavLst>
                                    </p:anim>
                                    <p:anim calcmode="lin" valueType="num">
                                      <p:cBhvr>
                                        <p:cTn id="29" dur="2000" fill="hold"/>
                                        <p:tgtEl>
                                          <p:spTgt spid="128"/>
                                        </p:tgtEl>
                                        <p:attrNameLst>
                                          <p:attrName>ppt_h</p:attrName>
                                        </p:attrNameLst>
                                      </p:cBhvr>
                                      <p:tavLst>
                                        <p:tav tm="0">
                                          <p:val>
                                            <p:fltVal val="0"/>
                                          </p:val>
                                        </p:tav>
                                        <p:tav tm="100000">
                                          <p:val>
                                            <p:strVal val="#ppt_h"/>
                                          </p:val>
                                        </p:tav>
                                      </p:tavLst>
                                    </p:anim>
                                    <p:animEffect transition="in" filter="fade">
                                      <p:cBhvr>
                                        <p:cTn id="30" dur="2000"/>
                                        <p:tgtEl>
                                          <p:spTgt spid="128"/>
                                        </p:tgtEl>
                                      </p:cBhvr>
                                    </p:animEffect>
                                  </p:childTnLst>
                                </p:cTn>
                              </p:par>
                              <p:par>
                                <p:cTn id="31" presetID="42" presetClass="path" presetSubtype="0" accel="50000" decel="50000" fill="hold" grpId="1" nodeType="withEffect">
                                  <p:stCondLst>
                                    <p:cond delay="0"/>
                                  </p:stCondLst>
                                  <p:childTnLst>
                                    <p:animMotion origin="layout" path="M -4.58333E-6 2.96296E-6 L 0.08256 -0.14653 " pathEditMode="relative" rAng="0" ptsTypes="AA">
                                      <p:cBhvr>
                                        <p:cTn id="32" dur="2000" spd="-100000" fill="hold"/>
                                        <p:tgtEl>
                                          <p:spTgt spid="128"/>
                                        </p:tgtEl>
                                        <p:attrNameLst>
                                          <p:attrName>ppt_x</p:attrName>
                                          <p:attrName>ppt_y</p:attrName>
                                        </p:attrNameLst>
                                      </p:cBhvr>
                                      <p:rCtr x="4128" y="-7338"/>
                                    </p:animMotion>
                                  </p:childTnLst>
                                </p:cTn>
                              </p:par>
                              <p:par>
                                <p:cTn id="33" presetID="10" presetClass="entr" presetSubtype="0" fill="hold" nodeType="withEffect">
                                  <p:stCondLst>
                                    <p:cond delay="200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par>
                                <p:cTn id="36" presetID="10" presetClass="entr" presetSubtype="0" fill="hold" grpId="0" nodeType="withEffect">
                                  <p:stCondLst>
                                    <p:cond delay="2000"/>
                                  </p:stCondLst>
                                  <p:childTnLst>
                                    <p:set>
                                      <p:cBhvr>
                                        <p:cTn id="37" dur="1" fill="hold">
                                          <p:stCondLst>
                                            <p:cond delay="0"/>
                                          </p:stCondLst>
                                        </p:cTn>
                                        <p:tgtEl>
                                          <p:spTgt spid="153"/>
                                        </p:tgtEl>
                                        <p:attrNameLst>
                                          <p:attrName>style.visibility</p:attrName>
                                        </p:attrNameLst>
                                      </p:cBhvr>
                                      <p:to>
                                        <p:strVal val="visible"/>
                                      </p:to>
                                    </p:set>
                                    <p:animEffect transition="in" filter="fade">
                                      <p:cBhvr>
                                        <p:cTn id="38" dur="500"/>
                                        <p:tgtEl>
                                          <p:spTgt spid="153"/>
                                        </p:tgtEl>
                                      </p:cBhvr>
                                    </p:animEffect>
                                  </p:childTnLst>
                                </p:cTn>
                              </p:par>
                              <p:par>
                                <p:cTn id="39" presetID="10" presetClass="entr" presetSubtype="0" fill="hold" grpId="0" nodeType="withEffect">
                                  <p:stCondLst>
                                    <p:cond delay="2000"/>
                                  </p:stCondLst>
                                  <p:childTnLst>
                                    <p:set>
                                      <p:cBhvr>
                                        <p:cTn id="40" dur="1" fill="hold">
                                          <p:stCondLst>
                                            <p:cond delay="0"/>
                                          </p:stCondLst>
                                        </p:cTn>
                                        <p:tgtEl>
                                          <p:spTgt spid="151"/>
                                        </p:tgtEl>
                                        <p:attrNameLst>
                                          <p:attrName>style.visibility</p:attrName>
                                        </p:attrNameLst>
                                      </p:cBhvr>
                                      <p:to>
                                        <p:strVal val="visible"/>
                                      </p:to>
                                    </p:set>
                                    <p:animEffect transition="in" filter="fade">
                                      <p:cBhvr>
                                        <p:cTn id="41" dur="500"/>
                                        <p:tgtEl>
                                          <p:spTgt spid="151"/>
                                        </p:tgtEl>
                                      </p:cBhvr>
                                    </p:animEffect>
                                  </p:childTnLst>
                                </p:cTn>
                              </p:par>
                              <p:par>
                                <p:cTn id="42" presetID="10" presetClass="entr" presetSubtype="0" fill="hold" grpId="0" nodeType="withEffect">
                                  <p:stCondLst>
                                    <p:cond delay="2000"/>
                                  </p:stCondLst>
                                  <p:childTnLst>
                                    <p:set>
                                      <p:cBhvr>
                                        <p:cTn id="43" dur="1" fill="hold">
                                          <p:stCondLst>
                                            <p:cond delay="0"/>
                                          </p:stCondLst>
                                        </p:cTn>
                                        <p:tgtEl>
                                          <p:spTgt spid="157"/>
                                        </p:tgtEl>
                                        <p:attrNameLst>
                                          <p:attrName>style.visibility</p:attrName>
                                        </p:attrNameLst>
                                      </p:cBhvr>
                                      <p:to>
                                        <p:strVal val="visible"/>
                                      </p:to>
                                    </p:set>
                                    <p:animEffect transition="in" filter="fade">
                                      <p:cBhvr>
                                        <p:cTn id="44" dur="500"/>
                                        <p:tgtEl>
                                          <p:spTgt spid="157"/>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155"/>
                                        </p:tgtEl>
                                        <p:attrNameLst>
                                          <p:attrName>style.visibility</p:attrName>
                                        </p:attrNameLst>
                                      </p:cBhvr>
                                      <p:to>
                                        <p:strVal val="visible"/>
                                      </p:to>
                                    </p:set>
                                    <p:animEffect transition="in" filter="fade">
                                      <p:cBhvr>
                                        <p:cTn id="47" dur="500"/>
                                        <p:tgtEl>
                                          <p:spTgt spid="155"/>
                                        </p:tgtEl>
                                      </p:cBhvr>
                                    </p:animEffect>
                                  </p:childTnLst>
                                </p:cTn>
                              </p:par>
                              <p:par>
                                <p:cTn id="48" presetID="12" presetClass="entr" presetSubtype="1" fill="hold" grpId="0" nodeType="withEffect">
                                  <p:stCondLst>
                                    <p:cond delay="2000"/>
                                  </p:stCondLst>
                                  <p:childTnLst>
                                    <p:set>
                                      <p:cBhvr>
                                        <p:cTn id="49" dur="1" fill="hold">
                                          <p:stCondLst>
                                            <p:cond delay="0"/>
                                          </p:stCondLst>
                                        </p:cTn>
                                        <p:tgtEl>
                                          <p:spTgt spid="156"/>
                                        </p:tgtEl>
                                        <p:attrNameLst>
                                          <p:attrName>style.visibility</p:attrName>
                                        </p:attrNameLst>
                                      </p:cBhvr>
                                      <p:to>
                                        <p:strVal val="visible"/>
                                      </p:to>
                                    </p:set>
                                    <p:anim calcmode="lin" valueType="num">
                                      <p:cBhvr additive="base">
                                        <p:cTn id="50" dur="1000"/>
                                        <p:tgtEl>
                                          <p:spTgt spid="156"/>
                                        </p:tgtEl>
                                        <p:attrNameLst>
                                          <p:attrName>ppt_y</p:attrName>
                                        </p:attrNameLst>
                                      </p:cBhvr>
                                      <p:tavLst>
                                        <p:tav tm="0">
                                          <p:val>
                                            <p:strVal val="#ppt_y-#ppt_h*1.125000"/>
                                          </p:val>
                                        </p:tav>
                                        <p:tav tm="100000">
                                          <p:val>
                                            <p:strVal val="#ppt_y"/>
                                          </p:val>
                                        </p:tav>
                                      </p:tavLst>
                                    </p:anim>
                                    <p:animEffect transition="in" filter="wipe(down)">
                                      <p:cBhvr>
                                        <p:cTn id="51" dur="1000"/>
                                        <p:tgtEl>
                                          <p:spTgt spid="156"/>
                                        </p:tgtEl>
                                      </p:cBhvr>
                                    </p:animEffect>
                                  </p:childTnLst>
                                </p:cTn>
                              </p:par>
                              <p:par>
                                <p:cTn id="52" presetID="12" presetClass="entr" presetSubtype="1" fill="hold" grpId="0" nodeType="withEffect">
                                  <p:stCondLst>
                                    <p:cond delay="2000"/>
                                  </p:stCondLst>
                                  <p:childTnLst>
                                    <p:set>
                                      <p:cBhvr>
                                        <p:cTn id="53" dur="1" fill="hold">
                                          <p:stCondLst>
                                            <p:cond delay="0"/>
                                          </p:stCondLst>
                                        </p:cTn>
                                        <p:tgtEl>
                                          <p:spTgt spid="150"/>
                                        </p:tgtEl>
                                        <p:attrNameLst>
                                          <p:attrName>style.visibility</p:attrName>
                                        </p:attrNameLst>
                                      </p:cBhvr>
                                      <p:to>
                                        <p:strVal val="visible"/>
                                      </p:to>
                                    </p:set>
                                    <p:anim calcmode="lin" valueType="num">
                                      <p:cBhvr additive="base">
                                        <p:cTn id="54" dur="1000"/>
                                        <p:tgtEl>
                                          <p:spTgt spid="150"/>
                                        </p:tgtEl>
                                        <p:attrNameLst>
                                          <p:attrName>ppt_y</p:attrName>
                                        </p:attrNameLst>
                                      </p:cBhvr>
                                      <p:tavLst>
                                        <p:tav tm="0">
                                          <p:val>
                                            <p:strVal val="#ppt_y-#ppt_h*1.125000"/>
                                          </p:val>
                                        </p:tav>
                                        <p:tav tm="100000">
                                          <p:val>
                                            <p:strVal val="#ppt_y"/>
                                          </p:val>
                                        </p:tav>
                                      </p:tavLst>
                                    </p:anim>
                                    <p:animEffect transition="in" filter="wipe(down)">
                                      <p:cBhvr>
                                        <p:cTn id="55" dur="1000"/>
                                        <p:tgtEl>
                                          <p:spTgt spid="150"/>
                                        </p:tgtEl>
                                      </p:cBhvr>
                                    </p:animEffect>
                                  </p:childTnLst>
                                </p:cTn>
                              </p:par>
                              <p:par>
                                <p:cTn id="56" presetID="12" presetClass="entr" presetSubtype="1" fill="hold" grpId="0" nodeType="withEffect">
                                  <p:stCondLst>
                                    <p:cond delay="2000"/>
                                  </p:stCondLst>
                                  <p:childTnLst>
                                    <p:set>
                                      <p:cBhvr>
                                        <p:cTn id="57" dur="1" fill="hold">
                                          <p:stCondLst>
                                            <p:cond delay="0"/>
                                          </p:stCondLst>
                                        </p:cTn>
                                        <p:tgtEl>
                                          <p:spTgt spid="152"/>
                                        </p:tgtEl>
                                        <p:attrNameLst>
                                          <p:attrName>style.visibility</p:attrName>
                                        </p:attrNameLst>
                                      </p:cBhvr>
                                      <p:to>
                                        <p:strVal val="visible"/>
                                      </p:to>
                                    </p:set>
                                    <p:anim calcmode="lin" valueType="num">
                                      <p:cBhvr additive="base">
                                        <p:cTn id="58" dur="1000"/>
                                        <p:tgtEl>
                                          <p:spTgt spid="152"/>
                                        </p:tgtEl>
                                        <p:attrNameLst>
                                          <p:attrName>ppt_y</p:attrName>
                                        </p:attrNameLst>
                                      </p:cBhvr>
                                      <p:tavLst>
                                        <p:tav tm="0">
                                          <p:val>
                                            <p:strVal val="#ppt_y-#ppt_h*1.125000"/>
                                          </p:val>
                                        </p:tav>
                                        <p:tav tm="100000">
                                          <p:val>
                                            <p:strVal val="#ppt_y"/>
                                          </p:val>
                                        </p:tav>
                                      </p:tavLst>
                                    </p:anim>
                                    <p:animEffect transition="in" filter="wipe(down)">
                                      <p:cBhvr>
                                        <p:cTn id="59" dur="1000"/>
                                        <p:tgtEl>
                                          <p:spTgt spid="152"/>
                                        </p:tgtEl>
                                      </p:cBhvr>
                                    </p:animEffect>
                                  </p:childTnLst>
                                </p:cTn>
                              </p:par>
                              <p:par>
                                <p:cTn id="60" presetID="12" presetClass="entr" presetSubtype="1" fill="hold" grpId="0" nodeType="withEffect">
                                  <p:stCondLst>
                                    <p:cond delay="2000"/>
                                  </p:stCondLst>
                                  <p:childTnLst>
                                    <p:set>
                                      <p:cBhvr>
                                        <p:cTn id="61" dur="1" fill="hold">
                                          <p:stCondLst>
                                            <p:cond delay="0"/>
                                          </p:stCondLst>
                                        </p:cTn>
                                        <p:tgtEl>
                                          <p:spTgt spid="154"/>
                                        </p:tgtEl>
                                        <p:attrNameLst>
                                          <p:attrName>style.visibility</p:attrName>
                                        </p:attrNameLst>
                                      </p:cBhvr>
                                      <p:to>
                                        <p:strVal val="visible"/>
                                      </p:to>
                                    </p:set>
                                    <p:anim calcmode="lin" valueType="num">
                                      <p:cBhvr additive="base">
                                        <p:cTn id="62" dur="1000"/>
                                        <p:tgtEl>
                                          <p:spTgt spid="154"/>
                                        </p:tgtEl>
                                        <p:attrNameLst>
                                          <p:attrName>ppt_y</p:attrName>
                                        </p:attrNameLst>
                                      </p:cBhvr>
                                      <p:tavLst>
                                        <p:tav tm="0">
                                          <p:val>
                                            <p:strVal val="#ppt_y-#ppt_h*1.125000"/>
                                          </p:val>
                                        </p:tav>
                                        <p:tav tm="100000">
                                          <p:val>
                                            <p:strVal val="#ppt_y"/>
                                          </p:val>
                                        </p:tav>
                                      </p:tavLst>
                                    </p:anim>
                                    <p:animEffect transition="in" filter="wipe(down)">
                                      <p:cBhvr>
                                        <p:cTn id="63" dur="1000"/>
                                        <p:tgtEl>
                                          <p:spTgt spid="154"/>
                                        </p:tgtEl>
                                      </p:cBhvr>
                                    </p:animEffect>
                                  </p:childTnLst>
                                </p:cTn>
                              </p:par>
                              <p:par>
                                <p:cTn id="64" presetID="55" presetClass="entr" presetSubtype="0" fill="hold" grpId="0" nodeType="withEffect">
                                  <p:stCondLst>
                                    <p:cond delay="2750"/>
                                  </p:stCondLst>
                                  <p:childTnLst>
                                    <p:set>
                                      <p:cBhvr>
                                        <p:cTn id="65" dur="1" fill="hold">
                                          <p:stCondLst>
                                            <p:cond delay="0"/>
                                          </p:stCondLst>
                                        </p:cTn>
                                        <p:tgtEl>
                                          <p:spTgt spid="142"/>
                                        </p:tgtEl>
                                        <p:attrNameLst>
                                          <p:attrName>style.visibility</p:attrName>
                                        </p:attrNameLst>
                                      </p:cBhvr>
                                      <p:to>
                                        <p:strVal val="visible"/>
                                      </p:to>
                                    </p:set>
                                    <p:anim calcmode="lin" valueType="num">
                                      <p:cBhvr>
                                        <p:cTn id="66" dur="1000" fill="hold"/>
                                        <p:tgtEl>
                                          <p:spTgt spid="142"/>
                                        </p:tgtEl>
                                        <p:attrNameLst>
                                          <p:attrName>ppt_w</p:attrName>
                                        </p:attrNameLst>
                                      </p:cBhvr>
                                      <p:tavLst>
                                        <p:tav tm="0">
                                          <p:val>
                                            <p:strVal val="#ppt_w*0.70"/>
                                          </p:val>
                                        </p:tav>
                                        <p:tav tm="100000">
                                          <p:val>
                                            <p:strVal val="#ppt_w"/>
                                          </p:val>
                                        </p:tav>
                                      </p:tavLst>
                                    </p:anim>
                                    <p:anim calcmode="lin" valueType="num">
                                      <p:cBhvr>
                                        <p:cTn id="67" dur="1000" fill="hold"/>
                                        <p:tgtEl>
                                          <p:spTgt spid="142"/>
                                        </p:tgtEl>
                                        <p:attrNameLst>
                                          <p:attrName>ppt_h</p:attrName>
                                        </p:attrNameLst>
                                      </p:cBhvr>
                                      <p:tavLst>
                                        <p:tav tm="0">
                                          <p:val>
                                            <p:strVal val="#ppt_h"/>
                                          </p:val>
                                        </p:tav>
                                        <p:tav tm="100000">
                                          <p:val>
                                            <p:strVal val="#ppt_h"/>
                                          </p:val>
                                        </p:tav>
                                      </p:tavLst>
                                    </p:anim>
                                    <p:animEffect transition="in" filter="fade">
                                      <p:cBhvr>
                                        <p:cTn id="68" dur="1000"/>
                                        <p:tgtEl>
                                          <p:spTgt spid="142"/>
                                        </p:tgtEl>
                                      </p:cBhvr>
                                    </p:animEffect>
                                  </p:childTnLst>
                                </p:cTn>
                              </p:par>
                              <p:par>
                                <p:cTn id="69" presetID="55" presetClass="entr" presetSubtype="0" fill="hold" grpId="0" nodeType="withEffect">
                                  <p:stCondLst>
                                    <p:cond delay="2750"/>
                                  </p:stCondLst>
                                  <p:childTnLst>
                                    <p:set>
                                      <p:cBhvr>
                                        <p:cTn id="70" dur="1" fill="hold">
                                          <p:stCondLst>
                                            <p:cond delay="0"/>
                                          </p:stCondLst>
                                        </p:cTn>
                                        <p:tgtEl>
                                          <p:spTgt spid="143"/>
                                        </p:tgtEl>
                                        <p:attrNameLst>
                                          <p:attrName>style.visibility</p:attrName>
                                        </p:attrNameLst>
                                      </p:cBhvr>
                                      <p:to>
                                        <p:strVal val="visible"/>
                                      </p:to>
                                    </p:set>
                                    <p:anim calcmode="lin" valueType="num">
                                      <p:cBhvr>
                                        <p:cTn id="71" dur="1000" fill="hold"/>
                                        <p:tgtEl>
                                          <p:spTgt spid="143"/>
                                        </p:tgtEl>
                                        <p:attrNameLst>
                                          <p:attrName>ppt_w</p:attrName>
                                        </p:attrNameLst>
                                      </p:cBhvr>
                                      <p:tavLst>
                                        <p:tav tm="0">
                                          <p:val>
                                            <p:strVal val="#ppt_w*0.70"/>
                                          </p:val>
                                        </p:tav>
                                        <p:tav tm="100000">
                                          <p:val>
                                            <p:strVal val="#ppt_w"/>
                                          </p:val>
                                        </p:tav>
                                      </p:tavLst>
                                    </p:anim>
                                    <p:anim calcmode="lin" valueType="num">
                                      <p:cBhvr>
                                        <p:cTn id="72" dur="1000" fill="hold"/>
                                        <p:tgtEl>
                                          <p:spTgt spid="143"/>
                                        </p:tgtEl>
                                        <p:attrNameLst>
                                          <p:attrName>ppt_h</p:attrName>
                                        </p:attrNameLst>
                                      </p:cBhvr>
                                      <p:tavLst>
                                        <p:tav tm="0">
                                          <p:val>
                                            <p:strVal val="#ppt_h"/>
                                          </p:val>
                                        </p:tav>
                                        <p:tav tm="100000">
                                          <p:val>
                                            <p:strVal val="#ppt_h"/>
                                          </p:val>
                                        </p:tav>
                                      </p:tavLst>
                                    </p:anim>
                                    <p:animEffect transition="in" filter="fade">
                                      <p:cBhvr>
                                        <p:cTn id="73" dur="1000"/>
                                        <p:tgtEl>
                                          <p:spTgt spid="143"/>
                                        </p:tgtEl>
                                      </p:cBhvr>
                                    </p:animEffect>
                                  </p:childTnLst>
                                </p:cTn>
                              </p:par>
                              <p:par>
                                <p:cTn id="74" presetID="55" presetClass="entr" presetSubtype="0" fill="hold" grpId="0" nodeType="withEffect">
                                  <p:stCondLst>
                                    <p:cond delay="2750"/>
                                  </p:stCondLst>
                                  <p:childTnLst>
                                    <p:set>
                                      <p:cBhvr>
                                        <p:cTn id="75" dur="1" fill="hold">
                                          <p:stCondLst>
                                            <p:cond delay="0"/>
                                          </p:stCondLst>
                                        </p:cTn>
                                        <p:tgtEl>
                                          <p:spTgt spid="144"/>
                                        </p:tgtEl>
                                        <p:attrNameLst>
                                          <p:attrName>style.visibility</p:attrName>
                                        </p:attrNameLst>
                                      </p:cBhvr>
                                      <p:to>
                                        <p:strVal val="visible"/>
                                      </p:to>
                                    </p:set>
                                    <p:anim calcmode="lin" valueType="num">
                                      <p:cBhvr>
                                        <p:cTn id="76" dur="1000" fill="hold"/>
                                        <p:tgtEl>
                                          <p:spTgt spid="144"/>
                                        </p:tgtEl>
                                        <p:attrNameLst>
                                          <p:attrName>ppt_w</p:attrName>
                                        </p:attrNameLst>
                                      </p:cBhvr>
                                      <p:tavLst>
                                        <p:tav tm="0">
                                          <p:val>
                                            <p:strVal val="#ppt_w*0.70"/>
                                          </p:val>
                                        </p:tav>
                                        <p:tav tm="100000">
                                          <p:val>
                                            <p:strVal val="#ppt_w"/>
                                          </p:val>
                                        </p:tav>
                                      </p:tavLst>
                                    </p:anim>
                                    <p:anim calcmode="lin" valueType="num">
                                      <p:cBhvr>
                                        <p:cTn id="77" dur="1000" fill="hold"/>
                                        <p:tgtEl>
                                          <p:spTgt spid="144"/>
                                        </p:tgtEl>
                                        <p:attrNameLst>
                                          <p:attrName>ppt_h</p:attrName>
                                        </p:attrNameLst>
                                      </p:cBhvr>
                                      <p:tavLst>
                                        <p:tav tm="0">
                                          <p:val>
                                            <p:strVal val="#ppt_h"/>
                                          </p:val>
                                        </p:tav>
                                        <p:tav tm="100000">
                                          <p:val>
                                            <p:strVal val="#ppt_h"/>
                                          </p:val>
                                        </p:tav>
                                      </p:tavLst>
                                    </p:anim>
                                    <p:animEffect transition="in" filter="fade">
                                      <p:cBhvr>
                                        <p:cTn id="78" dur="1000"/>
                                        <p:tgtEl>
                                          <p:spTgt spid="144"/>
                                        </p:tgtEl>
                                      </p:cBhvr>
                                    </p:animEffect>
                                  </p:childTnLst>
                                </p:cTn>
                              </p:par>
                              <p:par>
                                <p:cTn id="79" presetID="55" presetClass="entr" presetSubtype="0" fill="hold" grpId="0" nodeType="withEffect">
                                  <p:stCondLst>
                                    <p:cond delay="2750"/>
                                  </p:stCondLst>
                                  <p:childTnLst>
                                    <p:set>
                                      <p:cBhvr>
                                        <p:cTn id="80" dur="1" fill="hold">
                                          <p:stCondLst>
                                            <p:cond delay="0"/>
                                          </p:stCondLst>
                                        </p:cTn>
                                        <p:tgtEl>
                                          <p:spTgt spid="141"/>
                                        </p:tgtEl>
                                        <p:attrNameLst>
                                          <p:attrName>style.visibility</p:attrName>
                                        </p:attrNameLst>
                                      </p:cBhvr>
                                      <p:to>
                                        <p:strVal val="visible"/>
                                      </p:to>
                                    </p:set>
                                    <p:anim calcmode="lin" valueType="num">
                                      <p:cBhvr>
                                        <p:cTn id="81" dur="1000" fill="hold"/>
                                        <p:tgtEl>
                                          <p:spTgt spid="141"/>
                                        </p:tgtEl>
                                        <p:attrNameLst>
                                          <p:attrName>ppt_w</p:attrName>
                                        </p:attrNameLst>
                                      </p:cBhvr>
                                      <p:tavLst>
                                        <p:tav tm="0">
                                          <p:val>
                                            <p:strVal val="#ppt_w*0.70"/>
                                          </p:val>
                                        </p:tav>
                                        <p:tav tm="100000">
                                          <p:val>
                                            <p:strVal val="#ppt_w"/>
                                          </p:val>
                                        </p:tav>
                                      </p:tavLst>
                                    </p:anim>
                                    <p:anim calcmode="lin" valueType="num">
                                      <p:cBhvr>
                                        <p:cTn id="82" dur="1000" fill="hold"/>
                                        <p:tgtEl>
                                          <p:spTgt spid="141"/>
                                        </p:tgtEl>
                                        <p:attrNameLst>
                                          <p:attrName>ppt_h</p:attrName>
                                        </p:attrNameLst>
                                      </p:cBhvr>
                                      <p:tavLst>
                                        <p:tav tm="0">
                                          <p:val>
                                            <p:strVal val="#ppt_h"/>
                                          </p:val>
                                        </p:tav>
                                        <p:tav tm="100000">
                                          <p:val>
                                            <p:strVal val="#ppt_h"/>
                                          </p:val>
                                        </p:tav>
                                      </p:tavLst>
                                    </p:anim>
                                    <p:animEffect transition="in" filter="fade">
                                      <p:cBhvr>
                                        <p:cTn id="83" dur="1000"/>
                                        <p:tgtEl>
                                          <p:spTgt spid="141"/>
                                        </p:tgtEl>
                                      </p:cBhvr>
                                    </p:animEffect>
                                  </p:childTnLst>
                                </p:cTn>
                              </p:par>
                              <p:par>
                                <p:cTn id="84" presetID="53" presetClass="entr" presetSubtype="16" fill="hold" grpId="0" nodeType="withEffect">
                                  <p:stCondLst>
                                    <p:cond delay="3500"/>
                                  </p:stCondLst>
                                  <p:childTnLst>
                                    <p:set>
                                      <p:cBhvr>
                                        <p:cTn id="85" dur="1" fill="hold">
                                          <p:stCondLst>
                                            <p:cond delay="0"/>
                                          </p:stCondLst>
                                        </p:cTn>
                                        <p:tgtEl>
                                          <p:spTgt spid="158"/>
                                        </p:tgtEl>
                                        <p:attrNameLst>
                                          <p:attrName>style.visibility</p:attrName>
                                        </p:attrNameLst>
                                      </p:cBhvr>
                                      <p:to>
                                        <p:strVal val="visible"/>
                                      </p:to>
                                    </p:set>
                                    <p:anim calcmode="lin" valueType="num">
                                      <p:cBhvr>
                                        <p:cTn id="86" dur="1250" fill="hold"/>
                                        <p:tgtEl>
                                          <p:spTgt spid="158"/>
                                        </p:tgtEl>
                                        <p:attrNameLst>
                                          <p:attrName>ppt_w</p:attrName>
                                        </p:attrNameLst>
                                      </p:cBhvr>
                                      <p:tavLst>
                                        <p:tav tm="0">
                                          <p:val>
                                            <p:fltVal val="0"/>
                                          </p:val>
                                        </p:tav>
                                        <p:tav tm="100000">
                                          <p:val>
                                            <p:strVal val="#ppt_w"/>
                                          </p:val>
                                        </p:tav>
                                      </p:tavLst>
                                    </p:anim>
                                    <p:anim calcmode="lin" valueType="num">
                                      <p:cBhvr>
                                        <p:cTn id="87" dur="1250" fill="hold"/>
                                        <p:tgtEl>
                                          <p:spTgt spid="158"/>
                                        </p:tgtEl>
                                        <p:attrNameLst>
                                          <p:attrName>ppt_h</p:attrName>
                                        </p:attrNameLst>
                                      </p:cBhvr>
                                      <p:tavLst>
                                        <p:tav tm="0">
                                          <p:val>
                                            <p:fltVal val="0"/>
                                          </p:val>
                                        </p:tav>
                                        <p:tav tm="100000">
                                          <p:val>
                                            <p:strVal val="#ppt_h"/>
                                          </p:val>
                                        </p:tav>
                                      </p:tavLst>
                                    </p:anim>
                                    <p:animEffect transition="in" filter="fade">
                                      <p:cBhvr>
                                        <p:cTn id="88" dur="1250"/>
                                        <p:tgtEl>
                                          <p:spTgt spid="158"/>
                                        </p:tgtEl>
                                      </p:cBhvr>
                                    </p:animEffect>
                                  </p:childTnLst>
                                </p:cTn>
                              </p:par>
                              <p:par>
                                <p:cTn id="89" presetID="53" presetClass="entr" presetSubtype="16" fill="hold" grpId="0" nodeType="withEffect">
                                  <p:stCondLst>
                                    <p:cond delay="3500"/>
                                  </p:stCondLst>
                                  <p:childTnLst>
                                    <p:set>
                                      <p:cBhvr>
                                        <p:cTn id="90" dur="1" fill="hold">
                                          <p:stCondLst>
                                            <p:cond delay="0"/>
                                          </p:stCondLst>
                                        </p:cTn>
                                        <p:tgtEl>
                                          <p:spTgt spid="159"/>
                                        </p:tgtEl>
                                        <p:attrNameLst>
                                          <p:attrName>style.visibility</p:attrName>
                                        </p:attrNameLst>
                                      </p:cBhvr>
                                      <p:to>
                                        <p:strVal val="visible"/>
                                      </p:to>
                                    </p:set>
                                    <p:anim calcmode="lin" valueType="num">
                                      <p:cBhvr>
                                        <p:cTn id="91" dur="1250" fill="hold"/>
                                        <p:tgtEl>
                                          <p:spTgt spid="159"/>
                                        </p:tgtEl>
                                        <p:attrNameLst>
                                          <p:attrName>ppt_w</p:attrName>
                                        </p:attrNameLst>
                                      </p:cBhvr>
                                      <p:tavLst>
                                        <p:tav tm="0">
                                          <p:val>
                                            <p:fltVal val="0"/>
                                          </p:val>
                                        </p:tav>
                                        <p:tav tm="100000">
                                          <p:val>
                                            <p:strVal val="#ppt_w"/>
                                          </p:val>
                                        </p:tav>
                                      </p:tavLst>
                                    </p:anim>
                                    <p:anim calcmode="lin" valueType="num">
                                      <p:cBhvr>
                                        <p:cTn id="92" dur="1250" fill="hold"/>
                                        <p:tgtEl>
                                          <p:spTgt spid="159"/>
                                        </p:tgtEl>
                                        <p:attrNameLst>
                                          <p:attrName>ppt_h</p:attrName>
                                        </p:attrNameLst>
                                      </p:cBhvr>
                                      <p:tavLst>
                                        <p:tav tm="0">
                                          <p:val>
                                            <p:fltVal val="0"/>
                                          </p:val>
                                        </p:tav>
                                        <p:tav tm="100000">
                                          <p:val>
                                            <p:strVal val="#ppt_h"/>
                                          </p:val>
                                        </p:tav>
                                      </p:tavLst>
                                    </p:anim>
                                    <p:animEffect transition="in" filter="fade">
                                      <p:cBhvr>
                                        <p:cTn id="93" dur="1250"/>
                                        <p:tgtEl>
                                          <p:spTgt spid="159"/>
                                        </p:tgtEl>
                                      </p:cBhvr>
                                    </p:animEffect>
                                  </p:childTnLst>
                                </p:cTn>
                              </p:par>
                              <p:par>
                                <p:cTn id="94" presetID="53" presetClass="entr" presetSubtype="16" fill="hold" grpId="0" nodeType="withEffect">
                                  <p:stCondLst>
                                    <p:cond delay="3500"/>
                                  </p:stCondLst>
                                  <p:childTnLst>
                                    <p:set>
                                      <p:cBhvr>
                                        <p:cTn id="95" dur="1" fill="hold">
                                          <p:stCondLst>
                                            <p:cond delay="0"/>
                                          </p:stCondLst>
                                        </p:cTn>
                                        <p:tgtEl>
                                          <p:spTgt spid="160"/>
                                        </p:tgtEl>
                                        <p:attrNameLst>
                                          <p:attrName>style.visibility</p:attrName>
                                        </p:attrNameLst>
                                      </p:cBhvr>
                                      <p:to>
                                        <p:strVal val="visible"/>
                                      </p:to>
                                    </p:set>
                                    <p:anim calcmode="lin" valueType="num">
                                      <p:cBhvr>
                                        <p:cTn id="96" dur="1250" fill="hold"/>
                                        <p:tgtEl>
                                          <p:spTgt spid="160"/>
                                        </p:tgtEl>
                                        <p:attrNameLst>
                                          <p:attrName>ppt_w</p:attrName>
                                        </p:attrNameLst>
                                      </p:cBhvr>
                                      <p:tavLst>
                                        <p:tav tm="0">
                                          <p:val>
                                            <p:fltVal val="0"/>
                                          </p:val>
                                        </p:tav>
                                        <p:tav tm="100000">
                                          <p:val>
                                            <p:strVal val="#ppt_w"/>
                                          </p:val>
                                        </p:tav>
                                      </p:tavLst>
                                    </p:anim>
                                    <p:anim calcmode="lin" valueType="num">
                                      <p:cBhvr>
                                        <p:cTn id="97" dur="1250" fill="hold"/>
                                        <p:tgtEl>
                                          <p:spTgt spid="160"/>
                                        </p:tgtEl>
                                        <p:attrNameLst>
                                          <p:attrName>ppt_h</p:attrName>
                                        </p:attrNameLst>
                                      </p:cBhvr>
                                      <p:tavLst>
                                        <p:tav tm="0">
                                          <p:val>
                                            <p:fltVal val="0"/>
                                          </p:val>
                                        </p:tav>
                                        <p:tav tm="100000">
                                          <p:val>
                                            <p:strVal val="#ppt_h"/>
                                          </p:val>
                                        </p:tav>
                                      </p:tavLst>
                                    </p:anim>
                                    <p:animEffect transition="in" filter="fade">
                                      <p:cBhvr>
                                        <p:cTn id="98" dur="1250"/>
                                        <p:tgtEl>
                                          <p:spTgt spid="160"/>
                                        </p:tgtEl>
                                      </p:cBhvr>
                                    </p:animEffect>
                                  </p:childTnLst>
                                </p:cTn>
                              </p:par>
                              <p:par>
                                <p:cTn id="99" presetID="53" presetClass="entr" presetSubtype="16" fill="hold" grpId="0" nodeType="withEffect">
                                  <p:stCondLst>
                                    <p:cond delay="3500"/>
                                  </p:stCondLst>
                                  <p:childTnLst>
                                    <p:set>
                                      <p:cBhvr>
                                        <p:cTn id="100" dur="1" fill="hold">
                                          <p:stCondLst>
                                            <p:cond delay="0"/>
                                          </p:stCondLst>
                                        </p:cTn>
                                        <p:tgtEl>
                                          <p:spTgt spid="161"/>
                                        </p:tgtEl>
                                        <p:attrNameLst>
                                          <p:attrName>style.visibility</p:attrName>
                                        </p:attrNameLst>
                                      </p:cBhvr>
                                      <p:to>
                                        <p:strVal val="visible"/>
                                      </p:to>
                                    </p:set>
                                    <p:anim calcmode="lin" valueType="num">
                                      <p:cBhvr>
                                        <p:cTn id="101" dur="1250" fill="hold"/>
                                        <p:tgtEl>
                                          <p:spTgt spid="161"/>
                                        </p:tgtEl>
                                        <p:attrNameLst>
                                          <p:attrName>ppt_w</p:attrName>
                                        </p:attrNameLst>
                                      </p:cBhvr>
                                      <p:tavLst>
                                        <p:tav tm="0">
                                          <p:val>
                                            <p:fltVal val="0"/>
                                          </p:val>
                                        </p:tav>
                                        <p:tav tm="100000">
                                          <p:val>
                                            <p:strVal val="#ppt_w"/>
                                          </p:val>
                                        </p:tav>
                                      </p:tavLst>
                                    </p:anim>
                                    <p:anim calcmode="lin" valueType="num">
                                      <p:cBhvr>
                                        <p:cTn id="102" dur="1250" fill="hold"/>
                                        <p:tgtEl>
                                          <p:spTgt spid="161"/>
                                        </p:tgtEl>
                                        <p:attrNameLst>
                                          <p:attrName>ppt_h</p:attrName>
                                        </p:attrNameLst>
                                      </p:cBhvr>
                                      <p:tavLst>
                                        <p:tav tm="0">
                                          <p:val>
                                            <p:fltVal val="0"/>
                                          </p:val>
                                        </p:tav>
                                        <p:tav tm="100000">
                                          <p:val>
                                            <p:strVal val="#ppt_h"/>
                                          </p:val>
                                        </p:tav>
                                      </p:tavLst>
                                    </p:anim>
                                    <p:animEffect transition="in" filter="fade">
                                      <p:cBhvr>
                                        <p:cTn id="103" dur="1250"/>
                                        <p:tgtEl>
                                          <p:spTgt spid="161"/>
                                        </p:tgtEl>
                                      </p:cBhvr>
                                    </p:animEffect>
                                  </p:childTnLst>
                                </p:cTn>
                              </p:par>
                              <p:par>
                                <p:cTn id="104" presetID="10" presetClass="entr" presetSubtype="0" fill="hold" grpId="0" nodeType="withEffect">
                                  <p:stCondLst>
                                    <p:cond delay="3500"/>
                                  </p:stCondLst>
                                  <p:childTnLst>
                                    <p:set>
                                      <p:cBhvr>
                                        <p:cTn id="105" dur="1" fill="hold">
                                          <p:stCondLst>
                                            <p:cond delay="0"/>
                                          </p:stCondLst>
                                        </p:cTn>
                                        <p:tgtEl>
                                          <p:spTgt spid="95"/>
                                        </p:tgtEl>
                                        <p:attrNameLst>
                                          <p:attrName>style.visibility</p:attrName>
                                        </p:attrNameLst>
                                      </p:cBhvr>
                                      <p:to>
                                        <p:strVal val="visible"/>
                                      </p:to>
                                    </p:set>
                                    <p:animEffect transition="in" filter="fade">
                                      <p:cBhvr>
                                        <p:cTn id="106" dur="1250"/>
                                        <p:tgtEl>
                                          <p:spTgt spid="95"/>
                                        </p:tgtEl>
                                      </p:cBhvr>
                                    </p:animEffect>
                                  </p:childTnLst>
                                </p:cTn>
                              </p:par>
                              <p:par>
                                <p:cTn id="107" presetID="35" presetClass="path" presetSubtype="0" accel="50000" decel="50000" fill="hold" grpId="1" nodeType="withEffect">
                                  <p:stCondLst>
                                    <p:cond delay="3500"/>
                                  </p:stCondLst>
                                  <p:childTnLst>
                                    <p:animMotion origin="layout" path="M 0.02006 0 L -3.54167E-6 0 " pathEditMode="relative" rAng="0" ptsTypes="AA">
                                      <p:cBhvr>
                                        <p:cTn id="108" dur="1250" fill="hold"/>
                                        <p:tgtEl>
                                          <p:spTgt spid="95"/>
                                        </p:tgtEl>
                                        <p:attrNameLst>
                                          <p:attrName>ppt_x</p:attrName>
                                          <p:attrName>ppt_y</p:attrName>
                                        </p:attrNameLst>
                                      </p:cBhvr>
                                      <p:rCtr x="-1003" y="0"/>
                                    </p:animMotion>
                                  </p:childTnLst>
                                </p:cTn>
                              </p:par>
                              <p:par>
                                <p:cTn id="109" presetID="10" presetClass="entr" presetSubtype="0" fill="hold" grpId="0" nodeType="withEffect">
                                  <p:stCondLst>
                                    <p:cond delay="3500"/>
                                  </p:stCondLst>
                                  <p:childTnLst>
                                    <p:set>
                                      <p:cBhvr>
                                        <p:cTn id="110" dur="1" fill="hold">
                                          <p:stCondLst>
                                            <p:cond delay="0"/>
                                          </p:stCondLst>
                                        </p:cTn>
                                        <p:tgtEl>
                                          <p:spTgt spid="96"/>
                                        </p:tgtEl>
                                        <p:attrNameLst>
                                          <p:attrName>style.visibility</p:attrName>
                                        </p:attrNameLst>
                                      </p:cBhvr>
                                      <p:to>
                                        <p:strVal val="visible"/>
                                      </p:to>
                                    </p:set>
                                    <p:animEffect transition="in" filter="fade">
                                      <p:cBhvr>
                                        <p:cTn id="111" dur="1250"/>
                                        <p:tgtEl>
                                          <p:spTgt spid="96"/>
                                        </p:tgtEl>
                                      </p:cBhvr>
                                    </p:animEffect>
                                  </p:childTnLst>
                                </p:cTn>
                              </p:par>
                              <p:par>
                                <p:cTn id="112" presetID="35" presetClass="path" presetSubtype="0" accel="50000" decel="50000" fill="hold" grpId="1" nodeType="withEffect">
                                  <p:stCondLst>
                                    <p:cond delay="3500"/>
                                  </p:stCondLst>
                                  <p:childTnLst>
                                    <p:animMotion origin="layout" path="M -0.01641 -2.22222E-6 L 2.29167E-6 -2.22222E-6 " pathEditMode="relative" rAng="0" ptsTypes="AA">
                                      <p:cBhvr>
                                        <p:cTn id="113" dur="1250" fill="hold"/>
                                        <p:tgtEl>
                                          <p:spTgt spid="96"/>
                                        </p:tgtEl>
                                        <p:attrNameLst>
                                          <p:attrName>ppt_x</p:attrName>
                                          <p:attrName>ppt_y</p:attrName>
                                        </p:attrNameLst>
                                      </p:cBhvr>
                                      <p:rCtr x="820" y="0"/>
                                    </p:animMotion>
                                  </p:childTnLst>
                                </p:cTn>
                              </p:par>
                              <p:par>
                                <p:cTn id="114" presetID="10" presetClass="entr" presetSubtype="0" fill="hold" grpId="0" nodeType="withEffect">
                                  <p:stCondLst>
                                    <p:cond delay="3500"/>
                                  </p:stCondLst>
                                  <p:childTnLst>
                                    <p:set>
                                      <p:cBhvr>
                                        <p:cTn id="115" dur="1" fill="hold">
                                          <p:stCondLst>
                                            <p:cond delay="0"/>
                                          </p:stCondLst>
                                        </p:cTn>
                                        <p:tgtEl>
                                          <p:spTgt spid="98"/>
                                        </p:tgtEl>
                                        <p:attrNameLst>
                                          <p:attrName>style.visibility</p:attrName>
                                        </p:attrNameLst>
                                      </p:cBhvr>
                                      <p:to>
                                        <p:strVal val="visible"/>
                                      </p:to>
                                    </p:set>
                                    <p:animEffect transition="in" filter="fade">
                                      <p:cBhvr>
                                        <p:cTn id="116" dur="1250"/>
                                        <p:tgtEl>
                                          <p:spTgt spid="98"/>
                                        </p:tgtEl>
                                      </p:cBhvr>
                                    </p:animEffect>
                                  </p:childTnLst>
                                </p:cTn>
                              </p:par>
                              <p:par>
                                <p:cTn id="117" presetID="35" presetClass="path" presetSubtype="0" accel="50000" decel="50000" fill="hold" grpId="1" nodeType="withEffect">
                                  <p:stCondLst>
                                    <p:cond delay="3500"/>
                                  </p:stCondLst>
                                  <p:childTnLst>
                                    <p:animMotion origin="layout" path="M 0.02006 0 L -3.54167E-6 0 " pathEditMode="relative" rAng="0" ptsTypes="AA">
                                      <p:cBhvr>
                                        <p:cTn id="118" dur="1250" fill="hold"/>
                                        <p:tgtEl>
                                          <p:spTgt spid="98"/>
                                        </p:tgtEl>
                                        <p:attrNameLst>
                                          <p:attrName>ppt_x</p:attrName>
                                          <p:attrName>ppt_y</p:attrName>
                                        </p:attrNameLst>
                                      </p:cBhvr>
                                      <p:rCtr x="-1003" y="0"/>
                                    </p:animMotion>
                                  </p:childTnLst>
                                </p:cTn>
                              </p:par>
                              <p:par>
                                <p:cTn id="119" presetID="10" presetClass="entr" presetSubtype="0" fill="hold" grpId="0" nodeType="withEffect">
                                  <p:stCondLst>
                                    <p:cond delay="3500"/>
                                  </p:stCondLst>
                                  <p:childTnLst>
                                    <p:set>
                                      <p:cBhvr>
                                        <p:cTn id="120" dur="1" fill="hold">
                                          <p:stCondLst>
                                            <p:cond delay="0"/>
                                          </p:stCondLst>
                                        </p:cTn>
                                        <p:tgtEl>
                                          <p:spTgt spid="101"/>
                                        </p:tgtEl>
                                        <p:attrNameLst>
                                          <p:attrName>style.visibility</p:attrName>
                                        </p:attrNameLst>
                                      </p:cBhvr>
                                      <p:to>
                                        <p:strVal val="visible"/>
                                      </p:to>
                                    </p:set>
                                    <p:animEffect transition="in" filter="fade">
                                      <p:cBhvr>
                                        <p:cTn id="121" dur="1250"/>
                                        <p:tgtEl>
                                          <p:spTgt spid="101"/>
                                        </p:tgtEl>
                                      </p:cBhvr>
                                    </p:animEffect>
                                  </p:childTnLst>
                                </p:cTn>
                              </p:par>
                              <p:par>
                                <p:cTn id="122" presetID="35" presetClass="path" presetSubtype="0" accel="50000" decel="50000" fill="hold" grpId="1" nodeType="withEffect">
                                  <p:stCondLst>
                                    <p:cond delay="3500"/>
                                  </p:stCondLst>
                                  <p:childTnLst>
                                    <p:animMotion origin="layout" path="M 0.02006 0 L -3.54167E-6 0 " pathEditMode="relative" rAng="0" ptsTypes="AA">
                                      <p:cBhvr>
                                        <p:cTn id="123" dur="1250" fill="hold"/>
                                        <p:tgtEl>
                                          <p:spTgt spid="101"/>
                                        </p:tgtEl>
                                        <p:attrNameLst>
                                          <p:attrName>ppt_x</p:attrName>
                                          <p:attrName>ppt_y</p:attrName>
                                        </p:attrNameLst>
                                      </p:cBhvr>
                                      <p:rCtr x="-1003" y="0"/>
                                    </p:animMotion>
                                  </p:childTnLst>
                                </p:cTn>
                              </p:par>
                              <p:par>
                                <p:cTn id="124" presetID="10" presetClass="entr" presetSubtype="0" fill="hold" grpId="0" nodeType="withEffect">
                                  <p:stCondLst>
                                    <p:cond delay="3500"/>
                                  </p:stCondLst>
                                  <p:childTnLst>
                                    <p:set>
                                      <p:cBhvr>
                                        <p:cTn id="125" dur="1" fill="hold">
                                          <p:stCondLst>
                                            <p:cond delay="0"/>
                                          </p:stCondLst>
                                        </p:cTn>
                                        <p:tgtEl>
                                          <p:spTgt spid="104"/>
                                        </p:tgtEl>
                                        <p:attrNameLst>
                                          <p:attrName>style.visibility</p:attrName>
                                        </p:attrNameLst>
                                      </p:cBhvr>
                                      <p:to>
                                        <p:strVal val="visible"/>
                                      </p:to>
                                    </p:set>
                                    <p:animEffect transition="in" filter="fade">
                                      <p:cBhvr>
                                        <p:cTn id="126" dur="1250"/>
                                        <p:tgtEl>
                                          <p:spTgt spid="104"/>
                                        </p:tgtEl>
                                      </p:cBhvr>
                                    </p:animEffect>
                                  </p:childTnLst>
                                </p:cTn>
                              </p:par>
                              <p:par>
                                <p:cTn id="127" presetID="35" presetClass="path" presetSubtype="0" accel="50000" decel="50000" fill="hold" grpId="1" nodeType="withEffect">
                                  <p:stCondLst>
                                    <p:cond delay="3500"/>
                                  </p:stCondLst>
                                  <p:childTnLst>
                                    <p:animMotion origin="layout" path="M 0.02006 0 L -3.54167E-6 0 " pathEditMode="relative" rAng="0" ptsTypes="AA">
                                      <p:cBhvr>
                                        <p:cTn id="128" dur="1250" fill="hold"/>
                                        <p:tgtEl>
                                          <p:spTgt spid="104"/>
                                        </p:tgtEl>
                                        <p:attrNameLst>
                                          <p:attrName>ppt_x</p:attrName>
                                          <p:attrName>ppt_y</p:attrName>
                                        </p:attrNameLst>
                                      </p:cBhvr>
                                      <p:rCtr x="-1003" y="0"/>
                                    </p:animMotion>
                                  </p:childTnLst>
                                </p:cTn>
                              </p:par>
                              <p:par>
                                <p:cTn id="129" presetID="10" presetClass="entr" presetSubtype="0" fill="hold" grpId="0" nodeType="withEffect">
                                  <p:stCondLst>
                                    <p:cond delay="3500"/>
                                  </p:stCondLst>
                                  <p:childTnLst>
                                    <p:set>
                                      <p:cBhvr>
                                        <p:cTn id="130" dur="1" fill="hold">
                                          <p:stCondLst>
                                            <p:cond delay="0"/>
                                          </p:stCondLst>
                                        </p:cTn>
                                        <p:tgtEl>
                                          <p:spTgt spid="99"/>
                                        </p:tgtEl>
                                        <p:attrNameLst>
                                          <p:attrName>style.visibility</p:attrName>
                                        </p:attrNameLst>
                                      </p:cBhvr>
                                      <p:to>
                                        <p:strVal val="visible"/>
                                      </p:to>
                                    </p:set>
                                    <p:animEffect transition="in" filter="fade">
                                      <p:cBhvr>
                                        <p:cTn id="131" dur="1250"/>
                                        <p:tgtEl>
                                          <p:spTgt spid="99"/>
                                        </p:tgtEl>
                                      </p:cBhvr>
                                    </p:animEffect>
                                  </p:childTnLst>
                                </p:cTn>
                              </p:par>
                              <p:par>
                                <p:cTn id="132" presetID="35" presetClass="path" presetSubtype="0" accel="50000" decel="50000" fill="hold" grpId="1" nodeType="withEffect">
                                  <p:stCondLst>
                                    <p:cond delay="3500"/>
                                  </p:stCondLst>
                                  <p:childTnLst>
                                    <p:animMotion origin="layout" path="M -0.01641 -2.22222E-6 L 2.29167E-6 -2.22222E-6 " pathEditMode="relative" rAng="0" ptsTypes="AA">
                                      <p:cBhvr>
                                        <p:cTn id="133" dur="1250" fill="hold"/>
                                        <p:tgtEl>
                                          <p:spTgt spid="99"/>
                                        </p:tgtEl>
                                        <p:attrNameLst>
                                          <p:attrName>ppt_x</p:attrName>
                                          <p:attrName>ppt_y</p:attrName>
                                        </p:attrNameLst>
                                      </p:cBhvr>
                                      <p:rCtr x="820" y="0"/>
                                    </p:animMotion>
                                  </p:childTnLst>
                                </p:cTn>
                              </p:par>
                              <p:par>
                                <p:cTn id="134" presetID="10" presetClass="entr" presetSubtype="0" fill="hold" grpId="0" nodeType="withEffect">
                                  <p:stCondLst>
                                    <p:cond delay="3500"/>
                                  </p:stCondLst>
                                  <p:childTnLst>
                                    <p:set>
                                      <p:cBhvr>
                                        <p:cTn id="135" dur="1" fill="hold">
                                          <p:stCondLst>
                                            <p:cond delay="0"/>
                                          </p:stCondLst>
                                        </p:cTn>
                                        <p:tgtEl>
                                          <p:spTgt spid="102"/>
                                        </p:tgtEl>
                                        <p:attrNameLst>
                                          <p:attrName>style.visibility</p:attrName>
                                        </p:attrNameLst>
                                      </p:cBhvr>
                                      <p:to>
                                        <p:strVal val="visible"/>
                                      </p:to>
                                    </p:set>
                                    <p:animEffect transition="in" filter="fade">
                                      <p:cBhvr>
                                        <p:cTn id="136" dur="1250"/>
                                        <p:tgtEl>
                                          <p:spTgt spid="102"/>
                                        </p:tgtEl>
                                      </p:cBhvr>
                                    </p:animEffect>
                                  </p:childTnLst>
                                </p:cTn>
                              </p:par>
                              <p:par>
                                <p:cTn id="137" presetID="35" presetClass="path" presetSubtype="0" accel="50000" decel="50000" fill="hold" grpId="1" nodeType="withEffect">
                                  <p:stCondLst>
                                    <p:cond delay="3500"/>
                                  </p:stCondLst>
                                  <p:childTnLst>
                                    <p:animMotion origin="layout" path="M -0.01641 -2.22222E-6 L 2.29167E-6 -2.22222E-6 " pathEditMode="relative" rAng="0" ptsTypes="AA">
                                      <p:cBhvr>
                                        <p:cTn id="138" dur="1250" fill="hold"/>
                                        <p:tgtEl>
                                          <p:spTgt spid="102"/>
                                        </p:tgtEl>
                                        <p:attrNameLst>
                                          <p:attrName>ppt_x</p:attrName>
                                          <p:attrName>ppt_y</p:attrName>
                                        </p:attrNameLst>
                                      </p:cBhvr>
                                      <p:rCtr x="820" y="0"/>
                                    </p:animMotion>
                                  </p:childTnLst>
                                </p:cTn>
                              </p:par>
                              <p:par>
                                <p:cTn id="139" presetID="10" presetClass="entr" presetSubtype="0" fill="hold" grpId="0" nodeType="withEffect">
                                  <p:stCondLst>
                                    <p:cond delay="3500"/>
                                  </p:stCondLst>
                                  <p:childTnLst>
                                    <p:set>
                                      <p:cBhvr>
                                        <p:cTn id="140" dur="1" fill="hold">
                                          <p:stCondLst>
                                            <p:cond delay="0"/>
                                          </p:stCondLst>
                                        </p:cTn>
                                        <p:tgtEl>
                                          <p:spTgt spid="105"/>
                                        </p:tgtEl>
                                        <p:attrNameLst>
                                          <p:attrName>style.visibility</p:attrName>
                                        </p:attrNameLst>
                                      </p:cBhvr>
                                      <p:to>
                                        <p:strVal val="visible"/>
                                      </p:to>
                                    </p:set>
                                    <p:animEffect transition="in" filter="fade">
                                      <p:cBhvr>
                                        <p:cTn id="141" dur="1250"/>
                                        <p:tgtEl>
                                          <p:spTgt spid="105"/>
                                        </p:tgtEl>
                                      </p:cBhvr>
                                    </p:animEffect>
                                  </p:childTnLst>
                                </p:cTn>
                              </p:par>
                              <p:par>
                                <p:cTn id="142" presetID="35" presetClass="path" presetSubtype="0" accel="50000" decel="50000" fill="hold" grpId="1" nodeType="withEffect">
                                  <p:stCondLst>
                                    <p:cond delay="3500"/>
                                  </p:stCondLst>
                                  <p:childTnLst>
                                    <p:animMotion origin="layout" path="M -0.01641 -2.22222E-6 L 2.29167E-6 -2.22222E-6 " pathEditMode="relative" rAng="0" ptsTypes="AA">
                                      <p:cBhvr>
                                        <p:cTn id="143" dur="1250" fill="hold"/>
                                        <p:tgtEl>
                                          <p:spTgt spid="105"/>
                                        </p:tgtEl>
                                        <p:attrNameLst>
                                          <p:attrName>ppt_x</p:attrName>
                                          <p:attrName>ppt_y</p:attrName>
                                        </p:attrNameLst>
                                      </p:cBhvr>
                                      <p:rCtr x="82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0" grpId="0" animBg="1"/>
      <p:bldP spid="130" grpId="1" animBg="1"/>
      <p:bldP spid="127" grpId="0" animBg="1"/>
      <p:bldP spid="127" grpId="1" animBg="1"/>
      <p:bldP spid="128" grpId="0" animBg="1"/>
      <p:bldP spid="128" grpId="1" animBg="1"/>
      <p:bldP spid="129" grpId="0" animBg="1"/>
      <p:bldP spid="129" grpId="1" animBg="1"/>
      <p:bldP spid="141" grpId="0"/>
      <p:bldP spid="142" grpId="0"/>
      <p:bldP spid="143" grpId="0"/>
      <p:bldP spid="144" grpId="0"/>
      <p:bldP spid="156" grpId="0"/>
      <p:bldP spid="157" grpId="0"/>
      <p:bldP spid="154" grpId="0"/>
      <p:bldP spid="155" grpId="0"/>
      <p:bldP spid="152" grpId="0"/>
      <p:bldP spid="153" grpId="0"/>
      <p:bldP spid="150" grpId="0"/>
      <p:bldP spid="151" grpId="0"/>
      <p:bldP spid="158" grpId="0"/>
      <p:bldP spid="159" grpId="0"/>
      <p:bldP spid="160" grpId="0"/>
      <p:bldP spid="161" grpId="0"/>
      <p:bldP spid="95" grpId="0"/>
      <p:bldP spid="95" grpId="1"/>
      <p:bldP spid="96" grpId="0"/>
      <p:bldP spid="96" grpId="1"/>
      <p:bldP spid="98" grpId="0"/>
      <p:bldP spid="98" grpId="1"/>
      <p:bldP spid="99" grpId="0"/>
      <p:bldP spid="99" grpId="1"/>
      <p:bldP spid="101" grpId="0"/>
      <p:bldP spid="101" grpId="1"/>
      <p:bldP spid="102" grpId="0"/>
      <p:bldP spid="102" grpId="1"/>
      <p:bldP spid="104" grpId="0"/>
      <p:bldP spid="104" grpId="1"/>
      <p:bldP spid="105" grpId="0"/>
      <p:bldP spid="105"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054EE3C-2D7C-4EFE-9572-AE36ECAB4A10}"/>
              </a:ext>
            </a:extLst>
          </p:cNvPr>
          <p:cNvGrpSpPr/>
          <p:nvPr/>
        </p:nvGrpSpPr>
        <p:grpSpPr>
          <a:xfrm>
            <a:off x="1248756" y="1163782"/>
            <a:ext cx="4530468" cy="4530436"/>
            <a:chOff x="1391144" y="1413164"/>
            <a:chExt cx="4245692" cy="4245662"/>
          </a:xfrm>
        </p:grpSpPr>
        <p:grpSp>
          <p:nvGrpSpPr>
            <p:cNvPr id="5" name="Group 4">
              <a:extLst>
                <a:ext uri="{FF2B5EF4-FFF2-40B4-BE49-F238E27FC236}">
                  <a16:creationId xmlns:a16="http://schemas.microsoft.com/office/drawing/2014/main" id="{F135E1EF-4EBE-47CD-91E4-60C117511562}"/>
                </a:ext>
              </a:extLst>
            </p:cNvPr>
            <p:cNvGrpSpPr/>
            <p:nvPr/>
          </p:nvGrpSpPr>
          <p:grpSpPr>
            <a:xfrm>
              <a:off x="1391144" y="1413164"/>
              <a:ext cx="4245692" cy="4245662"/>
              <a:chOff x="1106367" y="1128389"/>
              <a:chExt cx="4815246" cy="4815212"/>
            </a:xfrm>
          </p:grpSpPr>
          <p:sp>
            <p:nvSpPr>
              <p:cNvPr id="22" name="Oval 21">
                <a:extLst>
                  <a:ext uri="{FF2B5EF4-FFF2-40B4-BE49-F238E27FC236}">
                    <a16:creationId xmlns:a16="http://schemas.microsoft.com/office/drawing/2014/main" id="{44049595-851D-40A9-86AE-6F35CC30EDD8}"/>
                  </a:ext>
                </a:extLst>
              </p:cNvPr>
              <p:cNvSpPr/>
              <p:nvPr/>
            </p:nvSpPr>
            <p:spPr>
              <a:xfrm>
                <a:off x="3298878" y="3320866"/>
                <a:ext cx="2622735" cy="2622735"/>
              </a:xfrm>
              <a:prstGeom prst="ellipse">
                <a:avLst/>
              </a:prstGeom>
              <a:gradFill>
                <a:gsLst>
                  <a:gs pos="100000">
                    <a:schemeClr val="accent4">
                      <a:alpha val="75000"/>
                    </a:schemeClr>
                  </a:gs>
                  <a:gs pos="0">
                    <a:schemeClr val="accent4">
                      <a:alpha val="25000"/>
                    </a:schemeClr>
                  </a:gs>
                </a:gsLst>
                <a:lin ang="2700000" scaled="1"/>
              </a:gradFill>
              <a:ln w="25400" cap="flat">
                <a:noFill/>
                <a:prstDash val="solid"/>
                <a:round/>
              </a:ln>
            </p:spPr>
            <p:txBody>
              <a:bodyPr wrap="square" rtlCol="0" anchor="ctr" anchorCtr="0">
                <a:noAutofit/>
              </a:bodyPr>
              <a:lstStyle/>
              <a:p>
                <a:pPr algn="ctr"/>
                <a:endParaRPr lang="en-US"/>
              </a:p>
            </p:txBody>
          </p:sp>
          <p:sp>
            <p:nvSpPr>
              <p:cNvPr id="21" name="Oval 20">
                <a:extLst>
                  <a:ext uri="{FF2B5EF4-FFF2-40B4-BE49-F238E27FC236}">
                    <a16:creationId xmlns:a16="http://schemas.microsoft.com/office/drawing/2014/main" id="{6944B5A1-3E16-4BBA-912D-0A6A1FBDFCC7}"/>
                  </a:ext>
                </a:extLst>
              </p:cNvPr>
              <p:cNvSpPr/>
              <p:nvPr/>
            </p:nvSpPr>
            <p:spPr>
              <a:xfrm>
                <a:off x="3298878" y="1128389"/>
                <a:ext cx="2622735" cy="2622735"/>
              </a:xfrm>
              <a:prstGeom prst="ellipse">
                <a:avLst/>
              </a:prstGeom>
              <a:gradFill>
                <a:gsLst>
                  <a:gs pos="100000">
                    <a:schemeClr val="accent3">
                      <a:alpha val="75000"/>
                    </a:schemeClr>
                  </a:gs>
                  <a:gs pos="0">
                    <a:schemeClr val="accent3">
                      <a:alpha val="25000"/>
                    </a:schemeClr>
                  </a:gs>
                </a:gsLst>
                <a:lin ang="18900000" scaled="1"/>
              </a:gradFill>
              <a:ln w="25400" cap="flat">
                <a:noFill/>
                <a:prstDash val="solid"/>
                <a:round/>
              </a:ln>
            </p:spPr>
            <p:txBody>
              <a:bodyPr wrap="square" rtlCol="0" anchor="ctr" anchorCtr="0">
                <a:noAutofit/>
              </a:bodyPr>
              <a:lstStyle/>
              <a:p>
                <a:pPr algn="ctr"/>
                <a:endParaRPr lang="en-US"/>
              </a:p>
            </p:txBody>
          </p:sp>
          <p:sp>
            <p:nvSpPr>
              <p:cNvPr id="23" name="Oval 22">
                <a:extLst>
                  <a:ext uri="{FF2B5EF4-FFF2-40B4-BE49-F238E27FC236}">
                    <a16:creationId xmlns:a16="http://schemas.microsoft.com/office/drawing/2014/main" id="{DDFC3403-5529-4FB8-B858-4A7BD23A2CB4}"/>
                  </a:ext>
                </a:extLst>
              </p:cNvPr>
              <p:cNvSpPr/>
              <p:nvPr/>
            </p:nvSpPr>
            <p:spPr>
              <a:xfrm>
                <a:off x="1106367" y="3320866"/>
                <a:ext cx="2622735" cy="2622735"/>
              </a:xfrm>
              <a:prstGeom prst="ellipse">
                <a:avLst/>
              </a:prstGeom>
              <a:gradFill>
                <a:gsLst>
                  <a:gs pos="100000">
                    <a:schemeClr val="accent5">
                      <a:lumMod val="75000"/>
                      <a:alpha val="75000"/>
                    </a:schemeClr>
                  </a:gs>
                  <a:gs pos="0">
                    <a:schemeClr val="accent5">
                      <a:alpha val="40000"/>
                    </a:schemeClr>
                  </a:gs>
                </a:gsLst>
                <a:lin ang="8100000" scaled="1"/>
              </a:gradFill>
              <a:ln w="25400" cap="flat">
                <a:noFill/>
                <a:prstDash val="solid"/>
                <a:round/>
              </a:ln>
            </p:spPr>
            <p:txBody>
              <a:bodyPr wrap="square" rtlCol="0" anchor="ctr" anchorCtr="0">
                <a:noAutofit/>
              </a:bodyPr>
              <a:lstStyle/>
              <a:p>
                <a:pPr algn="ctr"/>
                <a:endParaRPr lang="en-US"/>
              </a:p>
            </p:txBody>
          </p:sp>
          <p:sp>
            <p:nvSpPr>
              <p:cNvPr id="25" name="Oval 24">
                <a:extLst>
                  <a:ext uri="{FF2B5EF4-FFF2-40B4-BE49-F238E27FC236}">
                    <a16:creationId xmlns:a16="http://schemas.microsoft.com/office/drawing/2014/main" id="{0E136CA7-A71C-423B-8FF6-12839A912D4C}"/>
                  </a:ext>
                </a:extLst>
              </p:cNvPr>
              <p:cNvSpPr/>
              <p:nvPr/>
            </p:nvSpPr>
            <p:spPr>
              <a:xfrm>
                <a:off x="1106367" y="1128389"/>
                <a:ext cx="2622734" cy="2622734"/>
              </a:xfrm>
              <a:prstGeom prst="ellipse">
                <a:avLst/>
              </a:prstGeom>
              <a:gradFill>
                <a:gsLst>
                  <a:gs pos="100000">
                    <a:schemeClr val="accent1">
                      <a:alpha val="75000"/>
                    </a:schemeClr>
                  </a:gs>
                  <a:gs pos="0">
                    <a:schemeClr val="accent1">
                      <a:alpha val="25000"/>
                    </a:schemeClr>
                  </a:gs>
                </a:gsLst>
                <a:lin ang="13500000" scaled="1"/>
              </a:gradFill>
              <a:ln w="25400" cap="flat">
                <a:noFill/>
                <a:prstDash val="solid"/>
                <a:round/>
              </a:ln>
            </p:spPr>
            <p:txBody>
              <a:bodyPr wrap="square" rtlCol="0" anchor="ctr" anchorCtr="0">
                <a:noAutofit/>
              </a:bodyPr>
              <a:lstStyle/>
              <a:p>
                <a:pPr algn="ctr"/>
                <a:endParaRPr lang="en-US"/>
              </a:p>
            </p:txBody>
          </p:sp>
        </p:grpSp>
        <p:grpSp>
          <p:nvGrpSpPr>
            <p:cNvPr id="6" name="Group 5">
              <a:extLst>
                <a:ext uri="{FF2B5EF4-FFF2-40B4-BE49-F238E27FC236}">
                  <a16:creationId xmlns:a16="http://schemas.microsoft.com/office/drawing/2014/main" id="{322FE52E-4873-4979-85D2-BA2889632EE6}"/>
                </a:ext>
              </a:extLst>
            </p:cNvPr>
            <p:cNvGrpSpPr/>
            <p:nvPr/>
          </p:nvGrpSpPr>
          <p:grpSpPr>
            <a:xfrm>
              <a:off x="1793893" y="2266697"/>
              <a:ext cx="3583673" cy="2538594"/>
              <a:chOff x="1793893" y="2266697"/>
              <a:chExt cx="3583673" cy="2538594"/>
            </a:xfrm>
          </p:grpSpPr>
          <p:sp>
            <p:nvSpPr>
              <p:cNvPr id="11" name="Rectangle 32">
                <a:extLst>
                  <a:ext uri="{FF2B5EF4-FFF2-40B4-BE49-F238E27FC236}">
                    <a16:creationId xmlns:a16="http://schemas.microsoft.com/office/drawing/2014/main" id="{2511F590-E717-40F9-BC90-AA40EBE4BCB8}"/>
                  </a:ext>
                </a:extLst>
              </p:cNvPr>
              <p:cNvSpPr>
                <a:spLocks noChangeArrowheads="1"/>
              </p:cNvSpPr>
              <p:nvPr/>
            </p:nvSpPr>
            <p:spPr bwMode="auto">
              <a:xfrm>
                <a:off x="1800653" y="4459174"/>
                <a:ext cx="1132691" cy="34611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algn="ctr" defTabSz="914172" eaLnBrk="0" fontAlgn="base" hangingPunct="0">
                  <a:spcBef>
                    <a:spcPct val="0"/>
                  </a:spcBef>
                  <a:spcAft>
                    <a:spcPct val="0"/>
                  </a:spcAft>
                </a:pPr>
                <a:r>
                  <a:rPr lang="en-US" altLang="en-US" sz="2400" b="1" spc="-75" dirty="0">
                    <a:solidFill>
                      <a:schemeClr val="bg1"/>
                    </a:solidFill>
                    <a:latin typeface="Montserrat" panose="00000500000000000000" pitchFamily="50" charset="0"/>
                  </a:rPr>
                  <a:t>Analyze</a:t>
                </a:r>
              </a:p>
            </p:txBody>
          </p:sp>
          <p:sp>
            <p:nvSpPr>
              <p:cNvPr id="14" name="Rectangle 32">
                <a:extLst>
                  <a:ext uri="{FF2B5EF4-FFF2-40B4-BE49-F238E27FC236}">
                    <a16:creationId xmlns:a16="http://schemas.microsoft.com/office/drawing/2014/main" id="{6371A30D-5687-447C-B293-7B22D30F11E5}"/>
                  </a:ext>
                </a:extLst>
              </p:cNvPr>
              <p:cNvSpPr>
                <a:spLocks noChangeArrowheads="1"/>
              </p:cNvSpPr>
              <p:nvPr/>
            </p:nvSpPr>
            <p:spPr bwMode="auto">
              <a:xfrm>
                <a:off x="1793893" y="2266697"/>
                <a:ext cx="1146211" cy="34611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algn="ctr" defTabSz="914172" eaLnBrk="0" fontAlgn="base" hangingPunct="0">
                  <a:spcBef>
                    <a:spcPct val="0"/>
                  </a:spcBef>
                  <a:spcAft>
                    <a:spcPct val="0"/>
                  </a:spcAft>
                </a:pPr>
                <a:r>
                  <a:rPr lang="en-US" altLang="en-US" sz="2400" b="1" spc="-75" dirty="0">
                    <a:solidFill>
                      <a:schemeClr val="bg1"/>
                    </a:solidFill>
                    <a:latin typeface="Montserrat" panose="00000500000000000000" pitchFamily="50" charset="0"/>
                  </a:rPr>
                  <a:t>Success</a:t>
                </a:r>
              </a:p>
            </p:txBody>
          </p:sp>
          <p:sp>
            <p:nvSpPr>
              <p:cNvPr id="17" name="Rectangle 32">
                <a:extLst>
                  <a:ext uri="{FF2B5EF4-FFF2-40B4-BE49-F238E27FC236}">
                    <a16:creationId xmlns:a16="http://schemas.microsoft.com/office/drawing/2014/main" id="{9A8F8E0B-5F77-44DA-9301-B69E5FD4A78C}"/>
                  </a:ext>
                </a:extLst>
              </p:cNvPr>
              <p:cNvSpPr>
                <a:spLocks noChangeArrowheads="1"/>
              </p:cNvSpPr>
              <p:nvPr/>
            </p:nvSpPr>
            <p:spPr bwMode="auto">
              <a:xfrm>
                <a:off x="3894854" y="4459174"/>
                <a:ext cx="1482712" cy="34611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algn="ctr" defTabSz="914172" eaLnBrk="0" fontAlgn="base" hangingPunct="0">
                  <a:spcBef>
                    <a:spcPct val="0"/>
                  </a:spcBef>
                  <a:spcAft>
                    <a:spcPct val="0"/>
                  </a:spcAft>
                </a:pPr>
                <a:r>
                  <a:rPr lang="en-US" altLang="en-US" sz="2400" b="1" spc="-75" dirty="0">
                    <a:solidFill>
                      <a:schemeClr val="bg1"/>
                    </a:solidFill>
                    <a:latin typeface="Montserrat" panose="00000500000000000000" pitchFamily="50" charset="0"/>
                  </a:rPr>
                  <a:t>Marketing</a:t>
                </a:r>
              </a:p>
            </p:txBody>
          </p:sp>
          <p:sp>
            <p:nvSpPr>
              <p:cNvPr id="34" name="Rectangle 32">
                <a:extLst>
                  <a:ext uri="{FF2B5EF4-FFF2-40B4-BE49-F238E27FC236}">
                    <a16:creationId xmlns:a16="http://schemas.microsoft.com/office/drawing/2014/main" id="{2FE30657-E1A9-4DD2-937D-D3A392A64F47}"/>
                  </a:ext>
                </a:extLst>
              </p:cNvPr>
              <p:cNvSpPr>
                <a:spLocks noChangeArrowheads="1"/>
              </p:cNvSpPr>
              <p:nvPr/>
            </p:nvSpPr>
            <p:spPr bwMode="auto">
              <a:xfrm>
                <a:off x="4316232" y="2266697"/>
                <a:ext cx="639956" cy="34611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algn="ctr" defTabSz="914172" eaLnBrk="0" fontAlgn="base" hangingPunct="0">
                  <a:spcBef>
                    <a:spcPct val="0"/>
                  </a:spcBef>
                  <a:spcAft>
                    <a:spcPct val="0"/>
                  </a:spcAft>
                </a:pPr>
                <a:r>
                  <a:rPr lang="en-US" altLang="en-US" sz="2400" b="1" spc="-75" dirty="0">
                    <a:solidFill>
                      <a:schemeClr val="bg1"/>
                    </a:solidFill>
                    <a:latin typeface="Montserrat" panose="00000500000000000000" pitchFamily="50" charset="0"/>
                  </a:rPr>
                  <a:t>Plan</a:t>
                </a:r>
              </a:p>
            </p:txBody>
          </p:sp>
        </p:grpSp>
        <p:sp>
          <p:nvSpPr>
            <p:cNvPr id="40" name="Oval 39">
              <a:extLst>
                <a:ext uri="{FF2B5EF4-FFF2-40B4-BE49-F238E27FC236}">
                  <a16:creationId xmlns:a16="http://schemas.microsoft.com/office/drawing/2014/main" id="{813BF8E5-6149-4E9F-AE0E-8F3DFA6E3FBA}"/>
                </a:ext>
              </a:extLst>
            </p:cNvPr>
            <p:cNvSpPr/>
            <p:nvPr/>
          </p:nvSpPr>
          <p:spPr>
            <a:xfrm>
              <a:off x="2574419" y="2596424"/>
              <a:ext cx="1879142" cy="1879142"/>
            </a:xfrm>
            <a:prstGeom prst="ellipse">
              <a:avLst/>
            </a:prstGeom>
            <a:gradFill flip="none" rotWithShape="1">
              <a:gsLst>
                <a:gs pos="0">
                  <a:schemeClr val="bg1">
                    <a:alpha val="50000"/>
                  </a:schemeClr>
                </a:gs>
                <a:gs pos="57000">
                  <a:schemeClr val="bg1"/>
                </a:gs>
              </a:gsLst>
              <a:path path="circle">
                <a:fillToRect l="50000" t="50000" r="50000" b="50000"/>
              </a:path>
              <a:tileRect/>
            </a:gradFill>
            <a:ln w="25400" cap="flat">
              <a:noFill/>
              <a:prstDash val="solid"/>
              <a:miter lim="400000"/>
            </a:ln>
            <a:effectLst/>
          </p:spPr>
          <p:txBody>
            <a:bodyPr wrap="square" lIns="0" tIns="0" rIns="0" bIns="0" numCol="1" anchor="ctr" anchorCtr="0">
              <a:noAutofit/>
            </a:bodyPr>
            <a:lstStyle/>
            <a:p>
              <a:pPr algn="ctr" defTabSz="412750" hangingPunct="0"/>
              <a:endParaRPr lang="en-US" sz="1600" b="1" kern="0">
                <a:solidFill>
                  <a:srgbClr val="FFFFFF"/>
                </a:solidFill>
                <a:latin typeface="Montserrat" panose="00000500000000000000" pitchFamily="50" charset="0"/>
              </a:endParaRPr>
            </a:p>
          </p:txBody>
        </p:sp>
        <p:sp>
          <p:nvSpPr>
            <p:cNvPr id="41" name="Rectangle 32">
              <a:extLst>
                <a:ext uri="{FF2B5EF4-FFF2-40B4-BE49-F238E27FC236}">
                  <a16:creationId xmlns:a16="http://schemas.microsoft.com/office/drawing/2014/main" id="{32C03F83-0F54-4F04-8599-5746B94A8940}"/>
                </a:ext>
              </a:extLst>
            </p:cNvPr>
            <p:cNvSpPr>
              <a:spLocks noChangeArrowheads="1"/>
            </p:cNvSpPr>
            <p:nvPr/>
          </p:nvSpPr>
          <p:spPr bwMode="auto">
            <a:xfrm>
              <a:off x="2717051" y="3152853"/>
              <a:ext cx="1593878" cy="6663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algn="ctr" defTabSz="914172" eaLnBrk="0" fontAlgn="base" hangingPunct="0">
                <a:lnSpc>
                  <a:spcPts val="2900"/>
                </a:lnSpc>
                <a:spcBef>
                  <a:spcPct val="0"/>
                </a:spcBef>
                <a:spcAft>
                  <a:spcPct val="0"/>
                </a:spcAft>
              </a:pPr>
              <a:r>
                <a:rPr lang="en-US" altLang="en-US" sz="2000" b="1" spc="-75" dirty="0">
                  <a:solidFill>
                    <a:schemeClr val="accent2"/>
                  </a:solidFill>
                  <a:latin typeface="Montserrat" panose="00000500000000000000" pitchFamily="50" charset="0"/>
                </a:rPr>
                <a:t>OUR</a:t>
              </a:r>
            </a:p>
            <a:p>
              <a:pPr algn="ctr" defTabSz="914172" eaLnBrk="0" fontAlgn="base" hangingPunct="0">
                <a:lnSpc>
                  <a:spcPts val="2900"/>
                </a:lnSpc>
                <a:spcBef>
                  <a:spcPct val="0"/>
                </a:spcBef>
                <a:spcAft>
                  <a:spcPct val="0"/>
                </a:spcAft>
              </a:pPr>
              <a:r>
                <a:rPr lang="en-US" altLang="en-US" sz="2000" b="1" spc="-75" dirty="0">
                  <a:solidFill>
                    <a:schemeClr val="accent2"/>
                  </a:solidFill>
                  <a:latin typeface="Montserrat" panose="00000500000000000000" pitchFamily="50" charset="0"/>
                </a:rPr>
                <a:t>PHILOSOPHY</a:t>
              </a:r>
            </a:p>
          </p:txBody>
        </p:sp>
      </p:grpSp>
      <p:grpSp>
        <p:nvGrpSpPr>
          <p:cNvPr id="9" name="Group 8">
            <a:extLst>
              <a:ext uri="{FF2B5EF4-FFF2-40B4-BE49-F238E27FC236}">
                <a16:creationId xmlns:a16="http://schemas.microsoft.com/office/drawing/2014/main" id="{9ECE1F1E-520C-4071-8CCD-EF7ECE356479}"/>
              </a:ext>
            </a:extLst>
          </p:cNvPr>
          <p:cNvGrpSpPr/>
          <p:nvPr/>
        </p:nvGrpSpPr>
        <p:grpSpPr>
          <a:xfrm>
            <a:off x="6920717" y="2384089"/>
            <a:ext cx="4280668" cy="2089822"/>
            <a:chOff x="7073117" y="1918576"/>
            <a:chExt cx="4280668" cy="2089822"/>
          </a:xfrm>
        </p:grpSpPr>
        <p:sp>
          <p:nvSpPr>
            <p:cNvPr id="95" name="TextBox 94">
              <a:extLst>
                <a:ext uri="{FF2B5EF4-FFF2-40B4-BE49-F238E27FC236}">
                  <a16:creationId xmlns:a16="http://schemas.microsoft.com/office/drawing/2014/main" id="{A667F950-8BBC-4DEF-A33B-BD44BB5D66E7}"/>
                </a:ext>
              </a:extLst>
            </p:cNvPr>
            <p:cNvSpPr txBox="1"/>
            <p:nvPr/>
          </p:nvSpPr>
          <p:spPr>
            <a:xfrm>
              <a:off x="7073117" y="3206832"/>
              <a:ext cx="3917898" cy="801566"/>
            </a:xfrm>
            <a:prstGeom prst="rect">
              <a:avLst/>
            </a:prstGeom>
            <a:noFill/>
          </p:spPr>
          <p:txBody>
            <a:bodyPr wrap="square" rtlCol="0">
              <a:spAutoFit/>
            </a:bodyPr>
            <a:lstStyle/>
            <a:p>
              <a:pPr>
                <a:lnSpc>
                  <a:spcPts val="1900"/>
                </a:lnSpc>
              </a:pPr>
              <a:r>
                <a:rPr lang="en-US" sz="1300" dirty="0">
                  <a:solidFill>
                    <a:schemeClr val="tx1">
                      <a:lumMod val="75000"/>
                      <a:lumOff val="25000"/>
                    </a:schemeClr>
                  </a:solidFill>
                  <a:latin typeface="Montserrat" panose="00000500000000000000" pitchFamily="50" charset="0"/>
                </a:rPr>
                <a:t>Having a great idea and assembling a team to bring that concept to life is the first step in creating a successful business venture.</a:t>
              </a:r>
            </a:p>
          </p:txBody>
        </p:sp>
        <p:sp>
          <p:nvSpPr>
            <p:cNvPr id="96" name="TextBox 95">
              <a:extLst>
                <a:ext uri="{FF2B5EF4-FFF2-40B4-BE49-F238E27FC236}">
                  <a16:creationId xmlns:a16="http://schemas.microsoft.com/office/drawing/2014/main" id="{DDE9B696-6ECA-4399-B188-5A50EBA78B47}"/>
                </a:ext>
              </a:extLst>
            </p:cNvPr>
            <p:cNvSpPr txBox="1"/>
            <p:nvPr/>
          </p:nvSpPr>
          <p:spPr>
            <a:xfrm>
              <a:off x="7073117" y="1918576"/>
              <a:ext cx="4280668" cy="1015663"/>
            </a:xfrm>
            <a:prstGeom prst="rect">
              <a:avLst/>
            </a:prstGeom>
            <a:noFill/>
          </p:spPr>
          <p:txBody>
            <a:bodyPr wrap="square" rtlCol="0">
              <a:spAutoFit/>
            </a:bodyPr>
            <a:lstStyle/>
            <a:p>
              <a:r>
                <a:rPr lang="en-US" sz="3000" b="1" dirty="0">
                  <a:solidFill>
                    <a:schemeClr val="tx2">
                      <a:lumMod val="40000"/>
                      <a:lumOff val="60000"/>
                    </a:schemeClr>
                  </a:solidFill>
                  <a:latin typeface="Montserrat" panose="00000500000000000000" pitchFamily="50" charset="0"/>
                </a:rPr>
                <a:t>THE INGREDIENTS OF ACHIEVEMENT</a:t>
              </a:r>
            </a:p>
          </p:txBody>
        </p:sp>
      </p:grpSp>
    </p:spTree>
    <p:extLst>
      <p:ext uri="{BB962C8B-B14F-4D97-AF65-F5344CB8AC3E}">
        <p14:creationId xmlns:p14="http://schemas.microsoft.com/office/powerpoint/2010/main" val="30153636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9" name="Group 108">
            <a:extLst>
              <a:ext uri="{FF2B5EF4-FFF2-40B4-BE49-F238E27FC236}">
                <a16:creationId xmlns:a16="http://schemas.microsoft.com/office/drawing/2014/main" id="{0ED73BC1-906E-43B1-BEF5-B022DA28EDCC}"/>
              </a:ext>
            </a:extLst>
          </p:cNvPr>
          <p:cNvGrpSpPr/>
          <p:nvPr/>
        </p:nvGrpSpPr>
        <p:grpSpPr>
          <a:xfrm>
            <a:off x="3992158" y="1323974"/>
            <a:ext cx="4207684" cy="4210052"/>
            <a:chOff x="2649054" y="137293"/>
            <a:chExt cx="6799627" cy="6803458"/>
          </a:xfrm>
          <a:solidFill>
            <a:schemeClr val="tx2">
              <a:lumMod val="20000"/>
              <a:lumOff val="80000"/>
            </a:schemeClr>
          </a:solidFill>
        </p:grpSpPr>
        <p:sp>
          <p:nvSpPr>
            <p:cNvPr id="110" name="Freeform: Shape 109">
              <a:extLst>
                <a:ext uri="{FF2B5EF4-FFF2-40B4-BE49-F238E27FC236}">
                  <a16:creationId xmlns:a16="http://schemas.microsoft.com/office/drawing/2014/main" id="{1B70E756-FC95-4E25-B88E-8ED27A539196}"/>
                </a:ext>
              </a:extLst>
            </p:cNvPr>
            <p:cNvSpPr/>
            <p:nvPr/>
          </p:nvSpPr>
          <p:spPr>
            <a:xfrm>
              <a:off x="2649054" y="2147808"/>
              <a:ext cx="4792940" cy="4792943"/>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adFill flip="none" rotWithShape="1">
              <a:gsLst>
                <a:gs pos="100000">
                  <a:schemeClr val="tx2">
                    <a:lumMod val="20000"/>
                    <a:lumOff val="80000"/>
                  </a:schemeClr>
                </a:gs>
                <a:gs pos="50000">
                  <a:schemeClr val="tx2">
                    <a:lumMod val="20000"/>
                    <a:lumOff val="80000"/>
                    <a:alpha val="0"/>
                  </a:schemeClr>
                </a:gs>
              </a:gsLst>
              <a:lin ang="8100000" scaled="1"/>
              <a:tileRect/>
            </a:gradFill>
            <a:ln w="25400" cap="flat">
              <a:noFill/>
              <a:prstDash val="solid"/>
              <a:round/>
            </a:ln>
          </p:spPr>
          <p:txBody>
            <a:bodyPr wrap="square" rtlCol="0" anchor="ctr">
              <a:noAutofit/>
            </a:bodyPr>
            <a:lstStyle/>
            <a:p>
              <a:endParaRPr lang="en-US"/>
            </a:p>
          </p:txBody>
        </p:sp>
        <p:sp>
          <p:nvSpPr>
            <p:cNvPr id="111" name="Freeform: Shape 110">
              <a:extLst>
                <a:ext uri="{FF2B5EF4-FFF2-40B4-BE49-F238E27FC236}">
                  <a16:creationId xmlns:a16="http://schemas.microsoft.com/office/drawing/2014/main" id="{9D29A828-4E2F-4A52-8521-1F69B4F87C75}"/>
                </a:ext>
              </a:extLst>
            </p:cNvPr>
            <p:cNvSpPr/>
            <p:nvPr/>
          </p:nvSpPr>
          <p:spPr>
            <a:xfrm>
              <a:off x="4655740" y="2147808"/>
              <a:ext cx="4792941" cy="4792943"/>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adFill flip="none" rotWithShape="1">
              <a:gsLst>
                <a:gs pos="100000">
                  <a:schemeClr val="tx2">
                    <a:lumMod val="20000"/>
                    <a:lumOff val="80000"/>
                  </a:schemeClr>
                </a:gs>
                <a:gs pos="50000">
                  <a:schemeClr val="tx2">
                    <a:lumMod val="20000"/>
                    <a:lumOff val="80000"/>
                    <a:alpha val="0"/>
                  </a:schemeClr>
                </a:gs>
              </a:gsLst>
              <a:lin ang="2700000" scaled="1"/>
              <a:tileRect/>
            </a:gradFill>
            <a:ln w="25400" cap="flat">
              <a:noFill/>
              <a:prstDash val="solid"/>
              <a:round/>
            </a:ln>
          </p:spPr>
          <p:txBody>
            <a:bodyPr wrap="square" rtlCol="0" anchor="ctr">
              <a:noAutofit/>
            </a:bodyPr>
            <a:lstStyle/>
            <a:p>
              <a:endParaRPr lang="en-US"/>
            </a:p>
          </p:txBody>
        </p:sp>
        <p:sp>
          <p:nvSpPr>
            <p:cNvPr id="112" name="Freeform: Shape 111">
              <a:extLst>
                <a:ext uri="{FF2B5EF4-FFF2-40B4-BE49-F238E27FC236}">
                  <a16:creationId xmlns:a16="http://schemas.microsoft.com/office/drawing/2014/main" id="{0068EBD6-11C8-48BF-A921-E8EAB66663FC}"/>
                </a:ext>
              </a:extLst>
            </p:cNvPr>
            <p:cNvSpPr/>
            <p:nvPr/>
          </p:nvSpPr>
          <p:spPr>
            <a:xfrm>
              <a:off x="4655740" y="137293"/>
              <a:ext cx="4792941" cy="4792943"/>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adFill flip="none" rotWithShape="1">
              <a:gsLst>
                <a:gs pos="100000">
                  <a:schemeClr val="tx2">
                    <a:lumMod val="20000"/>
                    <a:lumOff val="80000"/>
                  </a:schemeClr>
                </a:gs>
                <a:gs pos="50000">
                  <a:schemeClr val="tx2">
                    <a:lumMod val="20000"/>
                    <a:lumOff val="80000"/>
                    <a:alpha val="0"/>
                  </a:schemeClr>
                </a:gs>
              </a:gsLst>
              <a:lin ang="18900000" scaled="1"/>
              <a:tileRect/>
            </a:gradFill>
            <a:ln w="25400" cap="flat">
              <a:noFill/>
              <a:prstDash val="solid"/>
              <a:round/>
            </a:ln>
          </p:spPr>
          <p:txBody>
            <a:bodyPr wrap="square" rtlCol="0" anchor="ctr">
              <a:noAutofit/>
            </a:bodyPr>
            <a:lstStyle/>
            <a:p>
              <a:endParaRPr lang="en-US"/>
            </a:p>
          </p:txBody>
        </p:sp>
        <p:sp>
          <p:nvSpPr>
            <p:cNvPr id="113" name="Freeform: Shape 112">
              <a:extLst>
                <a:ext uri="{FF2B5EF4-FFF2-40B4-BE49-F238E27FC236}">
                  <a16:creationId xmlns:a16="http://schemas.microsoft.com/office/drawing/2014/main" id="{E03D40C0-4623-44CD-94FA-63F60A7FC415}"/>
                </a:ext>
              </a:extLst>
            </p:cNvPr>
            <p:cNvSpPr/>
            <p:nvPr/>
          </p:nvSpPr>
          <p:spPr>
            <a:xfrm>
              <a:off x="2649054" y="137293"/>
              <a:ext cx="4792941" cy="4792944"/>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adFill flip="none" rotWithShape="1">
              <a:gsLst>
                <a:gs pos="100000">
                  <a:schemeClr val="tx2">
                    <a:lumMod val="20000"/>
                    <a:lumOff val="80000"/>
                  </a:schemeClr>
                </a:gs>
                <a:gs pos="50000">
                  <a:schemeClr val="tx2">
                    <a:lumMod val="20000"/>
                    <a:lumOff val="80000"/>
                    <a:alpha val="0"/>
                  </a:schemeClr>
                </a:gs>
              </a:gsLst>
              <a:lin ang="13500000" scaled="1"/>
              <a:tileRect/>
            </a:gradFill>
            <a:ln w="25400" cap="flat">
              <a:noFill/>
              <a:prstDash val="solid"/>
              <a:round/>
            </a:ln>
          </p:spPr>
          <p:txBody>
            <a:bodyPr wrap="square" rtlCol="0" anchor="ctr">
              <a:noAutofit/>
            </a:bodyPr>
            <a:lstStyle/>
            <a:p>
              <a:endParaRPr lang="en-US"/>
            </a:p>
          </p:txBody>
        </p:sp>
      </p:grpSp>
      <p:sp>
        <p:nvSpPr>
          <p:cNvPr id="8" name="TextBox 7">
            <a:extLst>
              <a:ext uri="{FF2B5EF4-FFF2-40B4-BE49-F238E27FC236}">
                <a16:creationId xmlns:a16="http://schemas.microsoft.com/office/drawing/2014/main" id="{083178D7-B24F-4B4B-BB2C-E049C3588819}"/>
              </a:ext>
            </a:extLst>
          </p:cNvPr>
          <p:cNvSpPr txBox="1"/>
          <p:nvPr/>
        </p:nvSpPr>
        <p:spPr>
          <a:xfrm rot="18900000">
            <a:off x="5814352" y="1568032"/>
            <a:ext cx="2143571" cy="2138041"/>
          </a:xfrm>
          <a:prstGeom prst="rect">
            <a:avLst/>
          </a:prstGeom>
          <a:noFill/>
        </p:spPr>
        <p:txBody>
          <a:bodyPr wrap="none" rtlCol="0">
            <a:prstTxWarp prst="textCircle">
              <a:avLst/>
            </a:prstTxWarp>
            <a:spAutoFit/>
          </a:bodyPr>
          <a:lstStyle/>
          <a:p>
            <a:pPr algn="ctr"/>
            <a:r>
              <a:rPr lang="en-US" sz="1100" dirty="0">
                <a:solidFill>
                  <a:schemeClr val="tx2">
                    <a:lumMod val="60000"/>
                    <a:lumOff val="40000"/>
                  </a:schemeClr>
                </a:solidFill>
                <a:latin typeface="Montserrat" panose="00000500000000000000" pitchFamily="50" charset="0"/>
              </a:rPr>
              <a:t>WHAT YOU LOVE</a:t>
            </a:r>
          </a:p>
        </p:txBody>
      </p:sp>
      <p:sp>
        <p:nvSpPr>
          <p:cNvPr id="114" name="TextBox 113">
            <a:extLst>
              <a:ext uri="{FF2B5EF4-FFF2-40B4-BE49-F238E27FC236}">
                <a16:creationId xmlns:a16="http://schemas.microsoft.com/office/drawing/2014/main" id="{0499A96C-850D-427D-88FA-459FC1EF87FE}"/>
              </a:ext>
            </a:extLst>
          </p:cNvPr>
          <p:cNvSpPr txBox="1"/>
          <p:nvPr/>
        </p:nvSpPr>
        <p:spPr>
          <a:xfrm rot="13500000">
            <a:off x="4233472" y="1568029"/>
            <a:ext cx="2143570" cy="2138045"/>
          </a:xfrm>
          <a:prstGeom prst="rect">
            <a:avLst/>
          </a:prstGeom>
          <a:noFill/>
        </p:spPr>
        <p:txBody>
          <a:bodyPr wrap="none" rtlCol="0">
            <a:prstTxWarp prst="textCircle">
              <a:avLst/>
            </a:prstTxWarp>
            <a:spAutoFit/>
          </a:bodyPr>
          <a:lstStyle/>
          <a:p>
            <a:pPr algn="ctr"/>
            <a:r>
              <a:rPr lang="en-US" sz="1100" dirty="0">
                <a:solidFill>
                  <a:schemeClr val="tx2">
                    <a:lumMod val="60000"/>
                    <a:lumOff val="40000"/>
                  </a:schemeClr>
                </a:solidFill>
                <a:latin typeface="Montserrat" panose="00000500000000000000" pitchFamily="50" charset="0"/>
              </a:rPr>
              <a:t>WHAT YOU LOVE</a:t>
            </a:r>
          </a:p>
        </p:txBody>
      </p:sp>
      <p:sp>
        <p:nvSpPr>
          <p:cNvPr id="116" name="TextBox 115">
            <a:extLst>
              <a:ext uri="{FF2B5EF4-FFF2-40B4-BE49-F238E27FC236}">
                <a16:creationId xmlns:a16="http://schemas.microsoft.com/office/drawing/2014/main" id="{1895B569-2ED5-4FBF-ABC3-2479550D5DCB}"/>
              </a:ext>
            </a:extLst>
          </p:cNvPr>
          <p:cNvSpPr txBox="1"/>
          <p:nvPr/>
        </p:nvSpPr>
        <p:spPr>
          <a:xfrm rot="18900000">
            <a:off x="5761949" y="3099657"/>
            <a:ext cx="2248378" cy="2242580"/>
          </a:xfrm>
          <a:prstGeom prst="rect">
            <a:avLst/>
          </a:prstGeom>
          <a:noFill/>
        </p:spPr>
        <p:txBody>
          <a:bodyPr wrap="none" rtlCol="0">
            <a:prstTxWarp prst="textArchDown">
              <a:avLst/>
            </a:prstTxWarp>
            <a:spAutoFit/>
          </a:bodyPr>
          <a:lstStyle/>
          <a:p>
            <a:pPr algn="ctr"/>
            <a:r>
              <a:rPr lang="en-US" sz="1100" dirty="0">
                <a:solidFill>
                  <a:schemeClr val="tx2">
                    <a:lumMod val="60000"/>
                    <a:lumOff val="40000"/>
                  </a:schemeClr>
                </a:solidFill>
                <a:latin typeface="Montserrat" panose="00000500000000000000" pitchFamily="50" charset="0"/>
              </a:rPr>
              <a:t>WHAT YOU LOVE</a:t>
            </a:r>
          </a:p>
        </p:txBody>
      </p:sp>
      <p:sp>
        <p:nvSpPr>
          <p:cNvPr id="117" name="TextBox 116">
            <a:extLst>
              <a:ext uri="{FF2B5EF4-FFF2-40B4-BE49-F238E27FC236}">
                <a16:creationId xmlns:a16="http://schemas.microsoft.com/office/drawing/2014/main" id="{C1712995-1AFA-4B8F-96EE-76CCF3A23C84}"/>
              </a:ext>
            </a:extLst>
          </p:cNvPr>
          <p:cNvSpPr txBox="1"/>
          <p:nvPr/>
        </p:nvSpPr>
        <p:spPr>
          <a:xfrm rot="2700000">
            <a:off x="4181068" y="3099657"/>
            <a:ext cx="2248381" cy="2242582"/>
          </a:xfrm>
          <a:prstGeom prst="rect">
            <a:avLst/>
          </a:prstGeom>
          <a:noFill/>
        </p:spPr>
        <p:txBody>
          <a:bodyPr wrap="none" rtlCol="0">
            <a:prstTxWarp prst="textArchDown">
              <a:avLst/>
            </a:prstTxWarp>
            <a:spAutoFit/>
          </a:bodyPr>
          <a:lstStyle/>
          <a:p>
            <a:pPr algn="ctr"/>
            <a:r>
              <a:rPr lang="en-US" sz="1100" dirty="0">
                <a:solidFill>
                  <a:schemeClr val="tx2">
                    <a:lumMod val="60000"/>
                    <a:lumOff val="40000"/>
                  </a:schemeClr>
                </a:solidFill>
                <a:latin typeface="Montserrat" panose="00000500000000000000" pitchFamily="50" charset="0"/>
              </a:rPr>
              <a:t>WHAT YOU LOVE</a:t>
            </a:r>
          </a:p>
        </p:txBody>
      </p:sp>
      <p:sp>
        <p:nvSpPr>
          <p:cNvPr id="105" name="Freeform: Shape 104">
            <a:extLst>
              <a:ext uri="{FF2B5EF4-FFF2-40B4-BE49-F238E27FC236}">
                <a16:creationId xmlns:a16="http://schemas.microsoft.com/office/drawing/2014/main" id="{2E9A21C1-3B66-433E-B30F-BB674E56F52B}"/>
              </a:ext>
            </a:extLst>
          </p:cNvPr>
          <p:cNvSpPr/>
          <p:nvPr/>
        </p:nvSpPr>
        <p:spPr>
          <a:xfrm>
            <a:off x="5530857" y="2865041"/>
            <a:ext cx="2372045" cy="2372043"/>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adFill>
            <a:gsLst>
              <a:gs pos="100000">
                <a:schemeClr val="accent4">
                  <a:alpha val="75000"/>
                </a:schemeClr>
              </a:gs>
              <a:gs pos="0">
                <a:schemeClr val="accent4">
                  <a:alpha val="25000"/>
                </a:schemeClr>
              </a:gs>
            </a:gsLst>
            <a:lin ang="2700000" scaled="1"/>
          </a:gradFill>
          <a:ln w="25400" cap="flat">
            <a:noFill/>
            <a:prstDash val="solid"/>
            <a:round/>
          </a:ln>
        </p:spPr>
        <p:txBody>
          <a:bodyPr wrap="square" rtlCol="0" anchor="ctr">
            <a:noAutofit/>
          </a:bodyPr>
          <a:lstStyle/>
          <a:p>
            <a:endParaRPr lang="en-US"/>
          </a:p>
        </p:txBody>
      </p:sp>
      <p:sp>
        <p:nvSpPr>
          <p:cNvPr id="107" name="Freeform: Shape 106">
            <a:extLst>
              <a:ext uri="{FF2B5EF4-FFF2-40B4-BE49-F238E27FC236}">
                <a16:creationId xmlns:a16="http://schemas.microsoft.com/office/drawing/2014/main" id="{7003283F-7BE9-462F-8565-E2D837BE7CFA}"/>
              </a:ext>
            </a:extLst>
          </p:cNvPr>
          <p:cNvSpPr/>
          <p:nvPr/>
        </p:nvSpPr>
        <p:spPr>
          <a:xfrm>
            <a:off x="4289097" y="2865041"/>
            <a:ext cx="2372045" cy="2372043"/>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adFill>
            <a:gsLst>
              <a:gs pos="100000">
                <a:schemeClr val="accent5">
                  <a:lumMod val="75000"/>
                  <a:alpha val="80000"/>
                </a:schemeClr>
              </a:gs>
              <a:gs pos="0">
                <a:schemeClr val="accent5">
                  <a:alpha val="40000"/>
                </a:schemeClr>
              </a:gs>
            </a:gsLst>
            <a:lin ang="8100000" scaled="1"/>
          </a:gradFill>
          <a:ln w="25400" cap="flat">
            <a:noFill/>
            <a:prstDash val="solid"/>
            <a:round/>
          </a:ln>
        </p:spPr>
        <p:txBody>
          <a:bodyPr wrap="square" rtlCol="0" anchor="ctr">
            <a:noAutofit/>
          </a:bodyPr>
          <a:lstStyle/>
          <a:p>
            <a:endParaRPr lang="en-US"/>
          </a:p>
        </p:txBody>
      </p:sp>
      <p:sp>
        <p:nvSpPr>
          <p:cNvPr id="108" name="Freeform: Shape 107">
            <a:extLst>
              <a:ext uri="{FF2B5EF4-FFF2-40B4-BE49-F238E27FC236}">
                <a16:creationId xmlns:a16="http://schemas.microsoft.com/office/drawing/2014/main" id="{C3BB6253-3DF0-4E89-BFDC-3C72838BDE9A}"/>
              </a:ext>
            </a:extLst>
          </p:cNvPr>
          <p:cNvSpPr/>
          <p:nvPr/>
        </p:nvSpPr>
        <p:spPr>
          <a:xfrm>
            <a:off x="5530857" y="1620914"/>
            <a:ext cx="2372045" cy="2372043"/>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adFill>
            <a:gsLst>
              <a:gs pos="100000">
                <a:schemeClr val="accent3">
                  <a:alpha val="75000"/>
                </a:schemeClr>
              </a:gs>
              <a:gs pos="0">
                <a:schemeClr val="accent3">
                  <a:alpha val="25000"/>
                </a:schemeClr>
              </a:gs>
            </a:gsLst>
            <a:lin ang="18900000" scaled="1"/>
          </a:gradFill>
          <a:ln w="25400" cap="flat">
            <a:noFill/>
            <a:prstDash val="solid"/>
            <a:round/>
          </a:ln>
        </p:spPr>
        <p:txBody>
          <a:bodyPr wrap="square" rtlCol="0" anchor="ctr">
            <a:noAutofit/>
          </a:bodyPr>
          <a:lstStyle/>
          <a:p>
            <a:endParaRPr lang="en-US"/>
          </a:p>
        </p:txBody>
      </p:sp>
      <p:sp>
        <p:nvSpPr>
          <p:cNvPr id="106" name="Freeform: Shape 105">
            <a:extLst>
              <a:ext uri="{FF2B5EF4-FFF2-40B4-BE49-F238E27FC236}">
                <a16:creationId xmlns:a16="http://schemas.microsoft.com/office/drawing/2014/main" id="{9498829B-422C-4556-BB1F-781E035E1527}"/>
              </a:ext>
            </a:extLst>
          </p:cNvPr>
          <p:cNvSpPr/>
          <p:nvPr/>
        </p:nvSpPr>
        <p:spPr>
          <a:xfrm>
            <a:off x="4289097" y="1620914"/>
            <a:ext cx="2372045" cy="2372043"/>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adFill>
            <a:gsLst>
              <a:gs pos="100000">
                <a:schemeClr val="accent1">
                  <a:alpha val="75000"/>
                </a:schemeClr>
              </a:gs>
              <a:gs pos="0">
                <a:schemeClr val="accent1">
                  <a:alpha val="25000"/>
                </a:schemeClr>
              </a:gs>
            </a:gsLst>
            <a:lin ang="13500000" scaled="1"/>
          </a:gradFill>
          <a:ln w="25400" cap="flat">
            <a:noFill/>
            <a:prstDash val="solid"/>
            <a:round/>
          </a:ln>
        </p:spPr>
        <p:txBody>
          <a:bodyPr wrap="square" rtlCol="0" anchor="ctr">
            <a:noAutofit/>
          </a:bodyPr>
          <a:lstStyle/>
          <a:p>
            <a:endParaRPr lang="en-US"/>
          </a:p>
        </p:txBody>
      </p:sp>
      <p:grpSp>
        <p:nvGrpSpPr>
          <p:cNvPr id="118" name="Group 117">
            <a:extLst>
              <a:ext uri="{FF2B5EF4-FFF2-40B4-BE49-F238E27FC236}">
                <a16:creationId xmlns:a16="http://schemas.microsoft.com/office/drawing/2014/main" id="{3A17118A-E97F-4405-996F-51AECF96F3B1}"/>
              </a:ext>
            </a:extLst>
          </p:cNvPr>
          <p:cNvGrpSpPr/>
          <p:nvPr/>
        </p:nvGrpSpPr>
        <p:grpSpPr>
          <a:xfrm>
            <a:off x="4523055" y="1853522"/>
            <a:ext cx="3146130" cy="3150959"/>
            <a:chOff x="4394688" y="1723747"/>
            <a:chExt cx="3405284" cy="3410510"/>
          </a:xfrm>
        </p:grpSpPr>
        <p:sp>
          <p:nvSpPr>
            <p:cNvPr id="119" name="TextBox 118">
              <a:extLst>
                <a:ext uri="{FF2B5EF4-FFF2-40B4-BE49-F238E27FC236}">
                  <a16:creationId xmlns:a16="http://schemas.microsoft.com/office/drawing/2014/main" id="{59FCC59A-4819-48A7-A090-59050BEE845D}"/>
                </a:ext>
              </a:extLst>
            </p:cNvPr>
            <p:cNvSpPr txBox="1"/>
            <p:nvPr/>
          </p:nvSpPr>
          <p:spPr>
            <a:xfrm rot="18900000">
              <a:off x="5736074" y="1726406"/>
              <a:ext cx="2063898" cy="2058578"/>
            </a:xfrm>
            <a:prstGeom prst="rect">
              <a:avLst/>
            </a:prstGeom>
            <a:noFill/>
          </p:spPr>
          <p:txBody>
            <a:bodyPr wrap="none" rtlCol="0">
              <a:prstTxWarp prst="textCircle">
                <a:avLst/>
              </a:prstTxWarp>
              <a:spAutoFit/>
            </a:bodyPr>
            <a:lstStyle/>
            <a:p>
              <a:pPr algn="ctr"/>
              <a:r>
                <a:rPr lang="en-US" sz="1500" b="1" dirty="0">
                  <a:solidFill>
                    <a:schemeClr val="bg1"/>
                  </a:solidFill>
                  <a:latin typeface="Montserrat" panose="00000500000000000000" pitchFamily="50" charset="0"/>
                </a:rPr>
                <a:t>Planning</a:t>
              </a:r>
            </a:p>
          </p:txBody>
        </p:sp>
        <p:sp>
          <p:nvSpPr>
            <p:cNvPr id="120" name="TextBox 119">
              <a:extLst>
                <a:ext uri="{FF2B5EF4-FFF2-40B4-BE49-F238E27FC236}">
                  <a16:creationId xmlns:a16="http://schemas.microsoft.com/office/drawing/2014/main" id="{E661E93A-1A42-4735-AAA0-DD268B71FCD5}"/>
                </a:ext>
              </a:extLst>
            </p:cNvPr>
            <p:cNvSpPr txBox="1"/>
            <p:nvPr/>
          </p:nvSpPr>
          <p:spPr>
            <a:xfrm rot="13500000">
              <a:off x="4392028" y="1726407"/>
              <a:ext cx="2063896" cy="2058576"/>
            </a:xfrm>
            <a:prstGeom prst="rect">
              <a:avLst/>
            </a:prstGeom>
            <a:noFill/>
          </p:spPr>
          <p:txBody>
            <a:bodyPr wrap="none" rtlCol="0">
              <a:prstTxWarp prst="textCircle">
                <a:avLst/>
              </a:prstTxWarp>
              <a:spAutoFit/>
            </a:bodyPr>
            <a:lstStyle/>
            <a:p>
              <a:pPr algn="ctr"/>
              <a:r>
                <a:rPr lang="en-US" sz="1500" b="1" dirty="0">
                  <a:solidFill>
                    <a:schemeClr val="bg1"/>
                  </a:solidFill>
                  <a:latin typeface="Montserrat" panose="00000500000000000000" pitchFamily="50" charset="0"/>
                </a:rPr>
                <a:t>Successful</a:t>
              </a:r>
            </a:p>
          </p:txBody>
        </p:sp>
        <p:sp>
          <p:nvSpPr>
            <p:cNvPr id="121" name="TextBox 120">
              <a:extLst>
                <a:ext uri="{FF2B5EF4-FFF2-40B4-BE49-F238E27FC236}">
                  <a16:creationId xmlns:a16="http://schemas.microsoft.com/office/drawing/2014/main" id="{154B769F-7BA5-4EFD-9A61-04EABB0F45FF}"/>
                </a:ext>
              </a:extLst>
            </p:cNvPr>
            <p:cNvSpPr txBox="1"/>
            <p:nvPr/>
          </p:nvSpPr>
          <p:spPr>
            <a:xfrm rot="18900000">
              <a:off x="5736074" y="3073016"/>
              <a:ext cx="2063898" cy="2058578"/>
            </a:xfrm>
            <a:prstGeom prst="rect">
              <a:avLst/>
            </a:prstGeom>
            <a:noFill/>
          </p:spPr>
          <p:txBody>
            <a:bodyPr wrap="none" rtlCol="0">
              <a:prstTxWarp prst="textArchDown">
                <a:avLst/>
              </a:prstTxWarp>
              <a:spAutoFit/>
            </a:bodyPr>
            <a:lstStyle/>
            <a:p>
              <a:pPr algn="ctr"/>
              <a:r>
                <a:rPr lang="en-US" sz="1500" b="1" dirty="0">
                  <a:solidFill>
                    <a:schemeClr val="bg1"/>
                  </a:solidFill>
                  <a:latin typeface="Montserrat" panose="00000500000000000000" pitchFamily="50" charset="0"/>
                </a:rPr>
                <a:t>Marketing</a:t>
              </a:r>
            </a:p>
          </p:txBody>
        </p:sp>
        <p:sp>
          <p:nvSpPr>
            <p:cNvPr id="122" name="TextBox 121">
              <a:extLst>
                <a:ext uri="{FF2B5EF4-FFF2-40B4-BE49-F238E27FC236}">
                  <a16:creationId xmlns:a16="http://schemas.microsoft.com/office/drawing/2014/main" id="{AADE67CC-757F-4C6D-A68D-8CF951921818}"/>
                </a:ext>
              </a:extLst>
            </p:cNvPr>
            <p:cNvSpPr txBox="1"/>
            <p:nvPr/>
          </p:nvSpPr>
          <p:spPr>
            <a:xfrm rot="2700000">
              <a:off x="4392025" y="3073016"/>
              <a:ext cx="2063904" cy="2058578"/>
            </a:xfrm>
            <a:prstGeom prst="rect">
              <a:avLst/>
            </a:prstGeom>
            <a:noFill/>
          </p:spPr>
          <p:txBody>
            <a:bodyPr wrap="none" rtlCol="0">
              <a:prstTxWarp prst="textArchDown">
                <a:avLst/>
              </a:prstTxWarp>
              <a:spAutoFit/>
            </a:bodyPr>
            <a:lstStyle/>
            <a:p>
              <a:pPr algn="ctr"/>
              <a:r>
                <a:rPr lang="en-US" sz="1500" b="1" dirty="0">
                  <a:solidFill>
                    <a:schemeClr val="bg1"/>
                  </a:solidFill>
                  <a:latin typeface="Montserrat" panose="00000500000000000000" pitchFamily="50" charset="0"/>
                </a:rPr>
                <a:t>Analyze</a:t>
              </a:r>
            </a:p>
          </p:txBody>
        </p:sp>
      </p:grpSp>
      <p:sp>
        <p:nvSpPr>
          <p:cNvPr id="123" name="Freeform: Shape 122">
            <a:extLst>
              <a:ext uri="{FF2B5EF4-FFF2-40B4-BE49-F238E27FC236}">
                <a16:creationId xmlns:a16="http://schemas.microsoft.com/office/drawing/2014/main" id="{1D34F21A-F439-4C1F-8D25-345DDDD5A012}"/>
              </a:ext>
            </a:extLst>
          </p:cNvPr>
          <p:cNvSpPr/>
          <p:nvPr/>
        </p:nvSpPr>
        <p:spPr>
          <a:xfrm>
            <a:off x="4980082" y="3274997"/>
            <a:ext cx="308003" cy="308003"/>
          </a:xfrm>
          <a:custGeom>
            <a:avLst/>
            <a:gdLst>
              <a:gd name="connsiteX0" fmla="*/ 2188333 w 2184766"/>
              <a:gd name="connsiteY0" fmla="*/ 899200 h 2184766"/>
              <a:gd name="connsiteX1" fmla="*/ 1932376 w 2184766"/>
              <a:gd name="connsiteY1" fmla="*/ 900707 h 2184766"/>
              <a:gd name="connsiteX2" fmla="*/ 1911784 w 2184766"/>
              <a:gd name="connsiteY2" fmla="*/ 885577 h 2184766"/>
              <a:gd name="connsiteX3" fmla="*/ 1745290 w 2184766"/>
              <a:gd name="connsiteY3" fmla="*/ 774518 h 2184766"/>
              <a:gd name="connsiteX4" fmla="*/ 1674473 w 2184766"/>
              <a:gd name="connsiteY4" fmla="*/ 786446 h 2184766"/>
              <a:gd name="connsiteX5" fmla="*/ 1644338 w 2184766"/>
              <a:gd name="connsiteY5" fmla="*/ 780921 h 2184766"/>
              <a:gd name="connsiteX6" fmla="*/ 1537298 w 2184766"/>
              <a:gd name="connsiteY6" fmla="*/ 673755 h 2184766"/>
              <a:gd name="connsiteX7" fmla="*/ 1531773 w 2184766"/>
              <a:gd name="connsiteY7" fmla="*/ 647324 h 2184766"/>
              <a:gd name="connsiteX8" fmla="*/ 1402319 w 2184766"/>
              <a:gd name="connsiteY8" fmla="*/ 396076 h 2184766"/>
              <a:gd name="connsiteX9" fmla="*/ 1168901 w 2184766"/>
              <a:gd name="connsiteY9" fmla="*/ 557673 h 2184766"/>
              <a:gd name="connsiteX10" fmla="*/ 1181018 w 2184766"/>
              <a:gd name="connsiteY10" fmla="*/ 649396 h 2184766"/>
              <a:gd name="connsiteX11" fmla="*/ 1176183 w 2184766"/>
              <a:gd name="connsiteY11" fmla="*/ 672248 h 2184766"/>
              <a:gd name="connsiteX12" fmla="*/ 1064496 w 2184766"/>
              <a:gd name="connsiteY12" fmla="*/ 783872 h 2184766"/>
              <a:gd name="connsiteX13" fmla="*/ 1041518 w 2184766"/>
              <a:gd name="connsiteY13" fmla="*/ 788078 h 2184766"/>
              <a:gd name="connsiteX14" fmla="*/ 902585 w 2184766"/>
              <a:gd name="connsiteY14" fmla="*/ 788141 h 2184766"/>
              <a:gd name="connsiteX15" fmla="*/ 873455 w 2184766"/>
              <a:gd name="connsiteY15" fmla="*/ 777971 h 2184766"/>
              <a:gd name="connsiteX16" fmla="*/ 616933 w 2184766"/>
              <a:gd name="connsiteY16" fmla="*/ 521512 h 2184766"/>
              <a:gd name="connsiteX17" fmla="*/ 587552 w 2184766"/>
              <a:gd name="connsiteY17" fmla="*/ 526534 h 2184766"/>
              <a:gd name="connsiteX18" fmla="*/ 559049 w 2184766"/>
              <a:gd name="connsiteY18" fmla="*/ 606831 h 2184766"/>
              <a:gd name="connsiteX19" fmla="*/ 569534 w 2184766"/>
              <a:gd name="connsiteY19" fmla="*/ 648329 h 2184766"/>
              <a:gd name="connsiteX20" fmla="*/ 784369 w 2184766"/>
              <a:gd name="connsiteY20" fmla="*/ 862034 h 2184766"/>
              <a:gd name="connsiteX21" fmla="*/ 793661 w 2184766"/>
              <a:gd name="connsiteY21" fmla="*/ 902653 h 2184766"/>
              <a:gd name="connsiteX22" fmla="*/ 952244 w 2184766"/>
              <a:gd name="connsiteY22" fmla="*/ 1150637 h 2184766"/>
              <a:gd name="connsiteX23" fmla="*/ 1154586 w 2184766"/>
              <a:gd name="connsiteY23" fmla="*/ 1010447 h 2184766"/>
              <a:gd name="connsiteX24" fmla="*/ 1149313 w 2184766"/>
              <a:gd name="connsiteY24" fmla="*/ 899640 h 2184766"/>
              <a:gd name="connsiteX25" fmla="*/ 1157223 w 2184766"/>
              <a:gd name="connsiteY25" fmla="*/ 864420 h 2184766"/>
              <a:gd name="connsiteX26" fmla="*/ 1259870 w 2184766"/>
              <a:gd name="connsiteY26" fmla="*/ 761899 h 2184766"/>
              <a:gd name="connsiteX27" fmla="*/ 1289879 w 2184766"/>
              <a:gd name="connsiteY27" fmla="*/ 755621 h 2184766"/>
              <a:gd name="connsiteX28" fmla="*/ 1422849 w 2184766"/>
              <a:gd name="connsiteY28" fmla="*/ 755370 h 2184766"/>
              <a:gd name="connsiteX29" fmla="*/ 1452670 w 2184766"/>
              <a:gd name="connsiteY29" fmla="*/ 762401 h 2184766"/>
              <a:gd name="connsiteX30" fmla="*/ 1556822 w 2184766"/>
              <a:gd name="connsiteY30" fmla="*/ 866429 h 2184766"/>
              <a:gd name="connsiteX31" fmla="*/ 1563226 w 2184766"/>
              <a:gd name="connsiteY31" fmla="*/ 898258 h 2184766"/>
              <a:gd name="connsiteX32" fmla="*/ 1666751 w 2184766"/>
              <a:gd name="connsiteY32" fmla="*/ 1137201 h 2184766"/>
              <a:gd name="connsiteX33" fmla="*/ 1908959 w 2184766"/>
              <a:gd name="connsiteY33" fmla="*/ 1046170 h 2184766"/>
              <a:gd name="connsiteX34" fmla="*/ 1941291 w 2184766"/>
              <a:gd name="connsiteY34" fmla="*/ 1025389 h 2184766"/>
              <a:gd name="connsiteX35" fmla="*/ 2146144 w 2184766"/>
              <a:gd name="connsiteY35" fmla="*/ 1025515 h 2184766"/>
              <a:gd name="connsiteX36" fmla="*/ 2162781 w 2184766"/>
              <a:gd name="connsiteY36" fmla="*/ 1046609 h 2184766"/>
              <a:gd name="connsiteX37" fmla="*/ 1899479 w 2184766"/>
              <a:gd name="connsiteY37" fmla="*/ 1466674 h 2184766"/>
              <a:gd name="connsiteX38" fmla="*/ 1498123 w 2184766"/>
              <a:gd name="connsiteY38" fmla="*/ 1657465 h 2184766"/>
              <a:gd name="connsiteX39" fmla="*/ 1222390 w 2184766"/>
              <a:gd name="connsiteY39" fmla="*/ 1658657 h 2184766"/>
              <a:gd name="connsiteX40" fmla="*/ 768486 w 2184766"/>
              <a:gd name="connsiteY40" fmla="*/ 1426558 h 2184766"/>
              <a:gd name="connsiteX41" fmla="*/ 530924 w 2184766"/>
              <a:gd name="connsiteY41" fmla="*/ 957335 h 2184766"/>
              <a:gd name="connsiteX42" fmla="*/ 542601 w 2184766"/>
              <a:gd name="connsiteY42" fmla="*/ 650526 h 2184766"/>
              <a:gd name="connsiteX43" fmla="*/ 532933 w 2184766"/>
              <a:gd name="connsiteY43" fmla="*/ 618006 h 2184766"/>
              <a:gd name="connsiteX44" fmla="*/ 425829 w 2184766"/>
              <a:gd name="connsiteY44" fmla="*/ 510839 h 2184766"/>
              <a:gd name="connsiteX45" fmla="*/ 397892 w 2184766"/>
              <a:gd name="connsiteY45" fmla="*/ 505252 h 2184766"/>
              <a:gd name="connsiteX46" fmla="*/ 158258 w 2184766"/>
              <a:gd name="connsiteY46" fmla="*/ 408569 h 2184766"/>
              <a:gd name="connsiteX47" fmla="*/ 125800 w 2184766"/>
              <a:gd name="connsiteY47" fmla="*/ 388166 h 2184766"/>
              <a:gd name="connsiteX48" fmla="*/ 21271 w 2184766"/>
              <a:gd name="connsiteY48" fmla="*/ 388668 h 2184766"/>
              <a:gd name="connsiteX49" fmla="*/ 1432 w 2184766"/>
              <a:gd name="connsiteY49" fmla="*/ 368641 h 2184766"/>
              <a:gd name="connsiteX50" fmla="*/ 1432 w 2184766"/>
              <a:gd name="connsiteY50" fmla="*/ 276918 h 2184766"/>
              <a:gd name="connsiteX51" fmla="*/ 21836 w 2184766"/>
              <a:gd name="connsiteY51" fmla="*/ 257456 h 2184766"/>
              <a:gd name="connsiteX52" fmla="*/ 128500 w 2184766"/>
              <a:gd name="connsiteY52" fmla="*/ 257833 h 2184766"/>
              <a:gd name="connsiteX53" fmla="*/ 156563 w 2184766"/>
              <a:gd name="connsiteY53" fmla="*/ 240882 h 2184766"/>
              <a:gd name="connsiteX54" fmla="*/ 486098 w 2184766"/>
              <a:gd name="connsiteY54" fmla="*/ 206165 h 2184766"/>
              <a:gd name="connsiteX55" fmla="*/ 514412 w 2184766"/>
              <a:gd name="connsiteY55" fmla="*/ 387726 h 2184766"/>
              <a:gd name="connsiteX56" fmla="*/ 521381 w 2184766"/>
              <a:gd name="connsiteY56" fmla="*/ 419117 h 2184766"/>
              <a:gd name="connsiteX57" fmla="*/ 581651 w 2184766"/>
              <a:gd name="connsiteY57" fmla="*/ 479512 h 2184766"/>
              <a:gd name="connsiteX58" fmla="*/ 604942 w 2184766"/>
              <a:gd name="connsiteY58" fmla="*/ 474929 h 2184766"/>
              <a:gd name="connsiteX59" fmla="*/ 778970 w 2184766"/>
              <a:gd name="connsiteY59" fmla="*/ 234290 h 2184766"/>
              <a:gd name="connsiteX60" fmla="*/ 1200668 w 2184766"/>
              <a:gd name="connsiteY60" fmla="*/ 15563 h 2184766"/>
              <a:gd name="connsiteX61" fmla="*/ 1753702 w 2184766"/>
              <a:gd name="connsiteY61" fmla="*/ 102514 h 2184766"/>
              <a:gd name="connsiteX62" fmla="*/ 2168055 w 2184766"/>
              <a:gd name="connsiteY62" fmla="*/ 643306 h 2184766"/>
              <a:gd name="connsiteX63" fmla="*/ 2188270 w 2184766"/>
              <a:gd name="connsiteY63" fmla="*/ 754240 h 2184766"/>
              <a:gd name="connsiteX64" fmla="*/ 2188333 w 2184766"/>
              <a:gd name="connsiteY64" fmla="*/ 899200 h 2184766"/>
              <a:gd name="connsiteX65" fmla="*/ 233532 w 2184766"/>
              <a:gd name="connsiteY65" fmla="*/ 2188212 h 2184766"/>
              <a:gd name="connsiteX66" fmla="*/ 337936 w 2184766"/>
              <a:gd name="connsiteY66" fmla="*/ 2128947 h 2184766"/>
              <a:gd name="connsiteX67" fmla="*/ 816199 w 2184766"/>
              <a:gd name="connsiteY67" fmla="*/ 1651061 h 2184766"/>
              <a:gd name="connsiteX68" fmla="*/ 813750 w 2184766"/>
              <a:gd name="connsiteY68" fmla="*/ 1623249 h 2184766"/>
              <a:gd name="connsiteX69" fmla="*/ 567902 w 2184766"/>
              <a:gd name="connsiteY69" fmla="*/ 1377337 h 2184766"/>
              <a:gd name="connsiteX70" fmla="*/ 540090 w 2184766"/>
              <a:gd name="connsiteY70" fmla="*/ 1375266 h 2184766"/>
              <a:gd name="connsiteX71" fmla="*/ 62580 w 2184766"/>
              <a:gd name="connsiteY71" fmla="*/ 1853905 h 2184766"/>
              <a:gd name="connsiteX72" fmla="*/ 51594 w 2184766"/>
              <a:gd name="connsiteY72" fmla="*/ 2126813 h 2184766"/>
              <a:gd name="connsiteX73" fmla="*/ 156751 w 2184766"/>
              <a:gd name="connsiteY73" fmla="*/ 2188275 h 2184766"/>
              <a:gd name="connsiteX74" fmla="*/ 233532 w 2184766"/>
              <a:gd name="connsiteY74" fmla="*/ 2188212 h 2184766"/>
              <a:gd name="connsiteX75" fmla="*/ 1421467 w 2184766"/>
              <a:gd name="connsiteY75" fmla="*/ 579835 h 2184766"/>
              <a:gd name="connsiteX76" fmla="*/ 1358373 w 2184766"/>
              <a:gd name="connsiteY76" fmla="*/ 513727 h 2184766"/>
              <a:gd name="connsiteX77" fmla="*/ 1290632 w 2184766"/>
              <a:gd name="connsiteY77" fmla="*/ 577324 h 2184766"/>
              <a:gd name="connsiteX78" fmla="*/ 1354794 w 2184766"/>
              <a:gd name="connsiteY78" fmla="*/ 644499 h 2184766"/>
              <a:gd name="connsiteX79" fmla="*/ 1421467 w 2184766"/>
              <a:gd name="connsiteY79" fmla="*/ 579835 h 2184766"/>
              <a:gd name="connsiteX80" fmla="*/ 972209 w 2184766"/>
              <a:gd name="connsiteY80" fmla="*/ 897819 h 2184766"/>
              <a:gd name="connsiteX81" fmla="*/ 906478 w 2184766"/>
              <a:gd name="connsiteY81" fmla="*/ 961353 h 2184766"/>
              <a:gd name="connsiteX82" fmla="*/ 970514 w 2184766"/>
              <a:gd name="connsiteY82" fmla="*/ 1028654 h 2184766"/>
              <a:gd name="connsiteX83" fmla="*/ 1037313 w 2184766"/>
              <a:gd name="connsiteY83" fmla="*/ 964053 h 2184766"/>
              <a:gd name="connsiteX84" fmla="*/ 972209 w 2184766"/>
              <a:gd name="connsiteY84" fmla="*/ 897819 h 2184766"/>
              <a:gd name="connsiteX85" fmla="*/ 1740330 w 2184766"/>
              <a:gd name="connsiteY85" fmla="*/ 897819 h 2184766"/>
              <a:gd name="connsiteX86" fmla="*/ 1674787 w 2184766"/>
              <a:gd name="connsiteY86" fmla="*/ 961541 h 2184766"/>
              <a:gd name="connsiteX87" fmla="*/ 1739012 w 2184766"/>
              <a:gd name="connsiteY87" fmla="*/ 1028654 h 2184766"/>
              <a:gd name="connsiteX88" fmla="*/ 1805622 w 2184766"/>
              <a:gd name="connsiteY88" fmla="*/ 963864 h 2184766"/>
              <a:gd name="connsiteX89" fmla="*/ 1740330 w 2184766"/>
              <a:gd name="connsiteY89" fmla="*/ 897819 h 218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184766" h="2184766">
                <a:moveTo>
                  <a:pt x="2188333" y="899200"/>
                </a:moveTo>
                <a:cubicBezTo>
                  <a:pt x="2103014" y="899640"/>
                  <a:pt x="2017695" y="900016"/>
                  <a:pt x="1932376" y="900707"/>
                </a:cubicBezTo>
                <a:cubicBezTo>
                  <a:pt x="1921139" y="900770"/>
                  <a:pt x="1916116" y="894554"/>
                  <a:pt x="1911784" y="885577"/>
                </a:cubicBezTo>
                <a:cubicBezTo>
                  <a:pt x="1878133" y="815890"/>
                  <a:pt x="1822071" y="779101"/>
                  <a:pt x="1745290" y="774518"/>
                </a:cubicBezTo>
                <a:cubicBezTo>
                  <a:pt x="1721182" y="773074"/>
                  <a:pt x="1696823" y="776213"/>
                  <a:pt x="1674473" y="786446"/>
                </a:cubicBezTo>
                <a:cubicBezTo>
                  <a:pt x="1662293" y="792034"/>
                  <a:pt x="1653818" y="790590"/>
                  <a:pt x="1644338" y="780921"/>
                </a:cubicBezTo>
                <a:cubicBezTo>
                  <a:pt x="1609056" y="744760"/>
                  <a:pt x="1573271" y="709163"/>
                  <a:pt x="1537298" y="673755"/>
                </a:cubicBezTo>
                <a:cubicBezTo>
                  <a:pt x="1529073" y="665656"/>
                  <a:pt x="1527818" y="658436"/>
                  <a:pt x="1531773" y="647324"/>
                </a:cubicBezTo>
                <a:cubicBezTo>
                  <a:pt x="1571137" y="537019"/>
                  <a:pt x="1514822" y="428220"/>
                  <a:pt x="1402319" y="396076"/>
                </a:cubicBezTo>
                <a:cubicBezTo>
                  <a:pt x="1295718" y="365627"/>
                  <a:pt x="1177627" y="447870"/>
                  <a:pt x="1168901" y="557673"/>
                </a:cubicBezTo>
                <a:cubicBezTo>
                  <a:pt x="1166389" y="589503"/>
                  <a:pt x="1168147" y="620015"/>
                  <a:pt x="1181018" y="649396"/>
                </a:cubicBezTo>
                <a:cubicBezTo>
                  <a:pt x="1185036" y="658562"/>
                  <a:pt x="1183152" y="665342"/>
                  <a:pt x="1176183" y="672248"/>
                </a:cubicBezTo>
                <a:cubicBezTo>
                  <a:pt x="1138766" y="709289"/>
                  <a:pt x="1101537" y="746518"/>
                  <a:pt x="1064496" y="783872"/>
                </a:cubicBezTo>
                <a:cubicBezTo>
                  <a:pt x="1057402" y="791029"/>
                  <a:pt x="1050559" y="791720"/>
                  <a:pt x="1041518" y="788078"/>
                </a:cubicBezTo>
                <a:cubicBezTo>
                  <a:pt x="995249" y="769495"/>
                  <a:pt x="948666" y="769119"/>
                  <a:pt x="902585" y="788141"/>
                </a:cubicBezTo>
                <a:cubicBezTo>
                  <a:pt x="888397" y="793980"/>
                  <a:pt x="881554" y="786132"/>
                  <a:pt x="873455" y="777971"/>
                </a:cubicBezTo>
                <a:cubicBezTo>
                  <a:pt x="787948" y="692463"/>
                  <a:pt x="702440" y="606956"/>
                  <a:pt x="616933" y="521512"/>
                </a:cubicBezTo>
                <a:cubicBezTo>
                  <a:pt x="597660" y="502238"/>
                  <a:pt x="597911" y="502364"/>
                  <a:pt x="587552" y="526534"/>
                </a:cubicBezTo>
                <a:cubicBezTo>
                  <a:pt x="576314" y="552714"/>
                  <a:pt x="568090" y="579898"/>
                  <a:pt x="559049" y="606831"/>
                </a:cubicBezTo>
                <a:cubicBezTo>
                  <a:pt x="553336" y="623907"/>
                  <a:pt x="556664" y="635584"/>
                  <a:pt x="569534" y="648329"/>
                </a:cubicBezTo>
                <a:cubicBezTo>
                  <a:pt x="641480" y="719208"/>
                  <a:pt x="712297" y="791217"/>
                  <a:pt x="784369" y="862034"/>
                </a:cubicBezTo>
                <a:cubicBezTo>
                  <a:pt x="797365" y="874778"/>
                  <a:pt x="799813" y="885074"/>
                  <a:pt x="793661" y="902653"/>
                </a:cubicBezTo>
                <a:cubicBezTo>
                  <a:pt x="753355" y="1018044"/>
                  <a:pt x="834280" y="1139022"/>
                  <a:pt x="952244" y="1150637"/>
                </a:cubicBezTo>
                <a:cubicBezTo>
                  <a:pt x="1049617" y="1160242"/>
                  <a:pt x="1133179" y="1096206"/>
                  <a:pt x="1154586" y="1010447"/>
                </a:cubicBezTo>
                <a:cubicBezTo>
                  <a:pt x="1163879" y="973218"/>
                  <a:pt x="1164255" y="935550"/>
                  <a:pt x="1149313" y="899640"/>
                </a:cubicBezTo>
                <a:cubicBezTo>
                  <a:pt x="1142972" y="884447"/>
                  <a:pt x="1146048" y="875218"/>
                  <a:pt x="1157223" y="864420"/>
                </a:cubicBezTo>
                <a:cubicBezTo>
                  <a:pt x="1192004" y="830832"/>
                  <a:pt x="1226094" y="796491"/>
                  <a:pt x="1259870" y="761899"/>
                </a:cubicBezTo>
                <a:cubicBezTo>
                  <a:pt x="1269098" y="752419"/>
                  <a:pt x="1277134" y="750661"/>
                  <a:pt x="1289879" y="755621"/>
                </a:cubicBezTo>
                <a:cubicBezTo>
                  <a:pt x="1333951" y="772760"/>
                  <a:pt x="1378839" y="772948"/>
                  <a:pt x="1422849" y="755370"/>
                </a:cubicBezTo>
                <a:cubicBezTo>
                  <a:pt x="1435970" y="750159"/>
                  <a:pt x="1443692" y="753235"/>
                  <a:pt x="1452670" y="762401"/>
                </a:cubicBezTo>
                <a:cubicBezTo>
                  <a:pt x="1487010" y="797433"/>
                  <a:pt x="1521603" y="832276"/>
                  <a:pt x="1556822" y="866429"/>
                </a:cubicBezTo>
                <a:cubicBezTo>
                  <a:pt x="1567056" y="876348"/>
                  <a:pt x="1568185" y="884823"/>
                  <a:pt x="1563226" y="898258"/>
                </a:cubicBezTo>
                <a:cubicBezTo>
                  <a:pt x="1527943" y="992932"/>
                  <a:pt x="1573334" y="1096708"/>
                  <a:pt x="1666751" y="1137201"/>
                </a:cubicBezTo>
                <a:cubicBezTo>
                  <a:pt x="1757720" y="1176628"/>
                  <a:pt x="1864824" y="1136888"/>
                  <a:pt x="1908959" y="1046170"/>
                </a:cubicBezTo>
                <a:cubicBezTo>
                  <a:pt x="1916179" y="1031291"/>
                  <a:pt x="1924465" y="1025201"/>
                  <a:pt x="1941291" y="1025389"/>
                </a:cubicBezTo>
                <a:cubicBezTo>
                  <a:pt x="2009533" y="1026268"/>
                  <a:pt x="2077839" y="1026143"/>
                  <a:pt x="2146144" y="1025515"/>
                </a:cubicBezTo>
                <a:cubicBezTo>
                  <a:pt x="2162844" y="1025389"/>
                  <a:pt x="2167238" y="1030035"/>
                  <a:pt x="2162781" y="1046609"/>
                </a:cubicBezTo>
                <a:cubicBezTo>
                  <a:pt x="2117830" y="1213543"/>
                  <a:pt x="2029811" y="1353481"/>
                  <a:pt x="1899479" y="1466674"/>
                </a:cubicBezTo>
                <a:cubicBezTo>
                  <a:pt x="1783460" y="1567437"/>
                  <a:pt x="1649172" y="1630846"/>
                  <a:pt x="1498123" y="1657465"/>
                </a:cubicBezTo>
                <a:cubicBezTo>
                  <a:pt x="1406525" y="1673599"/>
                  <a:pt x="1314489" y="1673913"/>
                  <a:pt x="1222390" y="1658657"/>
                </a:cubicBezTo>
                <a:cubicBezTo>
                  <a:pt x="1046290" y="1629527"/>
                  <a:pt x="894361" y="1551868"/>
                  <a:pt x="768486" y="1426558"/>
                </a:cubicBezTo>
                <a:cubicBezTo>
                  <a:pt x="638216" y="1296915"/>
                  <a:pt x="558171" y="1140152"/>
                  <a:pt x="530924" y="957335"/>
                </a:cubicBezTo>
                <a:cubicBezTo>
                  <a:pt x="515542" y="854249"/>
                  <a:pt x="518933" y="751979"/>
                  <a:pt x="542601" y="650526"/>
                </a:cubicBezTo>
                <a:cubicBezTo>
                  <a:pt x="545615" y="637468"/>
                  <a:pt x="542727" y="627611"/>
                  <a:pt x="532933" y="618006"/>
                </a:cubicBezTo>
                <a:cubicBezTo>
                  <a:pt x="496771" y="582723"/>
                  <a:pt x="461049" y="547001"/>
                  <a:pt x="425829" y="510839"/>
                </a:cubicBezTo>
                <a:cubicBezTo>
                  <a:pt x="417040" y="501799"/>
                  <a:pt x="409694" y="500920"/>
                  <a:pt x="397892" y="505252"/>
                </a:cubicBezTo>
                <a:cubicBezTo>
                  <a:pt x="304097" y="539341"/>
                  <a:pt x="202079" y="498283"/>
                  <a:pt x="158258" y="408569"/>
                </a:cubicBezTo>
                <a:cubicBezTo>
                  <a:pt x="150913" y="393502"/>
                  <a:pt x="142500" y="387601"/>
                  <a:pt x="125800" y="388166"/>
                </a:cubicBezTo>
                <a:cubicBezTo>
                  <a:pt x="90957" y="389359"/>
                  <a:pt x="56114" y="388040"/>
                  <a:pt x="21271" y="388668"/>
                </a:cubicBezTo>
                <a:cubicBezTo>
                  <a:pt x="6454" y="388982"/>
                  <a:pt x="1118" y="383206"/>
                  <a:pt x="1432" y="368641"/>
                </a:cubicBezTo>
                <a:cubicBezTo>
                  <a:pt x="2122" y="338067"/>
                  <a:pt x="2185" y="307430"/>
                  <a:pt x="1432" y="276918"/>
                </a:cubicBezTo>
                <a:cubicBezTo>
                  <a:pt x="1055" y="261725"/>
                  <a:pt x="7584" y="257205"/>
                  <a:pt x="21836" y="257456"/>
                </a:cubicBezTo>
                <a:cubicBezTo>
                  <a:pt x="57369" y="258021"/>
                  <a:pt x="92966" y="257142"/>
                  <a:pt x="128500" y="257833"/>
                </a:cubicBezTo>
                <a:cubicBezTo>
                  <a:pt x="142249" y="258084"/>
                  <a:pt x="150097" y="253815"/>
                  <a:pt x="156563" y="240882"/>
                </a:cubicBezTo>
                <a:cubicBezTo>
                  <a:pt x="223299" y="107285"/>
                  <a:pt x="394313" y="88765"/>
                  <a:pt x="486098" y="206165"/>
                </a:cubicBezTo>
                <a:cubicBezTo>
                  <a:pt x="528413" y="260282"/>
                  <a:pt x="536637" y="322685"/>
                  <a:pt x="514412" y="387726"/>
                </a:cubicBezTo>
                <a:cubicBezTo>
                  <a:pt x="509704" y="401601"/>
                  <a:pt x="511148" y="409574"/>
                  <a:pt x="521381" y="419117"/>
                </a:cubicBezTo>
                <a:cubicBezTo>
                  <a:pt x="542162" y="438516"/>
                  <a:pt x="562377" y="458606"/>
                  <a:pt x="581651" y="479512"/>
                </a:cubicBezTo>
                <a:cubicBezTo>
                  <a:pt x="593516" y="492382"/>
                  <a:pt x="598350" y="488803"/>
                  <a:pt x="604942" y="474929"/>
                </a:cubicBezTo>
                <a:cubicBezTo>
                  <a:pt x="648135" y="384022"/>
                  <a:pt x="706333" y="304102"/>
                  <a:pt x="778970" y="234290"/>
                </a:cubicBezTo>
                <a:cubicBezTo>
                  <a:pt x="898065" y="119778"/>
                  <a:pt x="1038568" y="46200"/>
                  <a:pt x="1200668" y="15563"/>
                </a:cubicBezTo>
                <a:cubicBezTo>
                  <a:pt x="1394974" y="-21164"/>
                  <a:pt x="1581181" y="6836"/>
                  <a:pt x="1753702" y="102514"/>
                </a:cubicBezTo>
                <a:cubicBezTo>
                  <a:pt x="1969165" y="221923"/>
                  <a:pt x="2107534" y="403484"/>
                  <a:pt x="2168055" y="643306"/>
                </a:cubicBezTo>
                <a:cubicBezTo>
                  <a:pt x="2177283" y="679907"/>
                  <a:pt x="2179669" y="717576"/>
                  <a:pt x="2188270" y="754240"/>
                </a:cubicBezTo>
                <a:cubicBezTo>
                  <a:pt x="2188333" y="802455"/>
                  <a:pt x="2188333" y="850859"/>
                  <a:pt x="2188333" y="899200"/>
                </a:cubicBezTo>
                <a:close/>
                <a:moveTo>
                  <a:pt x="233532" y="2188212"/>
                </a:moveTo>
                <a:cubicBezTo>
                  <a:pt x="272958" y="2176598"/>
                  <a:pt x="308555" y="2158329"/>
                  <a:pt x="337936" y="2128947"/>
                </a:cubicBezTo>
                <a:cubicBezTo>
                  <a:pt x="497273" y="1969547"/>
                  <a:pt x="656548" y="1810147"/>
                  <a:pt x="816199" y="1651061"/>
                </a:cubicBezTo>
                <a:cubicBezTo>
                  <a:pt x="827814" y="1639509"/>
                  <a:pt x="827499" y="1632729"/>
                  <a:pt x="813750" y="1623249"/>
                </a:cubicBezTo>
                <a:cubicBezTo>
                  <a:pt x="716692" y="1556513"/>
                  <a:pt x="634637" y="1474459"/>
                  <a:pt x="567902" y="1377337"/>
                </a:cubicBezTo>
                <a:cubicBezTo>
                  <a:pt x="558234" y="1363275"/>
                  <a:pt x="551390" y="1363902"/>
                  <a:pt x="540090" y="1375266"/>
                </a:cubicBezTo>
                <a:cubicBezTo>
                  <a:pt x="380941" y="1534854"/>
                  <a:pt x="220725" y="1693312"/>
                  <a:pt x="62580" y="1853905"/>
                </a:cubicBezTo>
                <a:cubicBezTo>
                  <a:pt x="-17591" y="1935269"/>
                  <a:pt x="-20165" y="2041996"/>
                  <a:pt x="51594" y="2126813"/>
                </a:cubicBezTo>
                <a:cubicBezTo>
                  <a:pt x="79280" y="2159521"/>
                  <a:pt x="117011" y="2175782"/>
                  <a:pt x="156751" y="2188275"/>
                </a:cubicBezTo>
                <a:cubicBezTo>
                  <a:pt x="182303" y="2188212"/>
                  <a:pt x="207917" y="2188212"/>
                  <a:pt x="233532" y="2188212"/>
                </a:cubicBezTo>
                <a:close/>
                <a:moveTo>
                  <a:pt x="1421467" y="579835"/>
                </a:moveTo>
                <a:cubicBezTo>
                  <a:pt x="1421718" y="542355"/>
                  <a:pt x="1395037" y="514418"/>
                  <a:pt x="1358373" y="513727"/>
                </a:cubicBezTo>
                <a:cubicBezTo>
                  <a:pt x="1319700" y="512974"/>
                  <a:pt x="1291197" y="539718"/>
                  <a:pt x="1290632" y="577324"/>
                </a:cubicBezTo>
                <a:cubicBezTo>
                  <a:pt x="1290067" y="615871"/>
                  <a:pt x="1317063" y="644122"/>
                  <a:pt x="1354794" y="644499"/>
                </a:cubicBezTo>
                <a:cubicBezTo>
                  <a:pt x="1393216" y="644876"/>
                  <a:pt x="1421216" y="617755"/>
                  <a:pt x="1421467" y="579835"/>
                </a:cubicBezTo>
                <a:close/>
                <a:moveTo>
                  <a:pt x="972209" y="897819"/>
                </a:moveTo>
                <a:cubicBezTo>
                  <a:pt x="934855" y="897756"/>
                  <a:pt x="907105" y="924563"/>
                  <a:pt x="906478" y="961353"/>
                </a:cubicBezTo>
                <a:cubicBezTo>
                  <a:pt x="905850" y="999900"/>
                  <a:pt x="932783" y="1028214"/>
                  <a:pt x="970514" y="1028654"/>
                </a:cubicBezTo>
                <a:cubicBezTo>
                  <a:pt x="1008998" y="1029093"/>
                  <a:pt x="1036998" y="1001972"/>
                  <a:pt x="1037313" y="964053"/>
                </a:cubicBezTo>
                <a:cubicBezTo>
                  <a:pt x="1037563" y="925694"/>
                  <a:pt x="1010254" y="897882"/>
                  <a:pt x="972209" y="897819"/>
                </a:cubicBezTo>
                <a:close/>
                <a:moveTo>
                  <a:pt x="1740330" y="897819"/>
                </a:moveTo>
                <a:cubicBezTo>
                  <a:pt x="1702976" y="897756"/>
                  <a:pt x="1675352" y="924689"/>
                  <a:pt x="1674787" y="961541"/>
                </a:cubicBezTo>
                <a:cubicBezTo>
                  <a:pt x="1674222" y="1000089"/>
                  <a:pt x="1701218" y="1028277"/>
                  <a:pt x="1739012" y="1028654"/>
                </a:cubicBezTo>
                <a:cubicBezTo>
                  <a:pt x="1777434" y="1029030"/>
                  <a:pt x="1805434" y="1001846"/>
                  <a:pt x="1805622" y="963864"/>
                </a:cubicBezTo>
                <a:cubicBezTo>
                  <a:pt x="1805811" y="925568"/>
                  <a:pt x="1778438" y="897819"/>
                  <a:pt x="1740330" y="897819"/>
                </a:cubicBezTo>
                <a:close/>
              </a:path>
            </a:pathLst>
          </a:custGeom>
          <a:solidFill>
            <a:schemeClr val="bg1">
              <a:alpha val="90000"/>
            </a:schemeClr>
          </a:solidFill>
          <a:ln w="6278"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2D68B776-9928-4811-908F-EC8EAAAD6BC0}"/>
              </a:ext>
            </a:extLst>
          </p:cNvPr>
          <p:cNvSpPr/>
          <p:nvPr/>
        </p:nvSpPr>
        <p:spPr>
          <a:xfrm>
            <a:off x="5962017" y="4245121"/>
            <a:ext cx="267965" cy="267965"/>
          </a:xfrm>
          <a:custGeom>
            <a:avLst/>
            <a:gdLst>
              <a:gd name="connsiteX0" fmla="*/ 1058420 w 2260102"/>
              <a:gd name="connsiteY0" fmla="*/ 753746 h 2260102"/>
              <a:gd name="connsiteX1" fmla="*/ 2077726 w 2260102"/>
              <a:gd name="connsiteY1" fmla="*/ 753746 h 2260102"/>
              <a:gd name="connsiteX2" fmla="*/ 2113009 w 2260102"/>
              <a:gd name="connsiteY2" fmla="*/ 787961 h 2260102"/>
              <a:gd name="connsiteX3" fmla="*/ 2112883 w 2260102"/>
              <a:gd name="connsiteY3" fmla="*/ 1143425 h 2260102"/>
              <a:gd name="connsiteX4" fmla="*/ 2109555 w 2260102"/>
              <a:gd name="connsiteY4" fmla="*/ 1167972 h 2260102"/>
              <a:gd name="connsiteX5" fmla="*/ 2087143 w 2260102"/>
              <a:gd name="connsiteY5" fmla="*/ 1158995 h 2260102"/>
              <a:gd name="connsiteX6" fmla="*/ 1736325 w 2260102"/>
              <a:gd name="connsiteY6" fmla="*/ 1059425 h 2260102"/>
              <a:gd name="connsiteX7" fmla="*/ 1066895 w 2260102"/>
              <a:gd name="connsiteY7" fmla="*/ 1640459 h 2260102"/>
              <a:gd name="connsiteX8" fmla="*/ 1161945 w 2260102"/>
              <a:gd name="connsiteY8" fmla="*/ 2090973 h 2260102"/>
              <a:gd name="connsiteX9" fmla="*/ 1150518 w 2260102"/>
              <a:gd name="connsiteY9" fmla="*/ 2113323 h 2260102"/>
              <a:gd name="connsiteX10" fmla="*/ 211257 w 2260102"/>
              <a:gd name="connsiteY10" fmla="*/ 2112570 h 2260102"/>
              <a:gd name="connsiteX11" fmla="*/ 942 w 2260102"/>
              <a:gd name="connsiteY11" fmla="*/ 1902820 h 2260102"/>
              <a:gd name="connsiteX12" fmla="*/ 0 w 2260102"/>
              <a:gd name="connsiteY12" fmla="*/ 777540 h 2260102"/>
              <a:gd name="connsiteX13" fmla="*/ 32019 w 2260102"/>
              <a:gd name="connsiteY13" fmla="*/ 753746 h 2260102"/>
              <a:gd name="connsiteX14" fmla="*/ 1058420 w 2260102"/>
              <a:gd name="connsiteY14" fmla="*/ 753746 h 2260102"/>
              <a:gd name="connsiteX15" fmla="*/ 529680 w 2260102"/>
              <a:gd name="connsiteY15" fmla="*/ 1281103 h 2260102"/>
              <a:gd name="connsiteX16" fmla="*/ 656498 w 2260102"/>
              <a:gd name="connsiteY16" fmla="*/ 1281354 h 2260102"/>
              <a:gd name="connsiteX17" fmla="*/ 678660 w 2260102"/>
              <a:gd name="connsiteY17" fmla="*/ 1259946 h 2260102"/>
              <a:gd name="connsiteX18" fmla="*/ 678660 w 2260102"/>
              <a:gd name="connsiteY18" fmla="*/ 1156609 h 2260102"/>
              <a:gd name="connsiteX19" fmla="*/ 655807 w 2260102"/>
              <a:gd name="connsiteY19" fmla="*/ 1133380 h 2260102"/>
              <a:gd name="connsiteX20" fmla="*/ 402173 w 2260102"/>
              <a:gd name="connsiteY20" fmla="*/ 1133443 h 2260102"/>
              <a:gd name="connsiteX21" fmla="*/ 380012 w 2260102"/>
              <a:gd name="connsiteY21" fmla="*/ 1154851 h 2260102"/>
              <a:gd name="connsiteX22" fmla="*/ 380012 w 2260102"/>
              <a:gd name="connsiteY22" fmla="*/ 1258188 h 2260102"/>
              <a:gd name="connsiteX23" fmla="*/ 402864 w 2260102"/>
              <a:gd name="connsiteY23" fmla="*/ 1281417 h 2260102"/>
              <a:gd name="connsiteX24" fmla="*/ 529680 w 2260102"/>
              <a:gd name="connsiteY24" fmla="*/ 1281103 h 2260102"/>
              <a:gd name="connsiteX25" fmla="*/ 526981 w 2260102"/>
              <a:gd name="connsiteY25" fmla="*/ 1733124 h 2260102"/>
              <a:gd name="connsiteX26" fmla="*/ 656121 w 2260102"/>
              <a:gd name="connsiteY26" fmla="*/ 1733375 h 2260102"/>
              <a:gd name="connsiteX27" fmla="*/ 678660 w 2260102"/>
              <a:gd name="connsiteY27" fmla="*/ 1712280 h 2260102"/>
              <a:gd name="connsiteX28" fmla="*/ 678660 w 2260102"/>
              <a:gd name="connsiteY28" fmla="*/ 1606621 h 2260102"/>
              <a:gd name="connsiteX29" fmla="*/ 656184 w 2260102"/>
              <a:gd name="connsiteY29" fmla="*/ 1585464 h 2260102"/>
              <a:gd name="connsiteX30" fmla="*/ 402550 w 2260102"/>
              <a:gd name="connsiteY30" fmla="*/ 1585401 h 2260102"/>
              <a:gd name="connsiteX31" fmla="*/ 380012 w 2260102"/>
              <a:gd name="connsiteY31" fmla="*/ 1608881 h 2260102"/>
              <a:gd name="connsiteX32" fmla="*/ 379886 w 2260102"/>
              <a:gd name="connsiteY32" fmla="*/ 1709832 h 2260102"/>
              <a:gd name="connsiteX33" fmla="*/ 404810 w 2260102"/>
              <a:gd name="connsiteY33" fmla="*/ 1733437 h 2260102"/>
              <a:gd name="connsiteX34" fmla="*/ 526981 w 2260102"/>
              <a:gd name="connsiteY34" fmla="*/ 1733124 h 2260102"/>
              <a:gd name="connsiteX35" fmla="*/ 2082811 w 2260102"/>
              <a:gd name="connsiteY35" fmla="*/ 606776 h 2260102"/>
              <a:gd name="connsiteX36" fmla="*/ 2113574 w 2260102"/>
              <a:gd name="connsiteY36" fmla="*/ 576453 h 2260102"/>
              <a:gd name="connsiteX37" fmla="*/ 2112946 w 2260102"/>
              <a:gd name="connsiteY37" fmla="*/ 369340 h 2260102"/>
              <a:gd name="connsiteX38" fmla="*/ 1893967 w 2260102"/>
              <a:gd name="connsiteY38" fmla="*/ 151177 h 2260102"/>
              <a:gd name="connsiteX39" fmla="*/ 1691562 w 2260102"/>
              <a:gd name="connsiteY39" fmla="*/ 151052 h 2260102"/>
              <a:gd name="connsiteX40" fmla="*/ 1661051 w 2260102"/>
              <a:gd name="connsiteY40" fmla="*/ 119536 h 2260102"/>
              <a:gd name="connsiteX41" fmla="*/ 1661364 w 2260102"/>
              <a:gd name="connsiteY41" fmla="*/ 25427 h 2260102"/>
              <a:gd name="connsiteX42" fmla="*/ 1635374 w 2260102"/>
              <a:gd name="connsiteY42" fmla="*/ 127 h 2260102"/>
              <a:gd name="connsiteX43" fmla="*/ 1534171 w 2260102"/>
              <a:gd name="connsiteY43" fmla="*/ 64 h 2260102"/>
              <a:gd name="connsiteX44" fmla="*/ 1506736 w 2260102"/>
              <a:gd name="connsiteY44" fmla="*/ 26432 h 2260102"/>
              <a:gd name="connsiteX45" fmla="*/ 1507364 w 2260102"/>
              <a:gd name="connsiteY45" fmla="*/ 127634 h 2260102"/>
              <a:gd name="connsiteX46" fmla="*/ 1485014 w 2260102"/>
              <a:gd name="connsiteY46" fmla="*/ 151428 h 2260102"/>
              <a:gd name="connsiteX47" fmla="*/ 628372 w 2260102"/>
              <a:gd name="connsiteY47" fmla="*/ 151428 h 2260102"/>
              <a:gd name="connsiteX48" fmla="*/ 606022 w 2260102"/>
              <a:gd name="connsiteY48" fmla="*/ 127634 h 2260102"/>
              <a:gd name="connsiteX49" fmla="*/ 606587 w 2260102"/>
              <a:gd name="connsiteY49" fmla="*/ 26432 h 2260102"/>
              <a:gd name="connsiteX50" fmla="*/ 581600 w 2260102"/>
              <a:gd name="connsiteY50" fmla="*/ 64 h 2260102"/>
              <a:gd name="connsiteX51" fmla="*/ 475689 w 2260102"/>
              <a:gd name="connsiteY51" fmla="*/ 190 h 2260102"/>
              <a:gd name="connsiteX52" fmla="*/ 452146 w 2260102"/>
              <a:gd name="connsiteY52" fmla="*/ 23042 h 2260102"/>
              <a:gd name="connsiteX53" fmla="*/ 452398 w 2260102"/>
              <a:gd name="connsiteY53" fmla="*/ 119536 h 2260102"/>
              <a:gd name="connsiteX54" fmla="*/ 421949 w 2260102"/>
              <a:gd name="connsiteY54" fmla="*/ 151052 h 2260102"/>
              <a:gd name="connsiteX55" fmla="*/ 221930 w 2260102"/>
              <a:gd name="connsiteY55" fmla="*/ 151114 h 2260102"/>
              <a:gd name="connsiteX56" fmla="*/ 503 w 2260102"/>
              <a:gd name="connsiteY56" fmla="*/ 371663 h 2260102"/>
              <a:gd name="connsiteX57" fmla="*/ 440 w 2260102"/>
              <a:gd name="connsiteY57" fmla="*/ 571682 h 2260102"/>
              <a:gd name="connsiteX58" fmla="*/ 35346 w 2260102"/>
              <a:gd name="connsiteY58" fmla="*/ 606274 h 2260102"/>
              <a:gd name="connsiteX59" fmla="*/ 1056724 w 2260102"/>
              <a:gd name="connsiteY59" fmla="*/ 606274 h 2260102"/>
              <a:gd name="connsiteX60" fmla="*/ 2082811 w 2260102"/>
              <a:gd name="connsiteY60" fmla="*/ 606776 h 2260102"/>
              <a:gd name="connsiteX61" fmla="*/ 1734441 w 2260102"/>
              <a:gd name="connsiteY61" fmla="*/ 1205766 h 2260102"/>
              <a:gd name="connsiteX62" fmla="*/ 2264812 w 2260102"/>
              <a:gd name="connsiteY62" fmla="*/ 1734379 h 2260102"/>
              <a:gd name="connsiteX63" fmla="*/ 1732684 w 2260102"/>
              <a:gd name="connsiteY63" fmla="*/ 2264813 h 2260102"/>
              <a:gd name="connsiteX64" fmla="*/ 1204635 w 2260102"/>
              <a:gd name="connsiteY64" fmla="*/ 1730298 h 2260102"/>
              <a:gd name="connsiteX65" fmla="*/ 1734441 w 2260102"/>
              <a:gd name="connsiteY65" fmla="*/ 1205766 h 2260102"/>
              <a:gd name="connsiteX66" fmla="*/ 1508619 w 2260102"/>
              <a:gd name="connsiteY66" fmla="*/ 1638451 h 2260102"/>
              <a:gd name="connsiteX67" fmla="*/ 1493363 w 2260102"/>
              <a:gd name="connsiteY67" fmla="*/ 1648621 h 2260102"/>
              <a:gd name="connsiteX68" fmla="*/ 1424870 w 2260102"/>
              <a:gd name="connsiteY68" fmla="*/ 1716550 h 2260102"/>
              <a:gd name="connsiteX69" fmla="*/ 1424682 w 2260102"/>
              <a:gd name="connsiteY69" fmla="*/ 1752774 h 2260102"/>
              <a:gd name="connsiteX70" fmla="*/ 1641086 w 2260102"/>
              <a:gd name="connsiteY70" fmla="*/ 1969179 h 2260102"/>
              <a:gd name="connsiteX71" fmla="*/ 1677311 w 2260102"/>
              <a:gd name="connsiteY71" fmla="*/ 1969807 h 2260102"/>
              <a:gd name="connsiteX72" fmla="*/ 2050730 w 2260102"/>
              <a:gd name="connsiteY72" fmla="*/ 1597706 h 2260102"/>
              <a:gd name="connsiteX73" fmla="*/ 2049788 w 2260102"/>
              <a:gd name="connsiteY73" fmla="*/ 1571087 h 2260102"/>
              <a:gd name="connsiteX74" fmla="*/ 1981734 w 2260102"/>
              <a:gd name="connsiteY74" fmla="*/ 1502656 h 2260102"/>
              <a:gd name="connsiteX75" fmla="*/ 1940299 w 2260102"/>
              <a:gd name="connsiteY75" fmla="*/ 1502216 h 2260102"/>
              <a:gd name="connsiteX76" fmla="*/ 1678001 w 2260102"/>
              <a:gd name="connsiteY76" fmla="*/ 1765895 h 2260102"/>
              <a:gd name="connsiteX77" fmla="*/ 1640396 w 2260102"/>
              <a:gd name="connsiteY77" fmla="*/ 1765016 h 2260102"/>
              <a:gd name="connsiteX78" fmla="*/ 1524063 w 2260102"/>
              <a:gd name="connsiteY78" fmla="*/ 1648370 h 2260102"/>
              <a:gd name="connsiteX79" fmla="*/ 1508619 w 2260102"/>
              <a:gd name="connsiteY79" fmla="*/ 1638451 h 226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260102" h="2260102">
                <a:moveTo>
                  <a:pt x="1058420" y="753746"/>
                </a:moveTo>
                <a:cubicBezTo>
                  <a:pt x="1398188" y="753746"/>
                  <a:pt x="1737957" y="753746"/>
                  <a:pt x="2077726" y="753746"/>
                </a:cubicBezTo>
                <a:cubicBezTo>
                  <a:pt x="2112946" y="753746"/>
                  <a:pt x="2113009" y="753808"/>
                  <a:pt x="2113009" y="787961"/>
                </a:cubicBezTo>
                <a:cubicBezTo>
                  <a:pt x="2113072" y="906428"/>
                  <a:pt x="2113072" y="1024958"/>
                  <a:pt x="2112883" y="1143425"/>
                </a:cubicBezTo>
                <a:cubicBezTo>
                  <a:pt x="2112883" y="1151838"/>
                  <a:pt x="2116775" y="1163138"/>
                  <a:pt x="2109555" y="1167972"/>
                </a:cubicBezTo>
                <a:cubicBezTo>
                  <a:pt x="2101457" y="1173309"/>
                  <a:pt x="2094112" y="1163264"/>
                  <a:pt x="2087143" y="1158995"/>
                </a:cubicBezTo>
                <a:cubicBezTo>
                  <a:pt x="1979600" y="1092447"/>
                  <a:pt x="1861698" y="1058608"/>
                  <a:pt x="1736325" y="1059425"/>
                </a:cubicBezTo>
                <a:cubicBezTo>
                  <a:pt x="1375399" y="1061622"/>
                  <a:pt x="1108581" y="1329821"/>
                  <a:pt x="1066895" y="1640459"/>
                </a:cubicBezTo>
                <a:cubicBezTo>
                  <a:pt x="1045173" y="1802057"/>
                  <a:pt x="1076375" y="1952291"/>
                  <a:pt x="1161945" y="2090973"/>
                </a:cubicBezTo>
                <a:cubicBezTo>
                  <a:pt x="1171927" y="2107171"/>
                  <a:pt x="1172492" y="2113386"/>
                  <a:pt x="1150518" y="2113323"/>
                </a:cubicBezTo>
                <a:cubicBezTo>
                  <a:pt x="837431" y="2112884"/>
                  <a:pt x="524344" y="2113637"/>
                  <a:pt x="211257" y="2112570"/>
                </a:cubicBezTo>
                <a:cubicBezTo>
                  <a:pt x="104970" y="2112193"/>
                  <a:pt x="1193" y="2008982"/>
                  <a:pt x="942" y="1902820"/>
                </a:cubicBezTo>
                <a:cubicBezTo>
                  <a:pt x="-62" y="1527705"/>
                  <a:pt x="691" y="1152654"/>
                  <a:pt x="0" y="777540"/>
                </a:cubicBezTo>
                <a:cubicBezTo>
                  <a:pt x="-62" y="750983"/>
                  <a:pt x="15382" y="753746"/>
                  <a:pt x="32019" y="753746"/>
                </a:cubicBezTo>
                <a:cubicBezTo>
                  <a:pt x="374111" y="753808"/>
                  <a:pt x="716265" y="753746"/>
                  <a:pt x="1058420" y="753746"/>
                </a:cubicBezTo>
                <a:close/>
                <a:moveTo>
                  <a:pt x="529680" y="1281103"/>
                </a:moveTo>
                <a:cubicBezTo>
                  <a:pt x="571932" y="1281103"/>
                  <a:pt x="614247" y="1280601"/>
                  <a:pt x="656498" y="1281354"/>
                </a:cubicBezTo>
                <a:cubicBezTo>
                  <a:pt x="672381" y="1281605"/>
                  <a:pt x="679099" y="1276708"/>
                  <a:pt x="678660" y="1259946"/>
                </a:cubicBezTo>
                <a:cubicBezTo>
                  <a:pt x="677781" y="1225542"/>
                  <a:pt x="677718" y="1191013"/>
                  <a:pt x="678660" y="1156609"/>
                </a:cubicBezTo>
                <a:cubicBezTo>
                  <a:pt x="679162" y="1139407"/>
                  <a:pt x="673448" y="1133255"/>
                  <a:pt x="655807" y="1133380"/>
                </a:cubicBezTo>
                <a:cubicBezTo>
                  <a:pt x="571242" y="1134071"/>
                  <a:pt x="486739" y="1133945"/>
                  <a:pt x="402173" y="1133443"/>
                </a:cubicBezTo>
                <a:cubicBezTo>
                  <a:pt x="386290" y="1133317"/>
                  <a:pt x="379572" y="1138089"/>
                  <a:pt x="380012" y="1154851"/>
                </a:cubicBezTo>
                <a:cubicBezTo>
                  <a:pt x="380891" y="1189255"/>
                  <a:pt x="380953" y="1223784"/>
                  <a:pt x="380012" y="1258188"/>
                </a:cubicBezTo>
                <a:cubicBezTo>
                  <a:pt x="379510" y="1275390"/>
                  <a:pt x="385223" y="1281794"/>
                  <a:pt x="402864" y="1281417"/>
                </a:cubicBezTo>
                <a:cubicBezTo>
                  <a:pt x="445115" y="1280475"/>
                  <a:pt x="487366" y="1281103"/>
                  <a:pt x="529680" y="1281103"/>
                </a:cubicBezTo>
                <a:close/>
                <a:moveTo>
                  <a:pt x="526981" y="1733124"/>
                </a:moveTo>
                <a:cubicBezTo>
                  <a:pt x="570049" y="1733124"/>
                  <a:pt x="613116" y="1732684"/>
                  <a:pt x="656121" y="1733375"/>
                </a:cubicBezTo>
                <a:cubicBezTo>
                  <a:pt x="671628" y="1733626"/>
                  <a:pt x="679099" y="1729420"/>
                  <a:pt x="678660" y="1712280"/>
                </a:cubicBezTo>
                <a:cubicBezTo>
                  <a:pt x="677718" y="1677061"/>
                  <a:pt x="677718" y="1641841"/>
                  <a:pt x="678660" y="1606621"/>
                </a:cubicBezTo>
                <a:cubicBezTo>
                  <a:pt x="679099" y="1589607"/>
                  <a:pt x="671816" y="1585401"/>
                  <a:pt x="656184" y="1585464"/>
                </a:cubicBezTo>
                <a:cubicBezTo>
                  <a:pt x="571618" y="1585966"/>
                  <a:pt x="487116" y="1586091"/>
                  <a:pt x="402550" y="1585401"/>
                </a:cubicBezTo>
                <a:cubicBezTo>
                  <a:pt x="384657" y="1585275"/>
                  <a:pt x="379510" y="1591993"/>
                  <a:pt x="380012" y="1608881"/>
                </a:cubicBezTo>
                <a:cubicBezTo>
                  <a:pt x="380953" y="1642531"/>
                  <a:pt x="381268" y="1676244"/>
                  <a:pt x="379886" y="1709832"/>
                </a:cubicBezTo>
                <a:cubicBezTo>
                  <a:pt x="379070" y="1729357"/>
                  <a:pt x="387169" y="1733814"/>
                  <a:pt x="404810" y="1733437"/>
                </a:cubicBezTo>
                <a:cubicBezTo>
                  <a:pt x="445555" y="1732496"/>
                  <a:pt x="486237" y="1733124"/>
                  <a:pt x="526981" y="1733124"/>
                </a:cubicBezTo>
                <a:close/>
                <a:moveTo>
                  <a:pt x="2082811" y="606776"/>
                </a:moveTo>
                <a:cubicBezTo>
                  <a:pt x="2106291" y="606839"/>
                  <a:pt x="2114076" y="600498"/>
                  <a:pt x="2113574" y="576453"/>
                </a:cubicBezTo>
                <a:cubicBezTo>
                  <a:pt x="2112067" y="507457"/>
                  <a:pt x="2113385" y="438399"/>
                  <a:pt x="2112946" y="369340"/>
                </a:cubicBezTo>
                <a:cubicBezTo>
                  <a:pt x="2112193" y="253321"/>
                  <a:pt x="2010300" y="151868"/>
                  <a:pt x="1893967" y="151177"/>
                </a:cubicBezTo>
                <a:cubicBezTo>
                  <a:pt x="1826478" y="150800"/>
                  <a:pt x="1759051" y="151114"/>
                  <a:pt x="1691562" y="151052"/>
                </a:cubicBezTo>
                <a:cubicBezTo>
                  <a:pt x="1661114" y="151052"/>
                  <a:pt x="1661114" y="150989"/>
                  <a:pt x="1661051" y="119536"/>
                </a:cubicBezTo>
                <a:cubicBezTo>
                  <a:pt x="1660988" y="88145"/>
                  <a:pt x="1660109" y="56755"/>
                  <a:pt x="1661364" y="25427"/>
                </a:cubicBezTo>
                <a:cubicBezTo>
                  <a:pt x="1662180" y="5589"/>
                  <a:pt x="1654459" y="-564"/>
                  <a:pt x="1635374" y="127"/>
                </a:cubicBezTo>
                <a:cubicBezTo>
                  <a:pt x="1601660" y="1257"/>
                  <a:pt x="1567885" y="1383"/>
                  <a:pt x="1534171" y="64"/>
                </a:cubicBezTo>
                <a:cubicBezTo>
                  <a:pt x="1514207" y="-689"/>
                  <a:pt x="1505794" y="5024"/>
                  <a:pt x="1506736" y="26432"/>
                </a:cubicBezTo>
                <a:cubicBezTo>
                  <a:pt x="1508243" y="60082"/>
                  <a:pt x="1506485" y="93921"/>
                  <a:pt x="1507364" y="127634"/>
                </a:cubicBezTo>
                <a:cubicBezTo>
                  <a:pt x="1507803" y="144271"/>
                  <a:pt x="1503283" y="151428"/>
                  <a:pt x="1485014" y="151428"/>
                </a:cubicBezTo>
                <a:cubicBezTo>
                  <a:pt x="1199487" y="150989"/>
                  <a:pt x="913898" y="150989"/>
                  <a:pt x="628372" y="151428"/>
                </a:cubicBezTo>
                <a:cubicBezTo>
                  <a:pt x="610166" y="151428"/>
                  <a:pt x="605583" y="144334"/>
                  <a:pt x="606022" y="127634"/>
                </a:cubicBezTo>
                <a:cubicBezTo>
                  <a:pt x="606901" y="93921"/>
                  <a:pt x="605520" y="60145"/>
                  <a:pt x="606587" y="26432"/>
                </a:cubicBezTo>
                <a:cubicBezTo>
                  <a:pt x="607152" y="7723"/>
                  <a:pt x="601878" y="-626"/>
                  <a:pt x="581600" y="64"/>
                </a:cubicBezTo>
                <a:cubicBezTo>
                  <a:pt x="546317" y="1320"/>
                  <a:pt x="510972" y="1006"/>
                  <a:pt x="475689" y="190"/>
                </a:cubicBezTo>
                <a:cubicBezTo>
                  <a:pt x="458739" y="-187"/>
                  <a:pt x="451582" y="5338"/>
                  <a:pt x="452146" y="23042"/>
                </a:cubicBezTo>
                <a:cubicBezTo>
                  <a:pt x="453088" y="55186"/>
                  <a:pt x="452398" y="87392"/>
                  <a:pt x="452398" y="119536"/>
                </a:cubicBezTo>
                <a:cubicBezTo>
                  <a:pt x="452335" y="150989"/>
                  <a:pt x="452335" y="151052"/>
                  <a:pt x="421949" y="151052"/>
                </a:cubicBezTo>
                <a:cubicBezTo>
                  <a:pt x="355276" y="151114"/>
                  <a:pt x="288603" y="150863"/>
                  <a:pt x="221930" y="151114"/>
                </a:cubicBezTo>
                <a:cubicBezTo>
                  <a:pt x="102521" y="151679"/>
                  <a:pt x="1131" y="252693"/>
                  <a:pt x="503" y="371663"/>
                </a:cubicBezTo>
                <a:cubicBezTo>
                  <a:pt x="189" y="438336"/>
                  <a:pt x="377" y="505009"/>
                  <a:pt x="440" y="571682"/>
                </a:cubicBezTo>
                <a:cubicBezTo>
                  <a:pt x="440" y="606211"/>
                  <a:pt x="503" y="606274"/>
                  <a:pt x="35346" y="606274"/>
                </a:cubicBezTo>
                <a:cubicBezTo>
                  <a:pt x="375806" y="606274"/>
                  <a:pt x="716265" y="606274"/>
                  <a:pt x="1056724" y="606274"/>
                </a:cubicBezTo>
                <a:cubicBezTo>
                  <a:pt x="1398753" y="606337"/>
                  <a:pt x="1740782" y="606086"/>
                  <a:pt x="2082811" y="606776"/>
                </a:cubicBezTo>
                <a:close/>
                <a:moveTo>
                  <a:pt x="1734441" y="1205766"/>
                </a:moveTo>
                <a:cubicBezTo>
                  <a:pt x="2023169" y="1200493"/>
                  <a:pt x="2264624" y="1446216"/>
                  <a:pt x="2264812" y="1734379"/>
                </a:cubicBezTo>
                <a:cubicBezTo>
                  <a:pt x="2265000" y="2022417"/>
                  <a:pt x="2023546" y="2265817"/>
                  <a:pt x="1732684" y="2264813"/>
                </a:cubicBezTo>
                <a:cubicBezTo>
                  <a:pt x="1445776" y="2263808"/>
                  <a:pt x="1202375" y="2022166"/>
                  <a:pt x="1204635" y="1730298"/>
                </a:cubicBezTo>
                <a:cubicBezTo>
                  <a:pt x="1206896" y="1445149"/>
                  <a:pt x="1446718" y="1200932"/>
                  <a:pt x="1734441" y="1205766"/>
                </a:cubicBezTo>
                <a:close/>
                <a:moveTo>
                  <a:pt x="1508619" y="1638451"/>
                </a:moveTo>
                <a:cubicBezTo>
                  <a:pt x="1501651" y="1639016"/>
                  <a:pt x="1497758" y="1644226"/>
                  <a:pt x="1493363" y="1648621"/>
                </a:cubicBezTo>
                <a:cubicBezTo>
                  <a:pt x="1470512" y="1671285"/>
                  <a:pt x="1448476" y="1694765"/>
                  <a:pt x="1424870" y="1716550"/>
                </a:cubicBezTo>
                <a:cubicBezTo>
                  <a:pt x="1410619" y="1729733"/>
                  <a:pt x="1410682" y="1739025"/>
                  <a:pt x="1424682" y="1752774"/>
                </a:cubicBezTo>
                <a:cubicBezTo>
                  <a:pt x="1497381" y="1824344"/>
                  <a:pt x="1569454" y="1896542"/>
                  <a:pt x="1641086" y="1969179"/>
                </a:cubicBezTo>
                <a:cubicBezTo>
                  <a:pt x="1654459" y="1982740"/>
                  <a:pt x="1663185" y="1983995"/>
                  <a:pt x="1677311" y="1969807"/>
                </a:cubicBezTo>
                <a:cubicBezTo>
                  <a:pt x="1801303" y="1845313"/>
                  <a:pt x="1925859" y="1721321"/>
                  <a:pt x="2050730" y="1597706"/>
                </a:cubicBezTo>
                <a:cubicBezTo>
                  <a:pt x="2061842" y="1586719"/>
                  <a:pt x="2059331" y="1580316"/>
                  <a:pt x="2049788" y="1571087"/>
                </a:cubicBezTo>
                <a:cubicBezTo>
                  <a:pt x="2026622" y="1548737"/>
                  <a:pt x="2003268" y="1526513"/>
                  <a:pt x="1981734" y="1502656"/>
                </a:cubicBezTo>
                <a:cubicBezTo>
                  <a:pt x="1966729" y="1485956"/>
                  <a:pt x="1956496" y="1485768"/>
                  <a:pt x="1940299" y="1502216"/>
                </a:cubicBezTo>
                <a:cubicBezTo>
                  <a:pt x="1853348" y="1590612"/>
                  <a:pt x="1764952" y="1677563"/>
                  <a:pt x="1678001" y="1765895"/>
                </a:cubicBezTo>
                <a:cubicBezTo>
                  <a:pt x="1662997" y="1781151"/>
                  <a:pt x="1654396" y="1779644"/>
                  <a:pt x="1640396" y="1765016"/>
                </a:cubicBezTo>
                <a:cubicBezTo>
                  <a:pt x="1602476" y="1725339"/>
                  <a:pt x="1562988" y="1687106"/>
                  <a:pt x="1524063" y="1648370"/>
                </a:cubicBezTo>
                <a:cubicBezTo>
                  <a:pt x="1519606" y="1644038"/>
                  <a:pt x="1515651" y="1638764"/>
                  <a:pt x="1508619" y="1638451"/>
                </a:cubicBezTo>
                <a:close/>
              </a:path>
            </a:pathLst>
          </a:custGeom>
          <a:solidFill>
            <a:schemeClr val="bg1">
              <a:alpha val="90000"/>
            </a:schemeClr>
          </a:solidFill>
          <a:ln w="6278"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B402182E-1446-45B8-8D1E-1B66D566F707}"/>
              </a:ext>
            </a:extLst>
          </p:cNvPr>
          <p:cNvSpPr/>
          <p:nvPr/>
        </p:nvSpPr>
        <p:spPr>
          <a:xfrm>
            <a:off x="6932659" y="3274997"/>
            <a:ext cx="261980" cy="308003"/>
          </a:xfrm>
          <a:custGeom>
            <a:avLst/>
            <a:gdLst>
              <a:gd name="connsiteX0" fmla="*/ 1543230 w 1858306"/>
              <a:gd name="connsiteY0" fmla="*/ 1515543 h 2184766"/>
              <a:gd name="connsiteX1" fmla="*/ 1543230 w 1858306"/>
              <a:gd name="connsiteY1" fmla="*/ 2038192 h 2184766"/>
              <a:gd name="connsiteX2" fmla="*/ 1507884 w 1858306"/>
              <a:gd name="connsiteY2" fmla="*/ 2143664 h 2184766"/>
              <a:gd name="connsiteX3" fmla="*/ 1406368 w 1858306"/>
              <a:gd name="connsiteY3" fmla="*/ 2187861 h 2184766"/>
              <a:gd name="connsiteX4" fmla="*/ 577224 w 1858306"/>
              <a:gd name="connsiteY4" fmla="*/ 2187736 h 2184766"/>
              <a:gd name="connsiteX5" fmla="*/ 443752 w 1858306"/>
              <a:gd name="connsiteY5" fmla="*/ 2051313 h 2184766"/>
              <a:gd name="connsiteX6" fmla="*/ 443439 w 1858306"/>
              <a:gd name="connsiteY6" fmla="*/ 1780478 h 2184766"/>
              <a:gd name="connsiteX7" fmla="*/ 467923 w 1858306"/>
              <a:gd name="connsiteY7" fmla="*/ 1752854 h 2184766"/>
              <a:gd name="connsiteX8" fmla="*/ 472632 w 1858306"/>
              <a:gd name="connsiteY8" fmla="*/ 1752415 h 2184766"/>
              <a:gd name="connsiteX9" fmla="*/ 623619 w 1858306"/>
              <a:gd name="connsiteY9" fmla="*/ 1776209 h 2184766"/>
              <a:gd name="connsiteX10" fmla="*/ 722059 w 1858306"/>
              <a:gd name="connsiteY10" fmla="*/ 1817016 h 2184766"/>
              <a:gd name="connsiteX11" fmla="*/ 780131 w 1858306"/>
              <a:gd name="connsiteY11" fmla="*/ 1758944 h 2184766"/>
              <a:gd name="connsiteX12" fmla="*/ 759413 w 1858306"/>
              <a:gd name="connsiteY12" fmla="*/ 1659123 h 2184766"/>
              <a:gd name="connsiteX13" fmla="*/ 776490 w 1858306"/>
              <a:gd name="connsiteY13" fmla="*/ 1601176 h 2184766"/>
              <a:gd name="connsiteX14" fmla="*/ 887737 w 1858306"/>
              <a:gd name="connsiteY14" fmla="*/ 1114815 h 2184766"/>
              <a:gd name="connsiteX15" fmla="*/ 508102 w 1858306"/>
              <a:gd name="connsiteY15" fmla="*/ 781387 h 2184766"/>
              <a:gd name="connsiteX16" fmla="*/ 491842 w 1858306"/>
              <a:gd name="connsiteY16" fmla="*/ 777997 h 2184766"/>
              <a:gd name="connsiteX17" fmla="*/ 443815 w 1858306"/>
              <a:gd name="connsiteY17" fmla="*/ 721619 h 2184766"/>
              <a:gd name="connsiteX18" fmla="*/ 443878 w 1858306"/>
              <a:gd name="connsiteY18" fmla="*/ 137195 h 2184766"/>
              <a:gd name="connsiteX19" fmla="*/ 579359 w 1858306"/>
              <a:gd name="connsiteY19" fmla="*/ 333 h 2184766"/>
              <a:gd name="connsiteX20" fmla="*/ 755145 w 1858306"/>
              <a:gd name="connsiteY20" fmla="*/ 19 h 2184766"/>
              <a:gd name="connsiteX21" fmla="*/ 785530 w 1858306"/>
              <a:gd name="connsiteY21" fmla="*/ 16593 h 2184766"/>
              <a:gd name="connsiteX22" fmla="*/ 816606 w 1858306"/>
              <a:gd name="connsiteY22" fmla="*/ 34234 h 2184766"/>
              <a:gd name="connsiteX23" fmla="*/ 1168178 w 1858306"/>
              <a:gd name="connsiteY23" fmla="*/ 34234 h 2184766"/>
              <a:gd name="connsiteX24" fmla="*/ 1199255 w 1858306"/>
              <a:gd name="connsiteY24" fmla="*/ 16405 h 2184766"/>
              <a:gd name="connsiteX25" fmla="*/ 1229829 w 1858306"/>
              <a:gd name="connsiteY25" fmla="*/ 19 h 2184766"/>
              <a:gd name="connsiteX26" fmla="*/ 1398521 w 1858306"/>
              <a:gd name="connsiteY26" fmla="*/ 207 h 2184766"/>
              <a:gd name="connsiteX27" fmla="*/ 1543167 w 1858306"/>
              <a:gd name="connsiteY27" fmla="*/ 142091 h 2184766"/>
              <a:gd name="connsiteX28" fmla="*/ 1543607 w 1858306"/>
              <a:gd name="connsiteY28" fmla="*/ 232370 h 2184766"/>
              <a:gd name="connsiteX29" fmla="*/ 1515544 w 1858306"/>
              <a:gd name="connsiteY29" fmla="*/ 259491 h 2184766"/>
              <a:gd name="connsiteX30" fmla="*/ 1192474 w 1858306"/>
              <a:gd name="connsiteY30" fmla="*/ 259240 h 2184766"/>
              <a:gd name="connsiteX31" fmla="*/ 963137 w 1858306"/>
              <a:gd name="connsiteY31" fmla="*/ 444945 h 2184766"/>
              <a:gd name="connsiteX32" fmla="*/ 959872 w 1858306"/>
              <a:gd name="connsiteY32" fmla="*/ 477905 h 2184766"/>
              <a:gd name="connsiteX33" fmla="*/ 959809 w 1858306"/>
              <a:gd name="connsiteY33" fmla="*/ 729718 h 2184766"/>
              <a:gd name="connsiteX34" fmla="*/ 1127308 w 1858306"/>
              <a:gd name="connsiteY34" fmla="*/ 943863 h 2184766"/>
              <a:gd name="connsiteX35" fmla="*/ 1155433 w 1858306"/>
              <a:gd name="connsiteY35" fmla="*/ 981343 h 2184766"/>
              <a:gd name="connsiteX36" fmla="*/ 1154931 w 1858306"/>
              <a:gd name="connsiteY36" fmla="*/ 1045442 h 2184766"/>
              <a:gd name="connsiteX37" fmla="*/ 1173954 w 1858306"/>
              <a:gd name="connsiteY37" fmla="*/ 1086061 h 2184766"/>
              <a:gd name="connsiteX38" fmla="*/ 1217838 w 1858306"/>
              <a:gd name="connsiteY38" fmla="*/ 1078779 h 2184766"/>
              <a:gd name="connsiteX39" fmla="*/ 1367318 w 1858306"/>
              <a:gd name="connsiteY39" fmla="*/ 969352 h 2184766"/>
              <a:gd name="connsiteX40" fmla="*/ 1413274 w 1858306"/>
              <a:gd name="connsiteY40" fmla="*/ 954536 h 2184766"/>
              <a:gd name="connsiteX41" fmla="*/ 1513032 w 1858306"/>
              <a:gd name="connsiteY41" fmla="*/ 954347 h 2184766"/>
              <a:gd name="connsiteX42" fmla="*/ 1543795 w 1858306"/>
              <a:gd name="connsiteY42" fmla="*/ 985863 h 2184766"/>
              <a:gd name="connsiteX43" fmla="*/ 1543230 w 1858306"/>
              <a:gd name="connsiteY43" fmla="*/ 1515543 h 2184766"/>
              <a:gd name="connsiteX44" fmla="*/ 992581 w 1858306"/>
              <a:gd name="connsiteY44" fmla="*/ 2019798 h 2184766"/>
              <a:gd name="connsiteX45" fmla="*/ 1161147 w 1858306"/>
              <a:gd name="connsiteY45" fmla="*/ 2019798 h 2184766"/>
              <a:gd name="connsiteX46" fmla="*/ 1192161 w 1858306"/>
              <a:gd name="connsiteY46" fmla="*/ 2011197 h 2184766"/>
              <a:gd name="connsiteX47" fmla="*/ 1201828 w 1858306"/>
              <a:gd name="connsiteY47" fmla="*/ 1976793 h 2184766"/>
              <a:gd name="connsiteX48" fmla="*/ 1160330 w 1858306"/>
              <a:gd name="connsiteY48" fmla="*/ 1951304 h 2184766"/>
              <a:gd name="connsiteX49" fmla="*/ 823199 w 1858306"/>
              <a:gd name="connsiteY49" fmla="*/ 1951367 h 2184766"/>
              <a:gd name="connsiteX50" fmla="*/ 780194 w 1858306"/>
              <a:gd name="connsiteY50" fmla="*/ 1986712 h 2184766"/>
              <a:gd name="connsiteX51" fmla="*/ 823952 w 1858306"/>
              <a:gd name="connsiteY51" fmla="*/ 2019672 h 2184766"/>
              <a:gd name="connsiteX52" fmla="*/ 992581 w 1858306"/>
              <a:gd name="connsiteY52" fmla="*/ 2019798 h 2184766"/>
              <a:gd name="connsiteX53" fmla="*/ 845548 w 1858306"/>
              <a:gd name="connsiteY53" fmla="*/ 1264170 h 2184766"/>
              <a:gd name="connsiteX54" fmla="*/ 720992 w 1858306"/>
              <a:gd name="connsiteY54" fmla="*/ 1561185 h 2184766"/>
              <a:gd name="connsiteX55" fmla="*/ 690669 w 1858306"/>
              <a:gd name="connsiteY55" fmla="*/ 1658432 h 2184766"/>
              <a:gd name="connsiteX56" fmla="*/ 699835 w 1858306"/>
              <a:gd name="connsiteY56" fmla="*/ 1716944 h 2184766"/>
              <a:gd name="connsiteX57" fmla="*/ 682758 w 1858306"/>
              <a:gd name="connsiteY57" fmla="*/ 1729437 h 2184766"/>
              <a:gd name="connsiteX58" fmla="*/ 603655 w 1858306"/>
              <a:gd name="connsiteY58" fmla="*/ 1691329 h 2184766"/>
              <a:gd name="connsiteX59" fmla="*/ 486192 w 1858306"/>
              <a:gd name="connsiteY59" fmla="*/ 1680280 h 2184766"/>
              <a:gd name="connsiteX60" fmla="*/ 6799 w 1858306"/>
              <a:gd name="connsiteY60" fmla="*/ 1341390 h 2184766"/>
              <a:gd name="connsiteX61" fmla="*/ 352470 w 1858306"/>
              <a:gd name="connsiteY61" fmla="*/ 847306 h 2184766"/>
              <a:gd name="connsiteX62" fmla="*/ 841468 w 1858306"/>
              <a:gd name="connsiteY62" fmla="*/ 1226564 h 2184766"/>
              <a:gd name="connsiteX63" fmla="*/ 845548 w 1858306"/>
              <a:gd name="connsiteY63" fmla="*/ 1264170 h 2184766"/>
              <a:gd name="connsiteX64" fmla="*/ 652875 w 1858306"/>
              <a:gd name="connsiteY64" fmla="*/ 1195739 h 2184766"/>
              <a:gd name="connsiteX65" fmla="*/ 599386 w 1858306"/>
              <a:gd name="connsiteY65" fmla="*/ 1122788 h 2184766"/>
              <a:gd name="connsiteX66" fmla="*/ 499501 w 1858306"/>
              <a:gd name="connsiteY66" fmla="*/ 1135972 h 2184766"/>
              <a:gd name="connsiteX67" fmla="*/ 467044 w 1858306"/>
              <a:gd name="connsiteY67" fmla="*/ 1167174 h 2184766"/>
              <a:gd name="connsiteX68" fmla="*/ 406084 w 1858306"/>
              <a:gd name="connsiteY68" fmla="*/ 1167739 h 2184766"/>
              <a:gd name="connsiteX69" fmla="*/ 377079 w 1858306"/>
              <a:gd name="connsiteY69" fmla="*/ 1139739 h 2184766"/>
              <a:gd name="connsiteX70" fmla="*/ 246809 w 1858306"/>
              <a:gd name="connsiteY70" fmla="*/ 1143380 h 2184766"/>
              <a:gd name="connsiteX71" fmla="*/ 247500 w 1858306"/>
              <a:gd name="connsiteY71" fmla="*/ 1273147 h 2184766"/>
              <a:gd name="connsiteX72" fmla="*/ 425358 w 1858306"/>
              <a:gd name="connsiteY72" fmla="*/ 1450754 h 2184766"/>
              <a:gd name="connsiteX73" fmla="*/ 450219 w 1858306"/>
              <a:gd name="connsiteY73" fmla="*/ 1451193 h 2184766"/>
              <a:gd name="connsiteX74" fmla="*/ 627825 w 1858306"/>
              <a:gd name="connsiteY74" fmla="*/ 1270008 h 2184766"/>
              <a:gd name="connsiteX75" fmla="*/ 652875 w 1858306"/>
              <a:gd name="connsiteY75" fmla="*/ 1195739 h 2184766"/>
              <a:gd name="connsiteX76" fmla="*/ 1444916 w 1858306"/>
              <a:gd name="connsiteY76" fmla="*/ 327545 h 2184766"/>
              <a:gd name="connsiteX77" fmla="*/ 1684674 w 1858306"/>
              <a:gd name="connsiteY77" fmla="*/ 326667 h 2184766"/>
              <a:gd name="connsiteX78" fmla="*/ 1860146 w 1858306"/>
              <a:gd name="connsiteY78" fmla="*/ 484748 h 2184766"/>
              <a:gd name="connsiteX79" fmla="*/ 1858326 w 1858306"/>
              <a:gd name="connsiteY79" fmla="*/ 736122 h 2184766"/>
              <a:gd name="connsiteX80" fmla="*/ 1689634 w 1858306"/>
              <a:gd name="connsiteY80" fmla="*/ 885665 h 2184766"/>
              <a:gd name="connsiteX81" fmla="*/ 1392807 w 1858306"/>
              <a:gd name="connsiteY81" fmla="*/ 885540 h 2184766"/>
              <a:gd name="connsiteX82" fmla="*/ 1344467 w 1858306"/>
              <a:gd name="connsiteY82" fmla="*/ 900921 h 2184766"/>
              <a:gd name="connsiteX83" fmla="*/ 1244896 w 1858306"/>
              <a:gd name="connsiteY83" fmla="*/ 973935 h 2184766"/>
              <a:gd name="connsiteX84" fmla="*/ 1228322 w 1858306"/>
              <a:gd name="connsiteY84" fmla="*/ 980841 h 2184766"/>
              <a:gd name="connsiteX85" fmla="*/ 1223362 w 1858306"/>
              <a:gd name="connsiteY85" fmla="*/ 964016 h 2184766"/>
              <a:gd name="connsiteX86" fmla="*/ 1222985 w 1858306"/>
              <a:gd name="connsiteY86" fmla="*/ 923648 h 2184766"/>
              <a:gd name="connsiteX87" fmla="*/ 1186824 w 1858306"/>
              <a:gd name="connsiteY87" fmla="*/ 885791 h 2184766"/>
              <a:gd name="connsiteX88" fmla="*/ 1031567 w 1858306"/>
              <a:gd name="connsiteY88" fmla="*/ 761234 h 2184766"/>
              <a:gd name="connsiteX89" fmla="*/ 1026859 w 1858306"/>
              <a:gd name="connsiteY89" fmla="*/ 726077 h 2184766"/>
              <a:gd name="connsiteX90" fmla="*/ 1029244 w 1858306"/>
              <a:gd name="connsiteY90" fmla="*/ 462838 h 2184766"/>
              <a:gd name="connsiteX91" fmla="*/ 1181300 w 1858306"/>
              <a:gd name="connsiteY91" fmla="*/ 327734 h 2184766"/>
              <a:gd name="connsiteX92" fmla="*/ 1444916 w 1858306"/>
              <a:gd name="connsiteY92" fmla="*/ 327545 h 2184766"/>
              <a:gd name="connsiteX93" fmla="*/ 1450189 w 1858306"/>
              <a:gd name="connsiteY93" fmla="*/ 731790 h 2184766"/>
              <a:gd name="connsiteX94" fmla="*/ 1706585 w 1858306"/>
              <a:gd name="connsiteY94" fmla="*/ 731664 h 2184766"/>
              <a:gd name="connsiteX95" fmla="*/ 1746011 w 1858306"/>
              <a:gd name="connsiteY95" fmla="*/ 700274 h 2184766"/>
              <a:gd name="connsiteX96" fmla="*/ 1701374 w 1858306"/>
              <a:gd name="connsiteY96" fmla="*/ 663359 h 2184766"/>
              <a:gd name="connsiteX97" fmla="*/ 1200447 w 1858306"/>
              <a:gd name="connsiteY97" fmla="*/ 663359 h 2184766"/>
              <a:gd name="connsiteX98" fmla="*/ 1155246 w 1858306"/>
              <a:gd name="connsiteY98" fmla="*/ 698453 h 2184766"/>
              <a:gd name="connsiteX99" fmla="*/ 1200887 w 1858306"/>
              <a:gd name="connsiteY99" fmla="*/ 731727 h 2184766"/>
              <a:gd name="connsiteX100" fmla="*/ 1450189 w 1858306"/>
              <a:gd name="connsiteY100" fmla="*/ 731790 h 2184766"/>
              <a:gd name="connsiteX101" fmla="*/ 1450691 w 1858306"/>
              <a:gd name="connsiteY101" fmla="*/ 491780 h 2184766"/>
              <a:gd name="connsiteX102" fmla="*/ 1199066 w 1858306"/>
              <a:gd name="connsiteY102" fmla="*/ 491654 h 2184766"/>
              <a:gd name="connsiteX103" fmla="*/ 1159012 w 1858306"/>
              <a:gd name="connsiteY103" fmla="*/ 510865 h 2184766"/>
              <a:gd name="connsiteX104" fmla="*/ 1200134 w 1858306"/>
              <a:gd name="connsiteY104" fmla="*/ 560022 h 2184766"/>
              <a:gd name="connsiteX105" fmla="*/ 1703320 w 1858306"/>
              <a:gd name="connsiteY105" fmla="*/ 560085 h 2184766"/>
              <a:gd name="connsiteX106" fmla="*/ 1746011 w 1858306"/>
              <a:gd name="connsiteY106" fmla="*/ 523547 h 2184766"/>
              <a:gd name="connsiteX107" fmla="*/ 1702253 w 1858306"/>
              <a:gd name="connsiteY107" fmla="*/ 491842 h 2184766"/>
              <a:gd name="connsiteX108" fmla="*/ 1450691 w 1858306"/>
              <a:gd name="connsiteY108" fmla="*/ 491780 h 218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858306" h="2184766">
                <a:moveTo>
                  <a:pt x="1543230" y="1515543"/>
                </a:moveTo>
                <a:cubicBezTo>
                  <a:pt x="1543230" y="1689760"/>
                  <a:pt x="1543230" y="1863976"/>
                  <a:pt x="1543230" y="2038192"/>
                </a:cubicBezTo>
                <a:cubicBezTo>
                  <a:pt x="1543230" y="2077242"/>
                  <a:pt x="1535194" y="2113906"/>
                  <a:pt x="1507884" y="2143664"/>
                </a:cubicBezTo>
                <a:cubicBezTo>
                  <a:pt x="1480700" y="2173296"/>
                  <a:pt x="1446045" y="2187799"/>
                  <a:pt x="1406368" y="2187861"/>
                </a:cubicBezTo>
                <a:cubicBezTo>
                  <a:pt x="1130008" y="2188175"/>
                  <a:pt x="853584" y="2188489"/>
                  <a:pt x="577224" y="2187736"/>
                </a:cubicBezTo>
                <a:cubicBezTo>
                  <a:pt x="498497" y="2187485"/>
                  <a:pt x="443941" y="2130103"/>
                  <a:pt x="443752" y="2051313"/>
                </a:cubicBezTo>
                <a:cubicBezTo>
                  <a:pt x="443564" y="1961035"/>
                  <a:pt x="444003" y="1870756"/>
                  <a:pt x="443439" y="1780478"/>
                </a:cubicBezTo>
                <a:cubicBezTo>
                  <a:pt x="443313" y="1762460"/>
                  <a:pt x="447017" y="1750845"/>
                  <a:pt x="467923" y="1752854"/>
                </a:cubicBezTo>
                <a:cubicBezTo>
                  <a:pt x="469493" y="1752980"/>
                  <a:pt x="471187" y="1752917"/>
                  <a:pt x="472632" y="1752415"/>
                </a:cubicBezTo>
                <a:cubicBezTo>
                  <a:pt x="527376" y="1732513"/>
                  <a:pt x="575780" y="1749590"/>
                  <a:pt x="623619" y="1776209"/>
                </a:cubicBezTo>
                <a:cubicBezTo>
                  <a:pt x="654633" y="1793473"/>
                  <a:pt x="686902" y="1809106"/>
                  <a:pt x="722059" y="1817016"/>
                </a:cubicBezTo>
                <a:cubicBezTo>
                  <a:pt x="767763" y="1827312"/>
                  <a:pt x="791934" y="1803707"/>
                  <a:pt x="780131" y="1758944"/>
                </a:cubicBezTo>
                <a:cubicBezTo>
                  <a:pt x="771405" y="1725984"/>
                  <a:pt x="765378" y="1692585"/>
                  <a:pt x="759413" y="1659123"/>
                </a:cubicBezTo>
                <a:cubicBezTo>
                  <a:pt x="755395" y="1636710"/>
                  <a:pt x="759853" y="1619194"/>
                  <a:pt x="776490" y="1601176"/>
                </a:cubicBezTo>
                <a:cubicBezTo>
                  <a:pt x="906257" y="1460610"/>
                  <a:pt x="944868" y="1295372"/>
                  <a:pt x="887737" y="1114815"/>
                </a:cubicBezTo>
                <a:cubicBezTo>
                  <a:pt x="829414" y="930616"/>
                  <a:pt x="698202" y="820185"/>
                  <a:pt x="508102" y="781387"/>
                </a:cubicBezTo>
                <a:cubicBezTo>
                  <a:pt x="502703" y="780257"/>
                  <a:pt x="497304" y="778813"/>
                  <a:pt x="491842" y="777997"/>
                </a:cubicBezTo>
                <a:cubicBezTo>
                  <a:pt x="443815" y="771091"/>
                  <a:pt x="443815" y="771091"/>
                  <a:pt x="443815" y="721619"/>
                </a:cubicBezTo>
                <a:cubicBezTo>
                  <a:pt x="443815" y="526811"/>
                  <a:pt x="443752" y="332003"/>
                  <a:pt x="443878" y="137195"/>
                </a:cubicBezTo>
                <a:cubicBezTo>
                  <a:pt x="443941" y="57212"/>
                  <a:pt x="498999" y="1337"/>
                  <a:pt x="579359" y="333"/>
                </a:cubicBezTo>
                <a:cubicBezTo>
                  <a:pt x="637933" y="-421"/>
                  <a:pt x="696570" y="396"/>
                  <a:pt x="755145" y="19"/>
                </a:cubicBezTo>
                <a:cubicBezTo>
                  <a:pt x="768830" y="-44"/>
                  <a:pt x="779566" y="1839"/>
                  <a:pt x="785530" y="16593"/>
                </a:cubicBezTo>
                <a:cubicBezTo>
                  <a:pt x="790867" y="29714"/>
                  <a:pt x="802921" y="34234"/>
                  <a:pt x="816606" y="34234"/>
                </a:cubicBezTo>
                <a:cubicBezTo>
                  <a:pt x="933818" y="34234"/>
                  <a:pt x="1051030" y="34234"/>
                  <a:pt x="1168178" y="34234"/>
                </a:cubicBezTo>
                <a:cubicBezTo>
                  <a:pt x="1181927" y="34234"/>
                  <a:pt x="1193667" y="29212"/>
                  <a:pt x="1199255" y="16405"/>
                </a:cubicBezTo>
                <a:cubicBezTo>
                  <a:pt x="1205470" y="2091"/>
                  <a:pt x="1216143" y="-44"/>
                  <a:pt x="1229829" y="19"/>
                </a:cubicBezTo>
                <a:cubicBezTo>
                  <a:pt x="1286080" y="458"/>
                  <a:pt x="1342269" y="19"/>
                  <a:pt x="1398521" y="207"/>
                </a:cubicBezTo>
                <a:cubicBezTo>
                  <a:pt x="1485157" y="458"/>
                  <a:pt x="1540907" y="54952"/>
                  <a:pt x="1543167" y="142091"/>
                </a:cubicBezTo>
                <a:cubicBezTo>
                  <a:pt x="1543983" y="172163"/>
                  <a:pt x="1542476" y="202298"/>
                  <a:pt x="1543607" y="232370"/>
                </a:cubicBezTo>
                <a:cubicBezTo>
                  <a:pt x="1544360" y="253276"/>
                  <a:pt x="1535822" y="259617"/>
                  <a:pt x="1515544" y="259491"/>
                </a:cubicBezTo>
                <a:cubicBezTo>
                  <a:pt x="1407875" y="258801"/>
                  <a:pt x="1300143" y="258926"/>
                  <a:pt x="1192474" y="259240"/>
                </a:cubicBezTo>
                <a:cubicBezTo>
                  <a:pt x="1077712" y="259554"/>
                  <a:pt x="987495" y="332631"/>
                  <a:pt x="963137" y="444945"/>
                </a:cubicBezTo>
                <a:cubicBezTo>
                  <a:pt x="960813" y="455681"/>
                  <a:pt x="959872" y="466856"/>
                  <a:pt x="959872" y="477905"/>
                </a:cubicBezTo>
                <a:cubicBezTo>
                  <a:pt x="959558" y="561843"/>
                  <a:pt x="958868" y="645781"/>
                  <a:pt x="959809" y="729718"/>
                </a:cubicBezTo>
                <a:cubicBezTo>
                  <a:pt x="960939" y="830293"/>
                  <a:pt x="1028365" y="916930"/>
                  <a:pt x="1127308" y="943863"/>
                </a:cubicBezTo>
                <a:cubicBezTo>
                  <a:pt x="1149218" y="949827"/>
                  <a:pt x="1157254" y="959119"/>
                  <a:pt x="1155433" y="981343"/>
                </a:cubicBezTo>
                <a:cubicBezTo>
                  <a:pt x="1153676" y="1002563"/>
                  <a:pt x="1155433" y="1024097"/>
                  <a:pt x="1154931" y="1045442"/>
                </a:cubicBezTo>
                <a:cubicBezTo>
                  <a:pt x="1154555" y="1062393"/>
                  <a:pt x="1158322" y="1077146"/>
                  <a:pt x="1173954" y="1086061"/>
                </a:cubicBezTo>
                <a:cubicBezTo>
                  <a:pt x="1190277" y="1095415"/>
                  <a:pt x="1204403" y="1088510"/>
                  <a:pt x="1217838" y="1078779"/>
                </a:cubicBezTo>
                <a:cubicBezTo>
                  <a:pt x="1267748" y="1042429"/>
                  <a:pt x="1317973" y="1006392"/>
                  <a:pt x="1367318" y="969352"/>
                </a:cubicBezTo>
                <a:cubicBezTo>
                  <a:pt x="1381444" y="958742"/>
                  <a:pt x="1395758" y="954096"/>
                  <a:pt x="1413274" y="954536"/>
                </a:cubicBezTo>
                <a:cubicBezTo>
                  <a:pt x="1446485" y="955477"/>
                  <a:pt x="1479884" y="956294"/>
                  <a:pt x="1513032" y="954347"/>
                </a:cubicBezTo>
                <a:cubicBezTo>
                  <a:pt x="1537893" y="952903"/>
                  <a:pt x="1543858" y="962823"/>
                  <a:pt x="1543795" y="985863"/>
                </a:cubicBezTo>
                <a:cubicBezTo>
                  <a:pt x="1542916" y="1162340"/>
                  <a:pt x="1543230" y="1338942"/>
                  <a:pt x="1543230" y="1515543"/>
                </a:cubicBezTo>
                <a:close/>
                <a:moveTo>
                  <a:pt x="992581" y="2019798"/>
                </a:moveTo>
                <a:cubicBezTo>
                  <a:pt x="1048769" y="2019798"/>
                  <a:pt x="1104958" y="2019798"/>
                  <a:pt x="1161147" y="2019798"/>
                </a:cubicBezTo>
                <a:cubicBezTo>
                  <a:pt x="1172259" y="2019798"/>
                  <a:pt x="1183497" y="2020111"/>
                  <a:pt x="1192161" y="2011197"/>
                </a:cubicBezTo>
                <a:cubicBezTo>
                  <a:pt x="1201578" y="2001466"/>
                  <a:pt x="1206788" y="1990542"/>
                  <a:pt x="1201828" y="1976793"/>
                </a:cubicBezTo>
                <a:cubicBezTo>
                  <a:pt x="1194797" y="1957268"/>
                  <a:pt x="1178726" y="1951367"/>
                  <a:pt x="1160330" y="1951304"/>
                </a:cubicBezTo>
                <a:cubicBezTo>
                  <a:pt x="1047953" y="1950990"/>
                  <a:pt x="935576" y="1950864"/>
                  <a:pt x="823199" y="1951367"/>
                </a:cubicBezTo>
                <a:cubicBezTo>
                  <a:pt x="797772" y="1951492"/>
                  <a:pt x="779880" y="1967627"/>
                  <a:pt x="780194" y="1986712"/>
                </a:cubicBezTo>
                <a:cubicBezTo>
                  <a:pt x="780570" y="2006990"/>
                  <a:pt x="796705" y="2019546"/>
                  <a:pt x="823952" y="2019672"/>
                </a:cubicBezTo>
                <a:cubicBezTo>
                  <a:pt x="880203" y="2019986"/>
                  <a:pt x="936392" y="2019798"/>
                  <a:pt x="992581" y="2019798"/>
                </a:cubicBezTo>
                <a:close/>
                <a:moveTo>
                  <a:pt x="845548" y="1264170"/>
                </a:moveTo>
                <a:cubicBezTo>
                  <a:pt x="841719" y="1379121"/>
                  <a:pt x="802418" y="1479570"/>
                  <a:pt x="720992" y="1561185"/>
                </a:cubicBezTo>
                <a:cubicBezTo>
                  <a:pt x="692426" y="1589750"/>
                  <a:pt x="685897" y="1621454"/>
                  <a:pt x="690669" y="1658432"/>
                </a:cubicBezTo>
                <a:cubicBezTo>
                  <a:pt x="693180" y="1678020"/>
                  <a:pt x="695691" y="1697670"/>
                  <a:pt x="699835" y="1716944"/>
                </a:cubicBezTo>
                <a:cubicBezTo>
                  <a:pt x="703916" y="1736029"/>
                  <a:pt x="696319" y="1735966"/>
                  <a:pt x="682758" y="1729437"/>
                </a:cubicBezTo>
                <a:cubicBezTo>
                  <a:pt x="656390" y="1716755"/>
                  <a:pt x="629521" y="1704953"/>
                  <a:pt x="603655" y="1691329"/>
                </a:cubicBezTo>
                <a:cubicBezTo>
                  <a:pt x="565735" y="1671365"/>
                  <a:pt x="527188" y="1673123"/>
                  <a:pt x="486192" y="1680280"/>
                </a:cubicBezTo>
                <a:cubicBezTo>
                  <a:pt x="264074" y="1718764"/>
                  <a:pt x="45848" y="1563759"/>
                  <a:pt x="6799" y="1341390"/>
                </a:cubicBezTo>
                <a:cubicBezTo>
                  <a:pt x="-34510" y="1105774"/>
                  <a:pt x="116352" y="890123"/>
                  <a:pt x="352470" y="847306"/>
                </a:cubicBezTo>
                <a:cubicBezTo>
                  <a:pt x="590533" y="804113"/>
                  <a:pt x="824517" y="985612"/>
                  <a:pt x="841468" y="1226564"/>
                </a:cubicBezTo>
                <a:cubicBezTo>
                  <a:pt x="842346" y="1239120"/>
                  <a:pt x="844167" y="1251614"/>
                  <a:pt x="845548" y="1264170"/>
                </a:cubicBezTo>
                <a:close/>
                <a:moveTo>
                  <a:pt x="652875" y="1195739"/>
                </a:moveTo>
                <a:cubicBezTo>
                  <a:pt x="651054" y="1167613"/>
                  <a:pt x="634229" y="1138608"/>
                  <a:pt x="599386" y="1122788"/>
                </a:cubicBezTo>
                <a:cubicBezTo>
                  <a:pt x="563977" y="1106653"/>
                  <a:pt x="529825" y="1111236"/>
                  <a:pt x="499501" y="1135972"/>
                </a:cubicBezTo>
                <a:cubicBezTo>
                  <a:pt x="487887" y="1145452"/>
                  <a:pt x="478031" y="1157003"/>
                  <a:pt x="467044" y="1167174"/>
                </a:cubicBezTo>
                <a:cubicBezTo>
                  <a:pt x="446515" y="1186133"/>
                  <a:pt x="427053" y="1186385"/>
                  <a:pt x="406084" y="1167739"/>
                </a:cubicBezTo>
                <a:cubicBezTo>
                  <a:pt x="396039" y="1158824"/>
                  <a:pt x="387125" y="1148653"/>
                  <a:pt x="377079" y="1139739"/>
                </a:cubicBezTo>
                <a:cubicBezTo>
                  <a:pt x="337591" y="1104770"/>
                  <a:pt x="283097" y="1106402"/>
                  <a:pt x="246809" y="1143380"/>
                </a:cubicBezTo>
                <a:cubicBezTo>
                  <a:pt x="210773" y="1180169"/>
                  <a:pt x="210146" y="1235165"/>
                  <a:pt x="247500" y="1273147"/>
                </a:cubicBezTo>
                <a:cubicBezTo>
                  <a:pt x="306200" y="1332915"/>
                  <a:pt x="366281" y="1391363"/>
                  <a:pt x="425358" y="1450754"/>
                </a:cubicBezTo>
                <a:cubicBezTo>
                  <a:pt x="434524" y="1459983"/>
                  <a:pt x="440425" y="1461238"/>
                  <a:pt x="450219" y="1451193"/>
                </a:cubicBezTo>
                <a:cubicBezTo>
                  <a:pt x="509107" y="1390484"/>
                  <a:pt x="568811" y="1330592"/>
                  <a:pt x="627825" y="1270008"/>
                </a:cubicBezTo>
                <a:cubicBezTo>
                  <a:pt x="645090" y="1252304"/>
                  <a:pt x="653565" y="1230457"/>
                  <a:pt x="652875" y="1195739"/>
                </a:cubicBezTo>
                <a:close/>
                <a:moveTo>
                  <a:pt x="1444916" y="327545"/>
                </a:moveTo>
                <a:cubicBezTo>
                  <a:pt x="1524835" y="327545"/>
                  <a:pt x="1604943" y="330559"/>
                  <a:pt x="1684674" y="326667"/>
                </a:cubicBezTo>
                <a:cubicBezTo>
                  <a:pt x="1769617" y="322523"/>
                  <a:pt x="1856192" y="382918"/>
                  <a:pt x="1860146" y="484748"/>
                </a:cubicBezTo>
                <a:cubicBezTo>
                  <a:pt x="1863411" y="568498"/>
                  <a:pt x="1866738" y="652624"/>
                  <a:pt x="1858326" y="736122"/>
                </a:cubicBezTo>
                <a:cubicBezTo>
                  <a:pt x="1849097" y="827656"/>
                  <a:pt x="1782236" y="885100"/>
                  <a:pt x="1689634" y="885665"/>
                </a:cubicBezTo>
                <a:cubicBezTo>
                  <a:pt x="1590692" y="886230"/>
                  <a:pt x="1491750" y="886105"/>
                  <a:pt x="1392807" y="885540"/>
                </a:cubicBezTo>
                <a:cubicBezTo>
                  <a:pt x="1374538" y="885414"/>
                  <a:pt x="1359157" y="889683"/>
                  <a:pt x="1344467" y="900921"/>
                </a:cubicBezTo>
                <a:cubicBezTo>
                  <a:pt x="1311757" y="925908"/>
                  <a:pt x="1278233" y="949764"/>
                  <a:pt x="1244896" y="973935"/>
                </a:cubicBezTo>
                <a:cubicBezTo>
                  <a:pt x="1239937" y="977513"/>
                  <a:pt x="1235228" y="983791"/>
                  <a:pt x="1228322" y="980841"/>
                </a:cubicBezTo>
                <a:cubicBezTo>
                  <a:pt x="1220977" y="977702"/>
                  <a:pt x="1223551" y="969917"/>
                  <a:pt x="1223362" y="964016"/>
                </a:cubicBezTo>
                <a:cubicBezTo>
                  <a:pt x="1222923" y="950580"/>
                  <a:pt x="1223551" y="937083"/>
                  <a:pt x="1222985" y="923648"/>
                </a:cubicBezTo>
                <a:cubicBezTo>
                  <a:pt x="1221981" y="899100"/>
                  <a:pt x="1211685" y="888553"/>
                  <a:pt x="1186824" y="885791"/>
                </a:cubicBezTo>
                <a:cubicBezTo>
                  <a:pt x="1104268" y="876562"/>
                  <a:pt x="1050025" y="833243"/>
                  <a:pt x="1031567" y="761234"/>
                </a:cubicBezTo>
                <a:cubicBezTo>
                  <a:pt x="1028680" y="749871"/>
                  <a:pt x="1027173" y="737880"/>
                  <a:pt x="1026859" y="726077"/>
                </a:cubicBezTo>
                <a:cubicBezTo>
                  <a:pt x="1024536" y="638310"/>
                  <a:pt x="1020518" y="550354"/>
                  <a:pt x="1029244" y="462838"/>
                </a:cubicBezTo>
                <a:cubicBezTo>
                  <a:pt x="1036527" y="389761"/>
                  <a:pt x="1107470" y="328299"/>
                  <a:pt x="1181300" y="327734"/>
                </a:cubicBezTo>
                <a:cubicBezTo>
                  <a:pt x="1269193" y="327043"/>
                  <a:pt x="1357086" y="327608"/>
                  <a:pt x="1444916" y="327545"/>
                </a:cubicBezTo>
                <a:close/>
                <a:moveTo>
                  <a:pt x="1450189" y="731790"/>
                </a:moveTo>
                <a:cubicBezTo>
                  <a:pt x="1535633" y="731790"/>
                  <a:pt x="1621141" y="731916"/>
                  <a:pt x="1706585" y="731664"/>
                </a:cubicBezTo>
                <a:cubicBezTo>
                  <a:pt x="1731571" y="731602"/>
                  <a:pt x="1745069" y="720301"/>
                  <a:pt x="1746011" y="700274"/>
                </a:cubicBezTo>
                <a:cubicBezTo>
                  <a:pt x="1747079" y="676857"/>
                  <a:pt x="1731571" y="663422"/>
                  <a:pt x="1701374" y="663359"/>
                </a:cubicBezTo>
                <a:cubicBezTo>
                  <a:pt x="1534378" y="663171"/>
                  <a:pt x="1367444" y="663171"/>
                  <a:pt x="1200447" y="663359"/>
                </a:cubicBezTo>
                <a:cubicBezTo>
                  <a:pt x="1172761" y="663422"/>
                  <a:pt x="1155496" y="677422"/>
                  <a:pt x="1155246" y="698453"/>
                </a:cubicBezTo>
                <a:cubicBezTo>
                  <a:pt x="1154994" y="719108"/>
                  <a:pt x="1171883" y="731664"/>
                  <a:pt x="1200887" y="731727"/>
                </a:cubicBezTo>
                <a:cubicBezTo>
                  <a:pt x="1284009" y="731916"/>
                  <a:pt x="1367130" y="731853"/>
                  <a:pt x="1450189" y="731790"/>
                </a:cubicBezTo>
                <a:close/>
                <a:moveTo>
                  <a:pt x="1450691" y="491780"/>
                </a:moveTo>
                <a:cubicBezTo>
                  <a:pt x="1366816" y="491780"/>
                  <a:pt x="1282941" y="491905"/>
                  <a:pt x="1199066" y="491654"/>
                </a:cubicBezTo>
                <a:cubicBezTo>
                  <a:pt x="1182241" y="491591"/>
                  <a:pt x="1167488" y="494291"/>
                  <a:pt x="1159012" y="510865"/>
                </a:cubicBezTo>
                <a:cubicBezTo>
                  <a:pt x="1146456" y="535412"/>
                  <a:pt x="1165918" y="559897"/>
                  <a:pt x="1200134" y="560022"/>
                </a:cubicBezTo>
                <a:cubicBezTo>
                  <a:pt x="1367884" y="560462"/>
                  <a:pt x="1535570" y="560399"/>
                  <a:pt x="1703320" y="560085"/>
                </a:cubicBezTo>
                <a:cubicBezTo>
                  <a:pt x="1731760" y="560022"/>
                  <a:pt x="1746827" y="546148"/>
                  <a:pt x="1746011" y="523547"/>
                </a:cubicBezTo>
                <a:cubicBezTo>
                  <a:pt x="1745258" y="502013"/>
                  <a:pt x="1731509" y="491905"/>
                  <a:pt x="1702253" y="491842"/>
                </a:cubicBezTo>
                <a:cubicBezTo>
                  <a:pt x="1618379" y="491717"/>
                  <a:pt x="1534566" y="491780"/>
                  <a:pt x="1450691" y="491780"/>
                </a:cubicBezTo>
                <a:close/>
              </a:path>
            </a:pathLst>
          </a:custGeom>
          <a:solidFill>
            <a:schemeClr val="bg1">
              <a:alpha val="90000"/>
            </a:schemeClr>
          </a:solidFill>
          <a:ln w="6278"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ECAA526A-0C1B-499F-BF07-DBADF577D028}"/>
              </a:ext>
            </a:extLst>
          </p:cNvPr>
          <p:cNvSpPr/>
          <p:nvPr/>
        </p:nvSpPr>
        <p:spPr>
          <a:xfrm>
            <a:off x="5948634" y="2326992"/>
            <a:ext cx="294730" cy="308005"/>
          </a:xfrm>
          <a:custGeom>
            <a:avLst/>
            <a:gdLst>
              <a:gd name="connsiteX0" fmla="*/ 1196426 w 2090595"/>
              <a:gd name="connsiteY0" fmla="*/ 1929200 h 2184766"/>
              <a:gd name="connsiteX1" fmla="*/ 1196238 w 2090595"/>
              <a:gd name="connsiteY1" fmla="*/ 1726795 h 2184766"/>
              <a:gd name="connsiteX2" fmla="*/ 1334418 w 2090595"/>
              <a:gd name="connsiteY2" fmla="*/ 1484273 h 2184766"/>
              <a:gd name="connsiteX3" fmla="*/ 1614482 w 2090595"/>
              <a:gd name="connsiteY3" fmla="*/ 1319914 h 2184766"/>
              <a:gd name="connsiteX4" fmla="*/ 1661254 w 2090595"/>
              <a:gd name="connsiteY4" fmla="*/ 1292730 h 2184766"/>
              <a:gd name="connsiteX5" fmla="*/ 1767228 w 2090595"/>
              <a:gd name="connsiteY5" fmla="*/ 1322927 h 2184766"/>
              <a:gd name="connsiteX6" fmla="*/ 1739290 w 2090595"/>
              <a:gd name="connsiteY6" fmla="*/ 1427457 h 2184766"/>
              <a:gd name="connsiteX7" fmla="*/ 1541971 w 2090595"/>
              <a:gd name="connsiteY7" fmla="*/ 1542157 h 2184766"/>
              <a:gd name="connsiteX8" fmla="*/ 1519872 w 2090595"/>
              <a:gd name="connsiteY8" fmla="*/ 1555592 h 2184766"/>
              <a:gd name="connsiteX9" fmla="*/ 1510329 w 2090595"/>
              <a:gd name="connsiteY9" fmla="*/ 1601296 h 2184766"/>
              <a:gd name="connsiteX10" fmla="*/ 1554778 w 2090595"/>
              <a:gd name="connsiteY10" fmla="*/ 1614104 h 2184766"/>
              <a:gd name="connsiteX11" fmla="*/ 1706016 w 2090595"/>
              <a:gd name="connsiteY11" fmla="*/ 1527780 h 2184766"/>
              <a:gd name="connsiteX12" fmla="*/ 1775075 w 2090595"/>
              <a:gd name="connsiteY12" fmla="*/ 1487350 h 2184766"/>
              <a:gd name="connsiteX13" fmla="*/ 1841497 w 2090595"/>
              <a:gd name="connsiteY13" fmla="*/ 1327385 h 2184766"/>
              <a:gd name="connsiteX14" fmla="*/ 1841999 w 2090595"/>
              <a:gd name="connsiteY14" fmla="*/ 1288272 h 2184766"/>
              <a:gd name="connsiteX15" fmla="*/ 1936045 w 2090595"/>
              <a:gd name="connsiteY15" fmla="*/ 938647 h 2184766"/>
              <a:gd name="connsiteX16" fmla="*/ 1959085 w 2090595"/>
              <a:gd name="connsiteY16" fmla="*/ 887795 h 2184766"/>
              <a:gd name="connsiteX17" fmla="*/ 2053319 w 2090595"/>
              <a:gd name="connsiteY17" fmla="*/ 868144 h 2184766"/>
              <a:gd name="connsiteX18" fmla="*/ 2091113 w 2090595"/>
              <a:gd name="connsiteY18" fmla="*/ 964826 h 2184766"/>
              <a:gd name="connsiteX19" fmla="*/ 2011507 w 2090595"/>
              <a:gd name="connsiteY19" fmla="*/ 1262344 h 2184766"/>
              <a:gd name="connsiteX20" fmla="*/ 1933471 w 2090595"/>
              <a:gd name="connsiteY20" fmla="*/ 1555404 h 2184766"/>
              <a:gd name="connsiteX21" fmla="*/ 1885129 w 2090595"/>
              <a:gd name="connsiteY21" fmla="*/ 1634193 h 2184766"/>
              <a:gd name="connsiteX22" fmla="*/ 1653971 w 2090595"/>
              <a:gd name="connsiteY22" fmla="*/ 1838168 h 2184766"/>
              <a:gd name="connsiteX23" fmla="*/ 1576186 w 2090595"/>
              <a:gd name="connsiteY23" fmla="*/ 2009559 h 2184766"/>
              <a:gd name="connsiteX24" fmla="*/ 1576500 w 2090595"/>
              <a:gd name="connsiteY24" fmla="*/ 2164878 h 2184766"/>
              <a:gd name="connsiteX25" fmla="*/ 1553271 w 2090595"/>
              <a:gd name="connsiteY25" fmla="*/ 2188107 h 2184766"/>
              <a:gd name="connsiteX26" fmla="*/ 1219027 w 2090595"/>
              <a:gd name="connsiteY26" fmla="*/ 2188107 h 2184766"/>
              <a:gd name="connsiteX27" fmla="*/ 1196112 w 2090595"/>
              <a:gd name="connsiteY27" fmla="*/ 2164564 h 2184766"/>
              <a:gd name="connsiteX28" fmla="*/ 1196426 w 2090595"/>
              <a:gd name="connsiteY28" fmla="*/ 1929200 h 2184766"/>
              <a:gd name="connsiteX29" fmla="*/ 898218 w 2090595"/>
              <a:gd name="connsiteY29" fmla="*/ 1716562 h 2184766"/>
              <a:gd name="connsiteX30" fmla="*/ 780944 w 2090595"/>
              <a:gd name="connsiteY30" fmla="*/ 1498336 h 2184766"/>
              <a:gd name="connsiteX31" fmla="*/ 434520 w 2090595"/>
              <a:gd name="connsiteY31" fmla="*/ 1293734 h 2184766"/>
              <a:gd name="connsiteX32" fmla="*/ 320197 w 2090595"/>
              <a:gd name="connsiteY32" fmla="*/ 1345151 h 2184766"/>
              <a:gd name="connsiteX33" fmla="*/ 361632 w 2090595"/>
              <a:gd name="connsiteY33" fmla="*/ 1431538 h 2184766"/>
              <a:gd name="connsiteX34" fmla="*/ 565355 w 2090595"/>
              <a:gd name="connsiteY34" fmla="*/ 1549377 h 2184766"/>
              <a:gd name="connsiteX35" fmla="*/ 585633 w 2090595"/>
              <a:gd name="connsiteY35" fmla="*/ 1599853 h 2184766"/>
              <a:gd name="connsiteX36" fmla="*/ 531077 w 2090595"/>
              <a:gd name="connsiteY36" fmla="*/ 1609521 h 2184766"/>
              <a:gd name="connsiteX37" fmla="*/ 319318 w 2090595"/>
              <a:gd name="connsiteY37" fmla="*/ 1486910 h 2184766"/>
              <a:gd name="connsiteX38" fmla="*/ 253272 w 2090595"/>
              <a:gd name="connsiteY38" fmla="*/ 1326882 h 2184766"/>
              <a:gd name="connsiteX39" fmla="*/ 252519 w 2090595"/>
              <a:gd name="connsiteY39" fmla="*/ 1287770 h 2184766"/>
              <a:gd name="connsiteX40" fmla="*/ 186662 w 2090595"/>
              <a:gd name="connsiteY40" fmla="*/ 1042549 h 2184766"/>
              <a:gd name="connsiteX41" fmla="*/ 152447 w 2090595"/>
              <a:gd name="connsiteY41" fmla="*/ 917866 h 2184766"/>
              <a:gd name="connsiteX42" fmla="*/ 74724 w 2090595"/>
              <a:gd name="connsiteY42" fmla="*/ 859983 h 2184766"/>
              <a:gd name="connsiteX43" fmla="*/ 4473 w 2090595"/>
              <a:gd name="connsiteY43" fmla="*/ 909956 h 2184766"/>
              <a:gd name="connsiteX44" fmla="*/ 5414 w 2090595"/>
              <a:gd name="connsiteY44" fmla="*/ 972423 h 2184766"/>
              <a:gd name="connsiteX45" fmla="*/ 158285 w 2090595"/>
              <a:gd name="connsiteY45" fmla="*/ 1544857 h 2184766"/>
              <a:gd name="connsiteX46" fmla="*/ 222384 w 2090595"/>
              <a:gd name="connsiteY46" fmla="*/ 1645745 h 2184766"/>
              <a:gd name="connsiteX47" fmla="*/ 454673 w 2090595"/>
              <a:gd name="connsiteY47" fmla="*/ 1851980 h 2184766"/>
              <a:gd name="connsiteX48" fmla="*/ 515319 w 2090595"/>
              <a:gd name="connsiteY48" fmla="*/ 1970572 h 2184766"/>
              <a:gd name="connsiteX49" fmla="*/ 518144 w 2090595"/>
              <a:gd name="connsiteY49" fmla="*/ 2161049 h 2184766"/>
              <a:gd name="connsiteX50" fmla="*/ 544637 w 2090595"/>
              <a:gd name="connsiteY50" fmla="*/ 2188421 h 2184766"/>
              <a:gd name="connsiteX51" fmla="*/ 871850 w 2090595"/>
              <a:gd name="connsiteY51" fmla="*/ 2188421 h 2184766"/>
              <a:gd name="connsiteX52" fmla="*/ 898909 w 2090595"/>
              <a:gd name="connsiteY52" fmla="*/ 2161614 h 2184766"/>
              <a:gd name="connsiteX53" fmla="*/ 898469 w 2090595"/>
              <a:gd name="connsiteY53" fmla="*/ 1928572 h 2184766"/>
              <a:gd name="connsiteX54" fmla="*/ 898218 w 2090595"/>
              <a:gd name="connsiteY54" fmla="*/ 1716562 h 2184766"/>
              <a:gd name="connsiteX55" fmla="*/ 729526 w 2090595"/>
              <a:gd name="connsiteY55" fmla="*/ 602645 h 2184766"/>
              <a:gd name="connsiteX56" fmla="*/ 583624 w 2090595"/>
              <a:gd name="connsiteY56" fmla="*/ 602645 h 2184766"/>
              <a:gd name="connsiteX57" fmla="*/ 545705 w 2090595"/>
              <a:gd name="connsiteY57" fmla="*/ 628762 h 2184766"/>
              <a:gd name="connsiteX58" fmla="*/ 558324 w 2090595"/>
              <a:gd name="connsiteY58" fmla="*/ 673148 h 2184766"/>
              <a:gd name="connsiteX59" fmla="*/ 575274 w 2090595"/>
              <a:gd name="connsiteY59" fmla="*/ 685829 h 2184766"/>
              <a:gd name="connsiteX60" fmla="*/ 790361 w 2090595"/>
              <a:gd name="connsiteY60" fmla="*/ 842153 h 2184766"/>
              <a:gd name="connsiteX61" fmla="*/ 810137 w 2090595"/>
              <a:gd name="connsiteY61" fmla="*/ 904494 h 2184766"/>
              <a:gd name="connsiteX62" fmla="*/ 765437 w 2090595"/>
              <a:gd name="connsiteY62" fmla="*/ 1040791 h 2184766"/>
              <a:gd name="connsiteX63" fmla="*/ 724316 w 2090595"/>
              <a:gd name="connsiteY63" fmla="*/ 1168361 h 2184766"/>
              <a:gd name="connsiteX64" fmla="*/ 737374 w 2090595"/>
              <a:gd name="connsiteY64" fmla="*/ 1219025 h 2184766"/>
              <a:gd name="connsiteX65" fmla="*/ 789607 w 2090595"/>
              <a:gd name="connsiteY65" fmla="*/ 1215949 h 2184766"/>
              <a:gd name="connsiteX66" fmla="*/ 801096 w 2090595"/>
              <a:gd name="connsiteY66" fmla="*/ 1207725 h 2184766"/>
              <a:gd name="connsiteX67" fmla="*/ 1012353 w 2090595"/>
              <a:gd name="connsiteY67" fmla="*/ 1054163 h 2184766"/>
              <a:gd name="connsiteX68" fmla="*/ 1081726 w 2090595"/>
              <a:gd name="connsiteY68" fmla="*/ 1053598 h 2184766"/>
              <a:gd name="connsiteX69" fmla="*/ 1192094 w 2090595"/>
              <a:gd name="connsiteY69" fmla="*/ 1133957 h 2184766"/>
              <a:gd name="connsiteX70" fmla="*/ 1308427 w 2090595"/>
              <a:gd name="connsiteY70" fmla="*/ 1218021 h 2184766"/>
              <a:gd name="connsiteX71" fmla="*/ 1358526 w 2090595"/>
              <a:gd name="connsiteY71" fmla="*/ 1218146 h 2184766"/>
              <a:gd name="connsiteX72" fmla="*/ 1371396 w 2090595"/>
              <a:gd name="connsiteY72" fmla="*/ 1171375 h 2184766"/>
              <a:gd name="connsiteX73" fmla="*/ 1366436 w 2090595"/>
              <a:gd name="connsiteY73" fmla="*/ 1155680 h 2184766"/>
              <a:gd name="connsiteX74" fmla="*/ 1285512 w 2090595"/>
              <a:gd name="connsiteY74" fmla="*/ 907508 h 2184766"/>
              <a:gd name="connsiteX75" fmla="*/ 1307422 w 2090595"/>
              <a:gd name="connsiteY75" fmla="*/ 839830 h 2184766"/>
              <a:gd name="connsiteX76" fmla="*/ 1524643 w 2090595"/>
              <a:gd name="connsiteY76" fmla="*/ 682376 h 2184766"/>
              <a:gd name="connsiteX77" fmla="*/ 1549253 w 2090595"/>
              <a:gd name="connsiteY77" fmla="*/ 629578 h 2184766"/>
              <a:gd name="connsiteX78" fmla="*/ 1497836 w 2090595"/>
              <a:gd name="connsiteY78" fmla="*/ 602331 h 2184766"/>
              <a:gd name="connsiteX79" fmla="*/ 1229511 w 2090595"/>
              <a:gd name="connsiteY79" fmla="*/ 602457 h 2184766"/>
              <a:gd name="connsiteX80" fmla="*/ 1173260 w 2090595"/>
              <a:gd name="connsiteY80" fmla="*/ 561335 h 2184766"/>
              <a:gd name="connsiteX81" fmla="*/ 1097923 w 2090595"/>
              <a:gd name="connsiteY81" fmla="*/ 328670 h 2184766"/>
              <a:gd name="connsiteX82" fmla="*/ 1084865 w 2090595"/>
              <a:gd name="connsiteY82" fmla="*/ 290876 h 2184766"/>
              <a:gd name="connsiteX83" fmla="*/ 1046569 w 2090595"/>
              <a:gd name="connsiteY83" fmla="*/ 264697 h 2184766"/>
              <a:gd name="connsiteX84" fmla="*/ 1010156 w 2090595"/>
              <a:gd name="connsiteY84" fmla="*/ 290186 h 2184766"/>
              <a:gd name="connsiteX85" fmla="*/ 1000676 w 2090595"/>
              <a:gd name="connsiteY85" fmla="*/ 316742 h 2184766"/>
              <a:gd name="connsiteX86" fmla="*/ 920882 w 2090595"/>
              <a:gd name="connsiteY86" fmla="*/ 562779 h 2184766"/>
              <a:gd name="connsiteX87" fmla="*/ 865949 w 2090595"/>
              <a:gd name="connsiteY87" fmla="*/ 602457 h 2184766"/>
              <a:gd name="connsiteX88" fmla="*/ 729464 w 2090595"/>
              <a:gd name="connsiteY88" fmla="*/ 602519 h 2184766"/>
              <a:gd name="connsiteX89" fmla="*/ 729526 w 2090595"/>
              <a:gd name="connsiteY89" fmla="*/ 602645 h 2184766"/>
              <a:gd name="connsiteX90" fmla="*/ 2012951 w 2090595"/>
              <a:gd name="connsiteY90" fmla="*/ 753946 h 2184766"/>
              <a:gd name="connsiteX91" fmla="*/ 1944018 w 2090595"/>
              <a:gd name="connsiteY91" fmla="*/ 708932 h 2184766"/>
              <a:gd name="connsiteX92" fmla="*/ 1866107 w 2090595"/>
              <a:gd name="connsiteY92" fmla="*/ 769955 h 2184766"/>
              <a:gd name="connsiteX93" fmla="*/ 1743622 w 2090595"/>
              <a:gd name="connsiteY93" fmla="*/ 1199124 h 2184766"/>
              <a:gd name="connsiteX94" fmla="*/ 1771810 w 2090595"/>
              <a:gd name="connsiteY94" fmla="*/ 1232397 h 2184766"/>
              <a:gd name="connsiteX95" fmla="*/ 1790080 w 2090595"/>
              <a:gd name="connsiteY95" fmla="*/ 1213375 h 2184766"/>
              <a:gd name="connsiteX96" fmla="*/ 1848842 w 2090595"/>
              <a:gd name="connsiteY96" fmla="*/ 995652 h 2184766"/>
              <a:gd name="connsiteX97" fmla="*/ 1872259 w 2090595"/>
              <a:gd name="connsiteY97" fmla="*/ 909517 h 2184766"/>
              <a:gd name="connsiteX98" fmla="*/ 1993615 w 2090595"/>
              <a:gd name="connsiteY98" fmla="*/ 792117 h 2184766"/>
              <a:gd name="connsiteX99" fmla="*/ 2018036 w 2090595"/>
              <a:gd name="connsiteY99" fmla="*/ 769390 h 2184766"/>
              <a:gd name="connsiteX100" fmla="*/ 2012951 w 2090595"/>
              <a:gd name="connsiteY100" fmla="*/ 753946 h 2184766"/>
              <a:gd name="connsiteX101" fmla="*/ 82132 w 2090595"/>
              <a:gd name="connsiteY101" fmla="*/ 752942 h 2184766"/>
              <a:gd name="connsiteX102" fmla="*/ 99962 w 2090595"/>
              <a:gd name="connsiteY102" fmla="*/ 792117 h 2184766"/>
              <a:gd name="connsiteX103" fmla="*/ 222761 w 2090595"/>
              <a:gd name="connsiteY103" fmla="*/ 910772 h 2184766"/>
              <a:gd name="connsiteX104" fmla="*/ 304815 w 2090595"/>
              <a:gd name="connsiteY104" fmla="*/ 1214693 h 2184766"/>
              <a:gd name="connsiteX105" fmla="*/ 321703 w 2090595"/>
              <a:gd name="connsiteY105" fmla="*/ 1232900 h 2184766"/>
              <a:gd name="connsiteX106" fmla="*/ 351210 w 2090595"/>
              <a:gd name="connsiteY106" fmla="*/ 1200379 h 2184766"/>
              <a:gd name="connsiteX107" fmla="*/ 228160 w 2090595"/>
              <a:gd name="connsiteY107" fmla="*/ 768825 h 2184766"/>
              <a:gd name="connsiteX108" fmla="*/ 147110 w 2090595"/>
              <a:gd name="connsiteY108" fmla="*/ 708870 h 2184766"/>
              <a:gd name="connsiteX109" fmla="*/ 82132 w 2090595"/>
              <a:gd name="connsiteY109" fmla="*/ 752942 h 2184766"/>
              <a:gd name="connsiteX110" fmla="*/ 530009 w 2090595"/>
              <a:gd name="connsiteY110" fmla="*/ 449397 h 2184766"/>
              <a:gd name="connsiteX111" fmla="*/ 518960 w 2090595"/>
              <a:gd name="connsiteY111" fmla="*/ 404886 h 2184766"/>
              <a:gd name="connsiteX112" fmla="*/ 441865 w 2090595"/>
              <a:gd name="connsiteY112" fmla="*/ 360374 h 2184766"/>
              <a:gd name="connsiteX113" fmla="*/ 395722 w 2090595"/>
              <a:gd name="connsiteY113" fmla="*/ 373370 h 2184766"/>
              <a:gd name="connsiteX114" fmla="*/ 394906 w 2090595"/>
              <a:gd name="connsiteY114" fmla="*/ 418886 h 2184766"/>
              <a:gd name="connsiteX115" fmla="*/ 484494 w 2090595"/>
              <a:gd name="connsiteY115" fmla="*/ 473442 h 2184766"/>
              <a:gd name="connsiteX116" fmla="*/ 530009 w 2090595"/>
              <a:gd name="connsiteY116" fmla="*/ 449397 h 2184766"/>
              <a:gd name="connsiteX117" fmla="*/ 1418230 w 2090595"/>
              <a:gd name="connsiteY117" fmla="*/ 97449 h 2184766"/>
              <a:gd name="connsiteX118" fmla="*/ 1372840 w 2090595"/>
              <a:gd name="connsiteY118" fmla="*/ 111951 h 2184766"/>
              <a:gd name="connsiteX119" fmla="*/ 1332032 w 2090595"/>
              <a:gd name="connsiteY119" fmla="*/ 182956 h 2184766"/>
              <a:gd name="connsiteX120" fmla="*/ 1348857 w 2090595"/>
              <a:gd name="connsiteY120" fmla="*/ 235378 h 2184766"/>
              <a:gd name="connsiteX121" fmla="*/ 1402095 w 2090595"/>
              <a:gd name="connsiteY121" fmla="*/ 220374 h 2184766"/>
              <a:gd name="connsiteX122" fmla="*/ 1439638 w 2090595"/>
              <a:gd name="connsiteY122" fmla="*/ 155521 h 2184766"/>
              <a:gd name="connsiteX123" fmla="*/ 1444347 w 2090595"/>
              <a:gd name="connsiteY123" fmla="*/ 135180 h 2184766"/>
              <a:gd name="connsiteX124" fmla="*/ 1418230 w 2090595"/>
              <a:gd name="connsiteY124" fmla="*/ 97449 h 2184766"/>
              <a:gd name="connsiteX125" fmla="*/ 1656043 w 2090595"/>
              <a:gd name="connsiteY125" fmla="*/ 359056 h 2184766"/>
              <a:gd name="connsiteX126" fmla="*/ 1573487 w 2090595"/>
              <a:gd name="connsiteY126" fmla="*/ 407334 h 2184766"/>
              <a:gd name="connsiteX127" fmla="*/ 1567711 w 2090595"/>
              <a:gd name="connsiteY127" fmla="*/ 454734 h 2184766"/>
              <a:gd name="connsiteX128" fmla="*/ 1614043 w 2090595"/>
              <a:gd name="connsiteY128" fmla="*/ 471936 h 2184766"/>
              <a:gd name="connsiteX129" fmla="*/ 1694841 w 2090595"/>
              <a:gd name="connsiteY129" fmla="*/ 425290 h 2184766"/>
              <a:gd name="connsiteX130" fmla="*/ 1704133 w 2090595"/>
              <a:gd name="connsiteY130" fmla="*/ 382536 h 2184766"/>
              <a:gd name="connsiteX131" fmla="*/ 1666904 w 2090595"/>
              <a:gd name="connsiteY131" fmla="*/ 357863 h 2184766"/>
              <a:gd name="connsiteX132" fmla="*/ 1656043 w 2090595"/>
              <a:gd name="connsiteY132" fmla="*/ 359056 h 2184766"/>
              <a:gd name="connsiteX133" fmla="*/ 707930 w 2090595"/>
              <a:gd name="connsiteY133" fmla="*/ 100274 h 2184766"/>
              <a:gd name="connsiteX134" fmla="*/ 666432 w 2090595"/>
              <a:gd name="connsiteY134" fmla="*/ 102785 h 2184766"/>
              <a:gd name="connsiteX135" fmla="*/ 651239 w 2090595"/>
              <a:gd name="connsiteY135" fmla="*/ 141772 h 2184766"/>
              <a:gd name="connsiteX136" fmla="*/ 701840 w 2090595"/>
              <a:gd name="connsiteY136" fmla="*/ 230356 h 2184766"/>
              <a:gd name="connsiteX137" fmla="*/ 743338 w 2090595"/>
              <a:gd name="connsiteY137" fmla="*/ 236257 h 2184766"/>
              <a:gd name="connsiteX138" fmla="*/ 766504 w 2090595"/>
              <a:gd name="connsiteY138" fmla="*/ 193943 h 2184766"/>
              <a:gd name="connsiteX139" fmla="*/ 707930 w 2090595"/>
              <a:gd name="connsiteY139" fmla="*/ 100274 h 2184766"/>
              <a:gd name="connsiteX140" fmla="*/ 1086121 w 2090595"/>
              <a:gd name="connsiteY140" fmla="*/ 34480 h 2184766"/>
              <a:gd name="connsiteX141" fmla="*/ 1046129 w 2090595"/>
              <a:gd name="connsiteY141" fmla="*/ 13 h 2184766"/>
              <a:gd name="connsiteX142" fmla="*/ 1008586 w 2090595"/>
              <a:gd name="connsiteY142" fmla="*/ 34480 h 2184766"/>
              <a:gd name="connsiteX143" fmla="*/ 1008586 w 2090595"/>
              <a:gd name="connsiteY143" fmla="*/ 119108 h 2184766"/>
              <a:gd name="connsiteX144" fmla="*/ 1046129 w 2090595"/>
              <a:gd name="connsiteY144" fmla="*/ 153575 h 2184766"/>
              <a:gd name="connsiteX145" fmla="*/ 1086121 w 2090595"/>
              <a:gd name="connsiteY145" fmla="*/ 119046 h 2184766"/>
              <a:gd name="connsiteX146" fmla="*/ 1086309 w 2090595"/>
              <a:gd name="connsiteY146" fmla="*/ 76731 h 2184766"/>
              <a:gd name="connsiteX147" fmla="*/ 1086121 w 2090595"/>
              <a:gd name="connsiteY147" fmla="*/ 34480 h 218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2090595" h="2184766">
                <a:moveTo>
                  <a:pt x="1196426" y="1929200"/>
                </a:moveTo>
                <a:cubicBezTo>
                  <a:pt x="1196426" y="1861711"/>
                  <a:pt x="1197054" y="1794221"/>
                  <a:pt x="1196238" y="1726795"/>
                </a:cubicBezTo>
                <a:cubicBezTo>
                  <a:pt x="1194982" y="1618749"/>
                  <a:pt x="1242507" y="1538704"/>
                  <a:pt x="1334418" y="1484273"/>
                </a:cubicBezTo>
                <a:cubicBezTo>
                  <a:pt x="1427522" y="1429089"/>
                  <a:pt x="1521127" y="1374658"/>
                  <a:pt x="1614482" y="1319914"/>
                </a:cubicBezTo>
                <a:cubicBezTo>
                  <a:pt x="1630052" y="1310810"/>
                  <a:pt x="1645245" y="1300954"/>
                  <a:pt x="1661254" y="1292730"/>
                </a:cubicBezTo>
                <a:cubicBezTo>
                  <a:pt x="1700994" y="1272263"/>
                  <a:pt x="1745694" y="1285322"/>
                  <a:pt x="1767228" y="1322927"/>
                </a:cubicBezTo>
                <a:cubicBezTo>
                  <a:pt x="1788008" y="1359214"/>
                  <a:pt x="1777272" y="1404542"/>
                  <a:pt x="1739290" y="1427457"/>
                </a:cubicBezTo>
                <a:cubicBezTo>
                  <a:pt x="1674124" y="1466758"/>
                  <a:pt x="1607765" y="1503986"/>
                  <a:pt x="1541971" y="1542157"/>
                </a:cubicBezTo>
                <a:cubicBezTo>
                  <a:pt x="1534500" y="1546489"/>
                  <a:pt x="1526715" y="1550444"/>
                  <a:pt x="1519872" y="1555592"/>
                </a:cubicBezTo>
                <a:cubicBezTo>
                  <a:pt x="1503612" y="1567834"/>
                  <a:pt x="1500096" y="1584471"/>
                  <a:pt x="1510329" y="1601296"/>
                </a:cubicBezTo>
                <a:cubicBezTo>
                  <a:pt x="1520374" y="1617808"/>
                  <a:pt x="1536509" y="1624337"/>
                  <a:pt x="1554778" y="1614104"/>
                </a:cubicBezTo>
                <a:cubicBezTo>
                  <a:pt x="1605379" y="1585727"/>
                  <a:pt x="1655666" y="1556722"/>
                  <a:pt x="1706016" y="1527780"/>
                </a:cubicBezTo>
                <a:cubicBezTo>
                  <a:pt x="1729120" y="1514471"/>
                  <a:pt x="1752349" y="1501350"/>
                  <a:pt x="1775075" y="1487350"/>
                </a:cubicBezTo>
                <a:cubicBezTo>
                  <a:pt x="1830950" y="1452883"/>
                  <a:pt x="1856753" y="1390981"/>
                  <a:pt x="1841497" y="1327385"/>
                </a:cubicBezTo>
                <a:cubicBezTo>
                  <a:pt x="1838295" y="1313949"/>
                  <a:pt x="1838421" y="1301582"/>
                  <a:pt x="1841999" y="1288272"/>
                </a:cubicBezTo>
                <a:cubicBezTo>
                  <a:pt x="1873578" y="1171814"/>
                  <a:pt x="1904717" y="1055231"/>
                  <a:pt x="1936045" y="938647"/>
                </a:cubicBezTo>
                <a:cubicBezTo>
                  <a:pt x="1940942" y="920440"/>
                  <a:pt x="1945713" y="902360"/>
                  <a:pt x="1959085" y="887795"/>
                </a:cubicBezTo>
                <a:cubicBezTo>
                  <a:pt x="1984009" y="860673"/>
                  <a:pt x="2022619" y="852323"/>
                  <a:pt x="2053319" y="868144"/>
                </a:cubicBezTo>
                <a:cubicBezTo>
                  <a:pt x="2087597" y="885786"/>
                  <a:pt x="2102351" y="922073"/>
                  <a:pt x="2091113" y="964826"/>
                </a:cubicBezTo>
                <a:cubicBezTo>
                  <a:pt x="2064933" y="1064083"/>
                  <a:pt x="2038001" y="1163150"/>
                  <a:pt x="2011507" y="1262344"/>
                </a:cubicBezTo>
                <a:cubicBezTo>
                  <a:pt x="1985390" y="1360031"/>
                  <a:pt x="1959148" y="1457654"/>
                  <a:pt x="1933471" y="1555404"/>
                </a:cubicBezTo>
                <a:cubicBezTo>
                  <a:pt x="1925246" y="1586794"/>
                  <a:pt x="1909677" y="1612723"/>
                  <a:pt x="1885129" y="1634193"/>
                </a:cubicBezTo>
                <a:cubicBezTo>
                  <a:pt x="1807846" y="1701934"/>
                  <a:pt x="1732008" y="1771307"/>
                  <a:pt x="1653971" y="1838168"/>
                </a:cubicBezTo>
                <a:cubicBezTo>
                  <a:pt x="1600670" y="1883809"/>
                  <a:pt x="1575621" y="1940249"/>
                  <a:pt x="1576186" y="2009559"/>
                </a:cubicBezTo>
                <a:cubicBezTo>
                  <a:pt x="1576626" y="2061353"/>
                  <a:pt x="1575747" y="2113147"/>
                  <a:pt x="1576500" y="2164878"/>
                </a:cubicBezTo>
                <a:cubicBezTo>
                  <a:pt x="1576751" y="2182206"/>
                  <a:pt x="1570536" y="2188170"/>
                  <a:pt x="1553271" y="2188107"/>
                </a:cubicBezTo>
                <a:cubicBezTo>
                  <a:pt x="1441835" y="2187605"/>
                  <a:pt x="1330463" y="2187542"/>
                  <a:pt x="1219027" y="2188107"/>
                </a:cubicBezTo>
                <a:cubicBezTo>
                  <a:pt x="1201386" y="2188170"/>
                  <a:pt x="1195987" y="2181515"/>
                  <a:pt x="1196112" y="2164564"/>
                </a:cubicBezTo>
                <a:cubicBezTo>
                  <a:pt x="1196740" y="2086089"/>
                  <a:pt x="1196426" y="2007676"/>
                  <a:pt x="1196426" y="1929200"/>
                </a:cubicBezTo>
                <a:close/>
                <a:moveTo>
                  <a:pt x="898218" y="1716562"/>
                </a:moveTo>
                <a:cubicBezTo>
                  <a:pt x="897716" y="1623207"/>
                  <a:pt x="859043" y="1547494"/>
                  <a:pt x="780944" y="1498336"/>
                </a:cubicBezTo>
                <a:cubicBezTo>
                  <a:pt x="667499" y="1426892"/>
                  <a:pt x="550790" y="1360533"/>
                  <a:pt x="434520" y="1293734"/>
                </a:cubicBezTo>
                <a:cubicBezTo>
                  <a:pt x="387623" y="1266801"/>
                  <a:pt x="333318" y="1292981"/>
                  <a:pt x="320197" y="1345151"/>
                </a:cubicBezTo>
                <a:cubicBezTo>
                  <a:pt x="311721" y="1378927"/>
                  <a:pt x="326412" y="1410883"/>
                  <a:pt x="361632" y="1431538"/>
                </a:cubicBezTo>
                <a:cubicBezTo>
                  <a:pt x="429309" y="1471152"/>
                  <a:pt x="497552" y="1509888"/>
                  <a:pt x="565355" y="1549377"/>
                </a:cubicBezTo>
                <a:cubicBezTo>
                  <a:pt x="588647" y="1562937"/>
                  <a:pt x="595427" y="1581144"/>
                  <a:pt x="585633" y="1599853"/>
                </a:cubicBezTo>
                <a:cubicBezTo>
                  <a:pt x="575714" y="1618812"/>
                  <a:pt x="554933" y="1623144"/>
                  <a:pt x="531077" y="1609521"/>
                </a:cubicBezTo>
                <a:cubicBezTo>
                  <a:pt x="460260" y="1569027"/>
                  <a:pt x="389318" y="1528659"/>
                  <a:pt x="319318" y="1486910"/>
                </a:cubicBezTo>
                <a:cubicBezTo>
                  <a:pt x="263192" y="1453448"/>
                  <a:pt x="237828" y="1390479"/>
                  <a:pt x="253272" y="1326882"/>
                </a:cubicBezTo>
                <a:cubicBezTo>
                  <a:pt x="256537" y="1313384"/>
                  <a:pt x="256160" y="1301017"/>
                  <a:pt x="252519" y="1287770"/>
                </a:cubicBezTo>
                <a:cubicBezTo>
                  <a:pt x="230295" y="1206092"/>
                  <a:pt x="208635" y="1124289"/>
                  <a:pt x="186662" y="1042549"/>
                </a:cubicBezTo>
                <a:cubicBezTo>
                  <a:pt x="175487" y="1000925"/>
                  <a:pt x="164877" y="959113"/>
                  <a:pt x="152447" y="917866"/>
                </a:cubicBezTo>
                <a:cubicBezTo>
                  <a:pt x="141900" y="883086"/>
                  <a:pt x="109442" y="860046"/>
                  <a:pt x="74724" y="859983"/>
                </a:cubicBezTo>
                <a:cubicBezTo>
                  <a:pt x="43962" y="859857"/>
                  <a:pt x="14957" y="880072"/>
                  <a:pt x="4473" y="909956"/>
                </a:cubicBezTo>
                <a:cubicBezTo>
                  <a:pt x="-2873" y="930674"/>
                  <a:pt x="-173" y="951580"/>
                  <a:pt x="5414" y="972423"/>
                </a:cubicBezTo>
                <a:cubicBezTo>
                  <a:pt x="56581" y="1163150"/>
                  <a:pt x="108312" y="1353752"/>
                  <a:pt x="158285" y="1544857"/>
                </a:cubicBezTo>
                <a:cubicBezTo>
                  <a:pt x="169146" y="1586355"/>
                  <a:pt x="190178" y="1617996"/>
                  <a:pt x="222384" y="1645745"/>
                </a:cubicBezTo>
                <a:cubicBezTo>
                  <a:pt x="300860" y="1713297"/>
                  <a:pt x="377704" y="1782732"/>
                  <a:pt x="454673" y="1851980"/>
                </a:cubicBezTo>
                <a:cubicBezTo>
                  <a:pt x="489704" y="1883558"/>
                  <a:pt x="510422" y="1922796"/>
                  <a:pt x="515319" y="1970572"/>
                </a:cubicBezTo>
                <a:cubicBezTo>
                  <a:pt x="521785" y="2034043"/>
                  <a:pt x="517516" y="2097577"/>
                  <a:pt x="518144" y="2161049"/>
                </a:cubicBezTo>
                <a:cubicBezTo>
                  <a:pt x="518332" y="2181013"/>
                  <a:pt x="523480" y="2188609"/>
                  <a:pt x="544637" y="2188421"/>
                </a:cubicBezTo>
                <a:cubicBezTo>
                  <a:pt x="653687" y="2187542"/>
                  <a:pt x="762737" y="2187542"/>
                  <a:pt x="871850" y="2188421"/>
                </a:cubicBezTo>
                <a:cubicBezTo>
                  <a:pt x="892317" y="2188547"/>
                  <a:pt x="899160" y="2182457"/>
                  <a:pt x="898909" y="2161614"/>
                </a:cubicBezTo>
                <a:cubicBezTo>
                  <a:pt x="897904" y="2083954"/>
                  <a:pt x="898469" y="2006232"/>
                  <a:pt x="898469" y="1928572"/>
                </a:cubicBezTo>
                <a:cubicBezTo>
                  <a:pt x="898281" y="1857818"/>
                  <a:pt x="898595" y="1787190"/>
                  <a:pt x="898218" y="1716562"/>
                </a:cubicBezTo>
                <a:close/>
                <a:moveTo>
                  <a:pt x="729526" y="602645"/>
                </a:moveTo>
                <a:cubicBezTo>
                  <a:pt x="680871" y="602645"/>
                  <a:pt x="632216" y="602582"/>
                  <a:pt x="583624" y="602645"/>
                </a:cubicBezTo>
                <a:cubicBezTo>
                  <a:pt x="565104" y="602645"/>
                  <a:pt x="552359" y="611497"/>
                  <a:pt x="545705" y="628762"/>
                </a:cubicBezTo>
                <a:cubicBezTo>
                  <a:pt x="538862" y="646591"/>
                  <a:pt x="545391" y="660968"/>
                  <a:pt x="558324" y="673148"/>
                </a:cubicBezTo>
                <a:cubicBezTo>
                  <a:pt x="563472" y="677919"/>
                  <a:pt x="569561" y="681686"/>
                  <a:pt x="575274" y="685829"/>
                </a:cubicBezTo>
                <a:cubicBezTo>
                  <a:pt x="646970" y="737937"/>
                  <a:pt x="718791" y="789857"/>
                  <a:pt x="790361" y="842153"/>
                </a:cubicBezTo>
                <a:cubicBezTo>
                  <a:pt x="817859" y="862243"/>
                  <a:pt x="820684" y="871911"/>
                  <a:pt x="810137" y="904494"/>
                </a:cubicBezTo>
                <a:cubicBezTo>
                  <a:pt x="795383" y="950010"/>
                  <a:pt x="780190" y="995338"/>
                  <a:pt x="765437" y="1040791"/>
                </a:cubicBezTo>
                <a:cubicBezTo>
                  <a:pt x="751625" y="1083293"/>
                  <a:pt x="738065" y="1125859"/>
                  <a:pt x="724316" y="1168361"/>
                </a:cubicBezTo>
                <a:cubicBezTo>
                  <a:pt x="717975" y="1188074"/>
                  <a:pt x="719858" y="1206030"/>
                  <a:pt x="737374" y="1219025"/>
                </a:cubicBezTo>
                <a:cubicBezTo>
                  <a:pt x="755141" y="1232146"/>
                  <a:pt x="772845" y="1227815"/>
                  <a:pt x="789607" y="1215949"/>
                </a:cubicBezTo>
                <a:cubicBezTo>
                  <a:pt x="793437" y="1213249"/>
                  <a:pt x="797267" y="1210487"/>
                  <a:pt x="801096" y="1207725"/>
                </a:cubicBezTo>
                <a:cubicBezTo>
                  <a:pt x="871536" y="1156558"/>
                  <a:pt x="941913" y="1105329"/>
                  <a:pt x="1012353" y="1054163"/>
                </a:cubicBezTo>
                <a:cubicBezTo>
                  <a:pt x="1042174" y="1032504"/>
                  <a:pt x="1052470" y="1032378"/>
                  <a:pt x="1081726" y="1053598"/>
                </a:cubicBezTo>
                <a:cubicBezTo>
                  <a:pt x="1118578" y="1080280"/>
                  <a:pt x="1155242" y="1107213"/>
                  <a:pt x="1192094" y="1133957"/>
                </a:cubicBezTo>
                <a:cubicBezTo>
                  <a:pt x="1230830" y="1162083"/>
                  <a:pt x="1269503" y="1190209"/>
                  <a:pt x="1308427" y="1218021"/>
                </a:cubicBezTo>
                <a:cubicBezTo>
                  <a:pt x="1324750" y="1229698"/>
                  <a:pt x="1342203" y="1230954"/>
                  <a:pt x="1358526" y="1218146"/>
                </a:cubicBezTo>
                <a:cubicBezTo>
                  <a:pt x="1373970" y="1206030"/>
                  <a:pt x="1376355" y="1189518"/>
                  <a:pt x="1371396" y="1171375"/>
                </a:cubicBezTo>
                <a:cubicBezTo>
                  <a:pt x="1369952" y="1166101"/>
                  <a:pt x="1368131" y="1160890"/>
                  <a:pt x="1366436" y="1155680"/>
                </a:cubicBezTo>
                <a:cubicBezTo>
                  <a:pt x="1339440" y="1072935"/>
                  <a:pt x="1312445" y="990252"/>
                  <a:pt x="1285512" y="907508"/>
                </a:cubicBezTo>
                <a:cubicBezTo>
                  <a:pt x="1273646" y="871032"/>
                  <a:pt x="1276660" y="862117"/>
                  <a:pt x="1307422" y="839830"/>
                </a:cubicBezTo>
                <a:cubicBezTo>
                  <a:pt x="1379808" y="787346"/>
                  <a:pt x="1452132" y="734735"/>
                  <a:pt x="1524643" y="682376"/>
                </a:cubicBezTo>
                <a:cubicBezTo>
                  <a:pt x="1542850" y="669192"/>
                  <a:pt x="1557603" y="654502"/>
                  <a:pt x="1549253" y="629578"/>
                </a:cubicBezTo>
                <a:cubicBezTo>
                  <a:pt x="1540903" y="604654"/>
                  <a:pt x="1520437" y="602205"/>
                  <a:pt x="1497836" y="602331"/>
                </a:cubicBezTo>
                <a:cubicBezTo>
                  <a:pt x="1408373" y="602770"/>
                  <a:pt x="1318974" y="602582"/>
                  <a:pt x="1229511" y="602457"/>
                </a:cubicBezTo>
                <a:cubicBezTo>
                  <a:pt x="1194103" y="602394"/>
                  <a:pt x="1184310" y="595300"/>
                  <a:pt x="1173260" y="561335"/>
                </a:cubicBezTo>
                <a:cubicBezTo>
                  <a:pt x="1148022" y="483801"/>
                  <a:pt x="1123036" y="406204"/>
                  <a:pt x="1097923" y="328670"/>
                </a:cubicBezTo>
                <a:cubicBezTo>
                  <a:pt x="1093842" y="315988"/>
                  <a:pt x="1090013" y="303181"/>
                  <a:pt x="1084865" y="290876"/>
                </a:cubicBezTo>
                <a:cubicBezTo>
                  <a:pt x="1077896" y="274177"/>
                  <a:pt x="1064901" y="264320"/>
                  <a:pt x="1046569" y="264697"/>
                </a:cubicBezTo>
                <a:cubicBezTo>
                  <a:pt x="1029429" y="265011"/>
                  <a:pt x="1016999" y="274490"/>
                  <a:pt x="1010156" y="290186"/>
                </a:cubicBezTo>
                <a:cubicBezTo>
                  <a:pt x="1006389" y="298787"/>
                  <a:pt x="1003627" y="307827"/>
                  <a:pt x="1000676" y="316742"/>
                </a:cubicBezTo>
                <a:cubicBezTo>
                  <a:pt x="974057" y="398733"/>
                  <a:pt x="947626" y="480850"/>
                  <a:pt x="920882" y="562779"/>
                </a:cubicBezTo>
                <a:cubicBezTo>
                  <a:pt x="910398" y="594923"/>
                  <a:pt x="900039" y="602268"/>
                  <a:pt x="865949" y="602457"/>
                </a:cubicBezTo>
                <a:cubicBezTo>
                  <a:pt x="820433" y="602645"/>
                  <a:pt x="774917" y="602519"/>
                  <a:pt x="729464" y="602519"/>
                </a:cubicBezTo>
                <a:cubicBezTo>
                  <a:pt x="729526" y="602582"/>
                  <a:pt x="729526" y="602645"/>
                  <a:pt x="729526" y="602645"/>
                </a:cubicBezTo>
                <a:close/>
                <a:moveTo>
                  <a:pt x="2012951" y="753946"/>
                </a:moveTo>
                <a:cubicBezTo>
                  <a:pt x="2000897" y="727013"/>
                  <a:pt x="1971328" y="707865"/>
                  <a:pt x="1944018" y="708932"/>
                </a:cubicBezTo>
                <a:cubicBezTo>
                  <a:pt x="1907605" y="710314"/>
                  <a:pt x="1876843" y="732726"/>
                  <a:pt x="1866107" y="769955"/>
                </a:cubicBezTo>
                <a:cubicBezTo>
                  <a:pt x="1824797" y="912907"/>
                  <a:pt x="1784806" y="1056172"/>
                  <a:pt x="1743622" y="1199124"/>
                </a:cubicBezTo>
                <a:cubicBezTo>
                  <a:pt x="1735774" y="1226370"/>
                  <a:pt x="1758124" y="1226496"/>
                  <a:pt x="1771810" y="1232397"/>
                </a:cubicBezTo>
                <a:cubicBezTo>
                  <a:pt x="1789515" y="1239994"/>
                  <a:pt x="1787694" y="1222039"/>
                  <a:pt x="1790080" y="1213375"/>
                </a:cubicBezTo>
                <a:cubicBezTo>
                  <a:pt x="1810107" y="1140926"/>
                  <a:pt x="1829318" y="1068226"/>
                  <a:pt x="1848842" y="995652"/>
                </a:cubicBezTo>
                <a:cubicBezTo>
                  <a:pt x="1856564" y="966898"/>
                  <a:pt x="1864600" y="938270"/>
                  <a:pt x="1872259" y="909517"/>
                </a:cubicBezTo>
                <a:cubicBezTo>
                  <a:pt x="1889147" y="845983"/>
                  <a:pt x="1929327" y="806933"/>
                  <a:pt x="1993615" y="792117"/>
                </a:cubicBezTo>
                <a:cubicBezTo>
                  <a:pt x="2003534" y="789857"/>
                  <a:pt x="2019543" y="792933"/>
                  <a:pt x="2018036" y="769390"/>
                </a:cubicBezTo>
                <a:cubicBezTo>
                  <a:pt x="2017345" y="767193"/>
                  <a:pt x="2015776" y="760287"/>
                  <a:pt x="2012951" y="753946"/>
                </a:cubicBezTo>
                <a:close/>
                <a:moveTo>
                  <a:pt x="82132" y="752942"/>
                </a:moveTo>
                <a:cubicBezTo>
                  <a:pt x="70204" y="777301"/>
                  <a:pt x="74285" y="786467"/>
                  <a:pt x="99962" y="792117"/>
                </a:cubicBezTo>
                <a:cubicBezTo>
                  <a:pt x="165380" y="806431"/>
                  <a:pt x="205622" y="846234"/>
                  <a:pt x="222761" y="910772"/>
                </a:cubicBezTo>
                <a:cubicBezTo>
                  <a:pt x="249694" y="1012163"/>
                  <a:pt x="277129" y="1113428"/>
                  <a:pt x="304815" y="1214693"/>
                </a:cubicBezTo>
                <a:cubicBezTo>
                  <a:pt x="307075" y="1223043"/>
                  <a:pt x="306322" y="1239743"/>
                  <a:pt x="321703" y="1232900"/>
                </a:cubicBezTo>
                <a:cubicBezTo>
                  <a:pt x="334950" y="1227061"/>
                  <a:pt x="359121" y="1228003"/>
                  <a:pt x="351210" y="1200379"/>
                </a:cubicBezTo>
                <a:cubicBezTo>
                  <a:pt x="310026" y="1056549"/>
                  <a:pt x="269784" y="912530"/>
                  <a:pt x="228160" y="768825"/>
                </a:cubicBezTo>
                <a:cubicBezTo>
                  <a:pt x="217550" y="732036"/>
                  <a:pt x="185407" y="709435"/>
                  <a:pt x="147110" y="708870"/>
                </a:cubicBezTo>
                <a:cubicBezTo>
                  <a:pt x="118796" y="711130"/>
                  <a:pt x="95756" y="725130"/>
                  <a:pt x="82132" y="752942"/>
                </a:cubicBezTo>
                <a:close/>
                <a:moveTo>
                  <a:pt x="530009" y="449397"/>
                </a:moveTo>
                <a:cubicBezTo>
                  <a:pt x="537229" y="432070"/>
                  <a:pt x="533086" y="415684"/>
                  <a:pt x="518960" y="404886"/>
                </a:cubicBezTo>
                <a:cubicBezTo>
                  <a:pt x="495355" y="386868"/>
                  <a:pt x="469238" y="371926"/>
                  <a:pt x="441865" y="360374"/>
                </a:cubicBezTo>
                <a:cubicBezTo>
                  <a:pt x="424789" y="353155"/>
                  <a:pt x="407587" y="357612"/>
                  <a:pt x="395722" y="373370"/>
                </a:cubicBezTo>
                <a:cubicBezTo>
                  <a:pt x="384547" y="388123"/>
                  <a:pt x="382412" y="405765"/>
                  <a:pt x="394906" y="418886"/>
                </a:cubicBezTo>
                <a:cubicBezTo>
                  <a:pt x="421211" y="446384"/>
                  <a:pt x="455928" y="460949"/>
                  <a:pt x="484494" y="473442"/>
                </a:cubicBezTo>
                <a:cubicBezTo>
                  <a:pt x="509794" y="474635"/>
                  <a:pt x="522915" y="466411"/>
                  <a:pt x="530009" y="449397"/>
                </a:cubicBezTo>
                <a:close/>
                <a:moveTo>
                  <a:pt x="1418230" y="97449"/>
                </a:moveTo>
                <a:cubicBezTo>
                  <a:pt x="1399521" y="90480"/>
                  <a:pt x="1383136" y="96507"/>
                  <a:pt x="1372840" y="111951"/>
                </a:cubicBezTo>
                <a:cubicBezTo>
                  <a:pt x="1357710" y="134615"/>
                  <a:pt x="1344149" y="158535"/>
                  <a:pt x="1332032" y="182956"/>
                </a:cubicBezTo>
                <a:cubicBezTo>
                  <a:pt x="1321925" y="203423"/>
                  <a:pt x="1330463" y="225961"/>
                  <a:pt x="1348857" y="235378"/>
                </a:cubicBezTo>
                <a:cubicBezTo>
                  <a:pt x="1367441" y="244858"/>
                  <a:pt x="1390041" y="239333"/>
                  <a:pt x="1402095" y="220374"/>
                </a:cubicBezTo>
                <a:cubicBezTo>
                  <a:pt x="1415468" y="199342"/>
                  <a:pt x="1427207" y="177180"/>
                  <a:pt x="1439638" y="155521"/>
                </a:cubicBezTo>
                <a:cubicBezTo>
                  <a:pt x="1443217" y="149243"/>
                  <a:pt x="1444598" y="142400"/>
                  <a:pt x="1444347" y="135180"/>
                </a:cubicBezTo>
                <a:cubicBezTo>
                  <a:pt x="1443907" y="116911"/>
                  <a:pt x="1435495" y="103915"/>
                  <a:pt x="1418230" y="97449"/>
                </a:cubicBezTo>
                <a:close/>
                <a:moveTo>
                  <a:pt x="1656043" y="359056"/>
                </a:moveTo>
                <a:cubicBezTo>
                  <a:pt x="1626787" y="372177"/>
                  <a:pt x="1598034" y="386742"/>
                  <a:pt x="1573487" y="407334"/>
                </a:cubicBezTo>
                <a:cubicBezTo>
                  <a:pt x="1558921" y="419577"/>
                  <a:pt x="1558545" y="437971"/>
                  <a:pt x="1567711" y="454734"/>
                </a:cubicBezTo>
                <a:cubicBezTo>
                  <a:pt x="1577944" y="473317"/>
                  <a:pt x="1596088" y="478967"/>
                  <a:pt x="1614043" y="471936"/>
                </a:cubicBezTo>
                <a:cubicBezTo>
                  <a:pt x="1643047" y="460635"/>
                  <a:pt x="1670671" y="445128"/>
                  <a:pt x="1694841" y="425290"/>
                </a:cubicBezTo>
                <a:cubicBezTo>
                  <a:pt x="1707649" y="414805"/>
                  <a:pt x="1711227" y="398984"/>
                  <a:pt x="1704133" y="382536"/>
                </a:cubicBezTo>
                <a:cubicBezTo>
                  <a:pt x="1697227" y="366527"/>
                  <a:pt x="1684985" y="358428"/>
                  <a:pt x="1666904" y="357863"/>
                </a:cubicBezTo>
                <a:cubicBezTo>
                  <a:pt x="1663765" y="358114"/>
                  <a:pt x="1659433" y="357549"/>
                  <a:pt x="1656043" y="359056"/>
                </a:cubicBezTo>
                <a:close/>
                <a:moveTo>
                  <a:pt x="707930" y="100274"/>
                </a:moveTo>
                <a:cubicBezTo>
                  <a:pt x="695437" y="89915"/>
                  <a:pt x="679616" y="93306"/>
                  <a:pt x="666432" y="102785"/>
                </a:cubicBezTo>
                <a:cubicBezTo>
                  <a:pt x="652997" y="112391"/>
                  <a:pt x="646530" y="126893"/>
                  <a:pt x="651239" y="141772"/>
                </a:cubicBezTo>
                <a:cubicBezTo>
                  <a:pt x="661660" y="174669"/>
                  <a:pt x="679365" y="204364"/>
                  <a:pt x="701840" y="230356"/>
                </a:cubicBezTo>
                <a:cubicBezTo>
                  <a:pt x="712325" y="242535"/>
                  <a:pt x="728836" y="242535"/>
                  <a:pt x="743338" y="236257"/>
                </a:cubicBezTo>
                <a:cubicBezTo>
                  <a:pt x="758092" y="229916"/>
                  <a:pt x="766065" y="217737"/>
                  <a:pt x="766504" y="193943"/>
                </a:cubicBezTo>
                <a:cubicBezTo>
                  <a:pt x="753320" y="163808"/>
                  <a:pt x="739383" y="126454"/>
                  <a:pt x="707930" y="100274"/>
                </a:cubicBezTo>
                <a:close/>
                <a:moveTo>
                  <a:pt x="1086121" y="34480"/>
                </a:moveTo>
                <a:cubicBezTo>
                  <a:pt x="1084362" y="13072"/>
                  <a:pt x="1067914" y="-489"/>
                  <a:pt x="1046129" y="13"/>
                </a:cubicBezTo>
                <a:cubicBezTo>
                  <a:pt x="1025537" y="516"/>
                  <a:pt x="1009465" y="13951"/>
                  <a:pt x="1008586" y="34480"/>
                </a:cubicBezTo>
                <a:cubicBezTo>
                  <a:pt x="1007393" y="62669"/>
                  <a:pt x="1007393" y="90920"/>
                  <a:pt x="1008586" y="119108"/>
                </a:cubicBezTo>
                <a:cubicBezTo>
                  <a:pt x="1009465" y="139638"/>
                  <a:pt x="1025537" y="153135"/>
                  <a:pt x="1046129" y="153575"/>
                </a:cubicBezTo>
                <a:cubicBezTo>
                  <a:pt x="1067851" y="154077"/>
                  <a:pt x="1084362" y="140454"/>
                  <a:pt x="1086121" y="119046"/>
                </a:cubicBezTo>
                <a:cubicBezTo>
                  <a:pt x="1087251" y="105045"/>
                  <a:pt x="1086309" y="90857"/>
                  <a:pt x="1086309" y="76731"/>
                </a:cubicBezTo>
                <a:cubicBezTo>
                  <a:pt x="1086309" y="62606"/>
                  <a:pt x="1087313" y="48480"/>
                  <a:pt x="1086121" y="34480"/>
                </a:cubicBezTo>
                <a:close/>
              </a:path>
            </a:pathLst>
          </a:custGeom>
          <a:solidFill>
            <a:schemeClr val="bg1">
              <a:alpha val="90000"/>
            </a:schemeClr>
          </a:solidFill>
          <a:ln w="6278" cap="flat">
            <a:noFill/>
            <a:prstDash val="solid"/>
            <a:miter/>
          </a:ln>
        </p:spPr>
        <p:txBody>
          <a:bodyPr rtlCol="0" anchor="ctr"/>
          <a:lstStyle/>
          <a:p>
            <a:endParaRPr lang="en-US"/>
          </a:p>
        </p:txBody>
      </p:sp>
      <p:grpSp>
        <p:nvGrpSpPr>
          <p:cNvPr id="17" name="Group 16">
            <a:extLst>
              <a:ext uri="{FF2B5EF4-FFF2-40B4-BE49-F238E27FC236}">
                <a16:creationId xmlns:a16="http://schemas.microsoft.com/office/drawing/2014/main" id="{39EBC784-7798-4514-8F71-4881BAA8D570}"/>
              </a:ext>
            </a:extLst>
          </p:cNvPr>
          <p:cNvGrpSpPr/>
          <p:nvPr/>
        </p:nvGrpSpPr>
        <p:grpSpPr>
          <a:xfrm>
            <a:off x="8632430" y="3090051"/>
            <a:ext cx="2961684" cy="714781"/>
            <a:chOff x="8416298" y="3090051"/>
            <a:chExt cx="2961684" cy="714781"/>
          </a:xfrm>
        </p:grpSpPr>
        <p:sp>
          <p:nvSpPr>
            <p:cNvPr id="127" name="Rectangle 126">
              <a:extLst>
                <a:ext uri="{FF2B5EF4-FFF2-40B4-BE49-F238E27FC236}">
                  <a16:creationId xmlns:a16="http://schemas.microsoft.com/office/drawing/2014/main" id="{06A15038-5514-42DE-A368-514D87AACF90}"/>
                </a:ext>
              </a:extLst>
            </p:cNvPr>
            <p:cNvSpPr/>
            <p:nvPr/>
          </p:nvSpPr>
          <p:spPr>
            <a:xfrm>
              <a:off x="8525540" y="3090051"/>
              <a:ext cx="2743200" cy="246221"/>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0B0EC"/>
                  </a:solidFill>
                  <a:effectLst/>
                  <a:uLnTx/>
                  <a:uFillTx/>
                  <a:latin typeface="Montserrat" panose="00000500000000000000" pitchFamily="50" charset="0"/>
                </a:rPr>
                <a:t>Social Media</a:t>
              </a:r>
            </a:p>
          </p:txBody>
        </p:sp>
        <p:sp>
          <p:nvSpPr>
            <p:cNvPr id="128" name="Rectangle 127">
              <a:extLst>
                <a:ext uri="{FF2B5EF4-FFF2-40B4-BE49-F238E27FC236}">
                  <a16:creationId xmlns:a16="http://schemas.microsoft.com/office/drawing/2014/main" id="{71C9F598-D7E5-4CCC-AB0F-4B4C7AAB4D70}"/>
                </a:ext>
              </a:extLst>
            </p:cNvPr>
            <p:cNvSpPr/>
            <p:nvPr/>
          </p:nvSpPr>
          <p:spPr>
            <a:xfrm>
              <a:off x="8416298" y="3390167"/>
              <a:ext cx="2961684" cy="414665"/>
            </a:xfrm>
            <a:prstGeom prst="rect">
              <a:avLst/>
            </a:prstGeom>
          </p:spPr>
          <p:txBody>
            <a:bodyPr wrap="square" lIns="0" tIns="0" rIns="0" bIns="0">
              <a:spAutoFit/>
            </a:body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23232"/>
                  </a:solidFill>
                  <a:effectLst/>
                  <a:uLnTx/>
                  <a:uFillTx/>
                  <a:latin typeface="Montserrat" panose="00000500000000000000" pitchFamily="50" charset="0"/>
                </a:rPr>
                <a:t>A Venn diagram shows the similarities and differences between two sets of data. </a:t>
              </a:r>
            </a:p>
          </p:txBody>
        </p:sp>
      </p:grpSp>
      <p:sp>
        <p:nvSpPr>
          <p:cNvPr id="131" name="Rectangle 130">
            <a:extLst>
              <a:ext uri="{FF2B5EF4-FFF2-40B4-BE49-F238E27FC236}">
                <a16:creationId xmlns:a16="http://schemas.microsoft.com/office/drawing/2014/main" id="{458A6095-481A-4115-B1C0-ECA67F40DD7A}"/>
              </a:ext>
            </a:extLst>
          </p:cNvPr>
          <p:cNvSpPr/>
          <p:nvPr/>
        </p:nvSpPr>
        <p:spPr>
          <a:xfrm>
            <a:off x="4722830" y="352116"/>
            <a:ext cx="2746340" cy="246221"/>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F7AE9"/>
                </a:solidFill>
                <a:effectLst/>
                <a:uLnTx/>
                <a:uFillTx/>
                <a:latin typeface="Montserrat" panose="00000500000000000000" pitchFamily="50" charset="0"/>
              </a:rPr>
              <a:t>Winning Mentality</a:t>
            </a:r>
          </a:p>
        </p:txBody>
      </p:sp>
      <p:sp>
        <p:nvSpPr>
          <p:cNvPr id="132" name="Rectangle 131">
            <a:extLst>
              <a:ext uri="{FF2B5EF4-FFF2-40B4-BE49-F238E27FC236}">
                <a16:creationId xmlns:a16="http://schemas.microsoft.com/office/drawing/2014/main" id="{E07AAEBD-60F3-4D9E-9AB6-827014802AEE}"/>
              </a:ext>
            </a:extLst>
          </p:cNvPr>
          <p:cNvSpPr/>
          <p:nvPr/>
        </p:nvSpPr>
        <p:spPr>
          <a:xfrm>
            <a:off x="4622800" y="652232"/>
            <a:ext cx="2946400" cy="414665"/>
          </a:xfrm>
          <a:prstGeom prst="rect">
            <a:avLst/>
          </a:prstGeom>
        </p:spPr>
        <p:txBody>
          <a:bodyPr wrap="square" lIns="0" tIns="0" rIns="0" bIns="0">
            <a:spAutoFit/>
          </a:body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23232"/>
                </a:solidFill>
                <a:effectLst/>
                <a:uLnTx/>
                <a:uFillTx/>
                <a:latin typeface="Montserrat" panose="00000500000000000000" pitchFamily="50" charset="0"/>
              </a:rPr>
              <a:t>A Venn diagram shows the similarities and differences between two sets of data. </a:t>
            </a:r>
          </a:p>
        </p:txBody>
      </p:sp>
      <p:sp>
        <p:nvSpPr>
          <p:cNvPr id="133" name="Rectangle 132">
            <a:extLst>
              <a:ext uri="{FF2B5EF4-FFF2-40B4-BE49-F238E27FC236}">
                <a16:creationId xmlns:a16="http://schemas.microsoft.com/office/drawing/2014/main" id="{28137828-E055-4E84-B3DA-E9839BF7D94F}"/>
              </a:ext>
            </a:extLst>
          </p:cNvPr>
          <p:cNvSpPr/>
          <p:nvPr/>
        </p:nvSpPr>
        <p:spPr>
          <a:xfrm>
            <a:off x="4724400" y="5739518"/>
            <a:ext cx="2743200" cy="246221"/>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60B2CF"/>
                </a:solidFill>
                <a:effectLst/>
                <a:uLnTx/>
                <a:uFillTx/>
                <a:latin typeface="Montserrat" panose="00000500000000000000" pitchFamily="50" charset="0"/>
              </a:rPr>
              <a:t>Planning</a:t>
            </a:r>
          </a:p>
        </p:txBody>
      </p:sp>
      <p:sp>
        <p:nvSpPr>
          <p:cNvPr id="134" name="Rectangle 133">
            <a:extLst>
              <a:ext uri="{FF2B5EF4-FFF2-40B4-BE49-F238E27FC236}">
                <a16:creationId xmlns:a16="http://schemas.microsoft.com/office/drawing/2014/main" id="{77255E1B-7FDD-42CA-AB29-AA472EA45325}"/>
              </a:ext>
            </a:extLst>
          </p:cNvPr>
          <p:cNvSpPr/>
          <p:nvPr/>
        </p:nvSpPr>
        <p:spPr>
          <a:xfrm>
            <a:off x="4622800" y="6039634"/>
            <a:ext cx="2946400" cy="414665"/>
          </a:xfrm>
          <a:prstGeom prst="rect">
            <a:avLst/>
          </a:prstGeom>
        </p:spPr>
        <p:txBody>
          <a:bodyPr wrap="square" lIns="0" tIns="0" rIns="0" bIns="0">
            <a:spAutoFit/>
          </a:body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23232"/>
                </a:solidFill>
                <a:effectLst/>
                <a:uLnTx/>
                <a:uFillTx/>
                <a:latin typeface="Montserrat" panose="00000500000000000000" pitchFamily="50" charset="0"/>
              </a:rPr>
              <a:t>The overlapping area shows where the two sets have something in common.</a:t>
            </a:r>
          </a:p>
        </p:txBody>
      </p:sp>
      <p:grpSp>
        <p:nvGrpSpPr>
          <p:cNvPr id="18" name="Group 17">
            <a:extLst>
              <a:ext uri="{FF2B5EF4-FFF2-40B4-BE49-F238E27FC236}">
                <a16:creationId xmlns:a16="http://schemas.microsoft.com/office/drawing/2014/main" id="{D32888B0-2311-4E57-ADC5-BFE349490431}"/>
              </a:ext>
            </a:extLst>
          </p:cNvPr>
          <p:cNvGrpSpPr/>
          <p:nvPr/>
        </p:nvGrpSpPr>
        <p:grpSpPr>
          <a:xfrm>
            <a:off x="608561" y="3090051"/>
            <a:ext cx="2872346" cy="714781"/>
            <a:chOff x="608561" y="3090051"/>
            <a:chExt cx="2872346" cy="714781"/>
          </a:xfrm>
        </p:grpSpPr>
        <p:sp>
          <p:nvSpPr>
            <p:cNvPr id="129" name="Rectangle 128">
              <a:extLst>
                <a:ext uri="{FF2B5EF4-FFF2-40B4-BE49-F238E27FC236}">
                  <a16:creationId xmlns:a16="http://schemas.microsoft.com/office/drawing/2014/main" id="{925B1482-B76C-4641-9889-B9439F6D7ADB}"/>
                </a:ext>
              </a:extLst>
            </p:cNvPr>
            <p:cNvSpPr/>
            <p:nvPr/>
          </p:nvSpPr>
          <p:spPr>
            <a:xfrm>
              <a:off x="673134" y="3090051"/>
              <a:ext cx="2743200" cy="246221"/>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067BB"/>
                  </a:solidFill>
                  <a:effectLst/>
                  <a:uLnTx/>
                  <a:uFillTx/>
                  <a:latin typeface="Montserrat" panose="00000500000000000000" pitchFamily="50" charset="0"/>
                </a:rPr>
                <a:t>Deep Analysis</a:t>
              </a:r>
            </a:p>
          </p:txBody>
        </p:sp>
        <p:sp>
          <p:nvSpPr>
            <p:cNvPr id="130" name="Rectangle 129">
              <a:extLst>
                <a:ext uri="{FF2B5EF4-FFF2-40B4-BE49-F238E27FC236}">
                  <a16:creationId xmlns:a16="http://schemas.microsoft.com/office/drawing/2014/main" id="{3028EE1E-DECC-41F1-BE8C-A6B5E998C3CF}"/>
                </a:ext>
              </a:extLst>
            </p:cNvPr>
            <p:cNvSpPr/>
            <p:nvPr/>
          </p:nvSpPr>
          <p:spPr>
            <a:xfrm>
              <a:off x="608561" y="3390167"/>
              <a:ext cx="2872346" cy="414665"/>
            </a:xfrm>
            <a:prstGeom prst="rect">
              <a:avLst/>
            </a:prstGeom>
          </p:spPr>
          <p:txBody>
            <a:bodyPr wrap="square" lIns="0" tIns="0" rIns="0" bIns="0">
              <a:spAutoFit/>
            </a:bodyPr>
            <a:lstStyle/>
            <a:p>
              <a:pPr marL="0" marR="0" lvl="0" indent="0" algn="ctr" defTabSz="914400" rtl="0" eaLnBrk="1" fontAlgn="auto" latinLnBrk="0" hangingPunct="1">
                <a:lnSpc>
                  <a:spcPts val="17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23232"/>
                  </a:solidFill>
                  <a:effectLst/>
                  <a:uLnTx/>
                  <a:uFillTx/>
                  <a:latin typeface="Montserrat" panose="00000500000000000000" pitchFamily="50" charset="0"/>
                </a:rPr>
                <a:t>The overlapping area shows where the two sets have something in common.</a:t>
              </a:r>
            </a:p>
          </p:txBody>
        </p:sp>
      </p:grpSp>
      <p:grpSp>
        <p:nvGrpSpPr>
          <p:cNvPr id="20" name="Group 19">
            <a:extLst>
              <a:ext uri="{FF2B5EF4-FFF2-40B4-BE49-F238E27FC236}">
                <a16:creationId xmlns:a16="http://schemas.microsoft.com/office/drawing/2014/main" id="{681A7469-B284-48D3-9235-28040C2B876B}"/>
              </a:ext>
            </a:extLst>
          </p:cNvPr>
          <p:cNvGrpSpPr/>
          <p:nvPr/>
        </p:nvGrpSpPr>
        <p:grpSpPr>
          <a:xfrm>
            <a:off x="3918745" y="1251411"/>
            <a:ext cx="4354510" cy="4355180"/>
            <a:chOff x="4489481" y="8382972"/>
            <a:chExt cx="3821982" cy="3822571"/>
          </a:xfrm>
        </p:grpSpPr>
        <p:cxnSp>
          <p:nvCxnSpPr>
            <p:cNvPr id="139" name="Straight Connector 138">
              <a:extLst>
                <a:ext uri="{FF2B5EF4-FFF2-40B4-BE49-F238E27FC236}">
                  <a16:creationId xmlns:a16="http://schemas.microsoft.com/office/drawing/2014/main" id="{6170C335-9BAD-4496-98BC-0A2094CF640A}"/>
                </a:ext>
              </a:extLst>
            </p:cNvPr>
            <p:cNvCxnSpPr>
              <a:cxnSpLocks/>
            </p:cNvCxnSpPr>
            <p:nvPr/>
          </p:nvCxnSpPr>
          <p:spPr>
            <a:xfrm>
              <a:off x="6400775" y="8382972"/>
              <a:ext cx="25" cy="804890"/>
            </a:xfrm>
            <a:prstGeom prst="line">
              <a:avLst/>
            </a:prstGeom>
            <a:ln w="12700" cap="rnd">
              <a:gradFill flip="none" rotWithShape="1">
                <a:gsLst>
                  <a:gs pos="0">
                    <a:srgbClr val="5F7AE9">
                      <a:alpha val="0"/>
                    </a:srgbClr>
                  </a:gs>
                  <a:gs pos="100000">
                    <a:srgbClr val="5F7AE9"/>
                  </a:gs>
                </a:gsLst>
                <a:lin ang="16200000" scaled="1"/>
                <a:tileRect/>
              </a:gradFill>
              <a:round/>
              <a:headEnd type="arrow"/>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C89E106-BDFF-4C40-A5AE-D4D6CDAFDC4B}"/>
                </a:ext>
              </a:extLst>
            </p:cNvPr>
            <p:cNvCxnSpPr>
              <a:cxnSpLocks/>
            </p:cNvCxnSpPr>
            <p:nvPr/>
          </p:nvCxnSpPr>
          <p:spPr>
            <a:xfrm flipV="1">
              <a:off x="6400775" y="11400653"/>
              <a:ext cx="25" cy="804890"/>
            </a:xfrm>
            <a:prstGeom prst="line">
              <a:avLst/>
            </a:prstGeom>
            <a:ln w="12700" cap="rnd">
              <a:gradFill flip="none" rotWithShape="1">
                <a:gsLst>
                  <a:gs pos="0">
                    <a:srgbClr val="60B2CF">
                      <a:alpha val="0"/>
                    </a:srgbClr>
                  </a:gs>
                  <a:gs pos="100000">
                    <a:srgbClr val="60B2CF"/>
                  </a:gs>
                </a:gsLst>
                <a:lin ang="16200000" scaled="1"/>
                <a:tileRect/>
              </a:gradFill>
              <a:round/>
              <a:headEnd type="arrow"/>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A24C703F-D99F-4564-B710-1AA8EE46C4A2}"/>
                </a:ext>
              </a:extLst>
            </p:cNvPr>
            <p:cNvCxnSpPr>
              <a:cxnSpLocks/>
            </p:cNvCxnSpPr>
            <p:nvPr/>
          </p:nvCxnSpPr>
          <p:spPr>
            <a:xfrm rot="16200000" flipV="1">
              <a:off x="7909005" y="9891812"/>
              <a:ext cx="25" cy="804890"/>
            </a:xfrm>
            <a:prstGeom prst="line">
              <a:avLst/>
            </a:prstGeom>
            <a:ln w="12700" cap="rnd">
              <a:gradFill flip="none" rotWithShape="1">
                <a:gsLst>
                  <a:gs pos="0">
                    <a:srgbClr val="80B0EC">
                      <a:alpha val="0"/>
                    </a:srgbClr>
                  </a:gs>
                  <a:gs pos="100000">
                    <a:srgbClr val="80B0EC"/>
                  </a:gs>
                </a:gsLst>
                <a:lin ang="16200000" scaled="1"/>
                <a:tileRect/>
              </a:gradFill>
              <a:round/>
              <a:headEnd type="arrow"/>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31FCE771-D28A-4EAC-935F-2C85C0077936}"/>
                </a:ext>
              </a:extLst>
            </p:cNvPr>
            <p:cNvCxnSpPr>
              <a:cxnSpLocks/>
            </p:cNvCxnSpPr>
            <p:nvPr/>
          </p:nvCxnSpPr>
          <p:spPr>
            <a:xfrm rot="5400000" flipH="1" flipV="1">
              <a:off x="4891913" y="9891812"/>
              <a:ext cx="25" cy="804890"/>
            </a:xfrm>
            <a:prstGeom prst="line">
              <a:avLst/>
            </a:prstGeom>
            <a:ln w="12700" cap="rnd">
              <a:gradFill flip="none" rotWithShape="1">
                <a:gsLst>
                  <a:gs pos="0">
                    <a:srgbClr val="4067BB">
                      <a:alpha val="0"/>
                    </a:srgbClr>
                  </a:gs>
                  <a:gs pos="100000">
                    <a:srgbClr val="4067BB"/>
                  </a:gs>
                </a:gsLst>
                <a:lin ang="16200000" scaled="1"/>
                <a:tileRect/>
              </a:gradFill>
              <a:round/>
              <a:head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477315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5" name="Oval"/>
          <p:cNvSpPr/>
          <p:nvPr/>
        </p:nvSpPr>
        <p:spPr>
          <a:xfrm rot="18000000" flipH="1">
            <a:off x="4041471" y="2564225"/>
            <a:ext cx="1701720" cy="3639746"/>
          </a:xfrm>
          <a:prstGeom prst="ellipse">
            <a:avLst/>
          </a:prstGeom>
          <a:gradFill>
            <a:gsLst>
              <a:gs pos="0">
                <a:schemeClr val="accent3">
                  <a:alpha val="75000"/>
                </a:schemeClr>
              </a:gs>
              <a:gs pos="100000">
                <a:schemeClr val="accent3">
                  <a:alpha val="0"/>
                </a:schemeClr>
              </a:gs>
            </a:gsLst>
            <a:lin ang="5400000" scaled="0"/>
          </a:gradFill>
          <a:ln w="25400" cap="flat">
            <a:noFill/>
            <a:prstDash val="solid"/>
            <a:round/>
          </a:ln>
        </p:spPr>
        <p:txBody>
          <a:bodyPr wrap="square" rtlCol="0" anchor="ctr" anchorCtr="0">
            <a:noAutofit/>
          </a:bodyPr>
          <a:lstStyle/>
          <a:p>
            <a:pPr algn="ctr"/>
            <a:endParaRPr>
              <a:sym typeface="Helvetica Neue Medium"/>
            </a:endParaRPr>
          </a:p>
        </p:txBody>
      </p:sp>
      <p:sp>
        <p:nvSpPr>
          <p:cNvPr id="2159" name="Oval"/>
          <p:cNvSpPr/>
          <p:nvPr/>
        </p:nvSpPr>
        <p:spPr>
          <a:xfrm rot="20100000">
            <a:off x="4662347" y="1995487"/>
            <a:ext cx="1702162" cy="3640690"/>
          </a:xfrm>
          <a:prstGeom prst="ellipse">
            <a:avLst/>
          </a:prstGeom>
          <a:gradFill>
            <a:gsLst>
              <a:gs pos="0">
                <a:schemeClr val="accent1">
                  <a:alpha val="75000"/>
                </a:schemeClr>
              </a:gs>
              <a:gs pos="100000">
                <a:schemeClr val="accent1">
                  <a:alpha val="0"/>
                </a:schemeClr>
              </a:gs>
            </a:gsLst>
            <a:lin ang="5400000" scaled="0"/>
          </a:gradFill>
          <a:ln w="25400" cap="flat">
            <a:noFill/>
            <a:prstDash val="solid"/>
            <a:round/>
          </a:ln>
        </p:spPr>
        <p:txBody>
          <a:bodyPr wrap="square" rtlCol="0" anchor="ctr" anchorCtr="0">
            <a:noAutofit/>
          </a:bodyPr>
          <a:lstStyle/>
          <a:p>
            <a:pPr algn="ctr"/>
            <a:endParaRPr>
              <a:sym typeface="Helvetica Neue Medium"/>
            </a:endParaRPr>
          </a:p>
        </p:txBody>
      </p:sp>
      <p:sp>
        <p:nvSpPr>
          <p:cNvPr id="2162" name="Oval"/>
          <p:cNvSpPr/>
          <p:nvPr/>
        </p:nvSpPr>
        <p:spPr>
          <a:xfrm rot="1500000" flipH="1">
            <a:off x="5827490" y="1995488"/>
            <a:ext cx="1702162" cy="3640690"/>
          </a:xfrm>
          <a:prstGeom prst="ellipse">
            <a:avLst/>
          </a:prstGeom>
          <a:gradFill>
            <a:gsLst>
              <a:gs pos="0">
                <a:schemeClr val="accent4">
                  <a:alpha val="75000"/>
                </a:schemeClr>
              </a:gs>
              <a:gs pos="100000">
                <a:schemeClr val="accent4">
                  <a:alpha val="0"/>
                </a:schemeClr>
              </a:gs>
            </a:gsLst>
            <a:lin ang="5400000" scaled="0"/>
          </a:gradFill>
          <a:ln w="25400" cap="flat">
            <a:noFill/>
            <a:prstDash val="solid"/>
            <a:round/>
          </a:ln>
        </p:spPr>
        <p:txBody>
          <a:bodyPr wrap="square" rtlCol="0" anchor="ctr" anchorCtr="0">
            <a:noAutofit/>
          </a:bodyPr>
          <a:lstStyle/>
          <a:p>
            <a:pPr algn="ctr"/>
            <a:endParaRPr>
              <a:sym typeface="Helvetica Neue Medium"/>
            </a:endParaRPr>
          </a:p>
        </p:txBody>
      </p:sp>
      <p:sp>
        <p:nvSpPr>
          <p:cNvPr id="2168" name="Oval"/>
          <p:cNvSpPr/>
          <p:nvPr/>
        </p:nvSpPr>
        <p:spPr>
          <a:xfrm rot="3600000" flipH="1">
            <a:off x="6448809" y="2564224"/>
            <a:ext cx="1701721" cy="3639746"/>
          </a:xfrm>
          <a:prstGeom prst="ellipse">
            <a:avLst/>
          </a:prstGeom>
          <a:gradFill>
            <a:gsLst>
              <a:gs pos="0">
                <a:schemeClr val="accent2">
                  <a:alpha val="50000"/>
                </a:schemeClr>
              </a:gs>
              <a:gs pos="100000">
                <a:schemeClr val="accent2">
                  <a:alpha val="0"/>
                </a:schemeClr>
              </a:gs>
            </a:gsLst>
            <a:lin ang="5400000" scaled="0"/>
          </a:gradFill>
          <a:ln w="25400" cap="flat">
            <a:noFill/>
            <a:prstDash val="solid"/>
            <a:round/>
          </a:ln>
        </p:spPr>
        <p:txBody>
          <a:bodyPr wrap="square" rtlCol="0" anchor="ctr" anchorCtr="0">
            <a:noAutofit/>
          </a:bodyPr>
          <a:lstStyle/>
          <a:p>
            <a:pPr algn="ctr"/>
            <a:endParaRPr>
              <a:sym typeface="Helvetica Neue Medium"/>
            </a:endParaRPr>
          </a:p>
        </p:txBody>
      </p:sp>
      <p:sp>
        <p:nvSpPr>
          <p:cNvPr id="2219" name="Venn diagram"/>
          <p:cNvSpPr txBox="1"/>
          <p:nvPr/>
        </p:nvSpPr>
        <p:spPr>
          <a:xfrm>
            <a:off x="4313710" y="5753901"/>
            <a:ext cx="3595730" cy="553998"/>
          </a:xfrm>
          <a:prstGeom prst="rect">
            <a:avLst/>
          </a:prstGeom>
          <a:noFill/>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rtlCol="0">
            <a:spAutoFit/>
          </a:bodyPr>
          <a:lstStyle>
            <a:defPPr>
              <a:defRPr lang="en-US"/>
            </a:defPPr>
            <a:lvl1pPr>
              <a:defRPr sz="3000" b="1">
                <a:solidFill>
                  <a:schemeClr val="tx2">
                    <a:lumMod val="40000"/>
                    <a:lumOff val="60000"/>
                  </a:schemeClr>
                </a:solidFill>
                <a:latin typeface="Montserrat" panose="00000500000000000000" pitchFamily="50" charset="0"/>
              </a:defRPr>
            </a:lvl1pPr>
          </a:lstStyle>
          <a:p>
            <a:pPr algn="ctr"/>
            <a:r>
              <a:rPr lang="en-US" dirty="0"/>
              <a:t>VENN DIAGRAM</a:t>
            </a:r>
          </a:p>
        </p:txBody>
      </p:sp>
      <p:sp>
        <p:nvSpPr>
          <p:cNvPr id="62" name="Freeform: Shape 61">
            <a:extLst>
              <a:ext uri="{FF2B5EF4-FFF2-40B4-BE49-F238E27FC236}">
                <a16:creationId xmlns:a16="http://schemas.microsoft.com/office/drawing/2014/main" id="{B892D409-C27B-4D98-8E11-3AF50D06DF44}"/>
              </a:ext>
            </a:extLst>
          </p:cNvPr>
          <p:cNvSpPr/>
          <p:nvPr/>
        </p:nvSpPr>
        <p:spPr>
          <a:xfrm>
            <a:off x="6981615" y="2384643"/>
            <a:ext cx="453169" cy="453169"/>
          </a:xfrm>
          <a:custGeom>
            <a:avLst/>
            <a:gdLst>
              <a:gd name="connsiteX0" fmla="*/ 2188333 w 2184766"/>
              <a:gd name="connsiteY0" fmla="*/ 899200 h 2184766"/>
              <a:gd name="connsiteX1" fmla="*/ 1932376 w 2184766"/>
              <a:gd name="connsiteY1" fmla="*/ 900707 h 2184766"/>
              <a:gd name="connsiteX2" fmla="*/ 1911784 w 2184766"/>
              <a:gd name="connsiteY2" fmla="*/ 885577 h 2184766"/>
              <a:gd name="connsiteX3" fmla="*/ 1745290 w 2184766"/>
              <a:gd name="connsiteY3" fmla="*/ 774518 h 2184766"/>
              <a:gd name="connsiteX4" fmla="*/ 1674473 w 2184766"/>
              <a:gd name="connsiteY4" fmla="*/ 786446 h 2184766"/>
              <a:gd name="connsiteX5" fmla="*/ 1644338 w 2184766"/>
              <a:gd name="connsiteY5" fmla="*/ 780921 h 2184766"/>
              <a:gd name="connsiteX6" fmla="*/ 1537298 w 2184766"/>
              <a:gd name="connsiteY6" fmla="*/ 673755 h 2184766"/>
              <a:gd name="connsiteX7" fmla="*/ 1531773 w 2184766"/>
              <a:gd name="connsiteY7" fmla="*/ 647324 h 2184766"/>
              <a:gd name="connsiteX8" fmla="*/ 1402319 w 2184766"/>
              <a:gd name="connsiteY8" fmla="*/ 396076 h 2184766"/>
              <a:gd name="connsiteX9" fmla="*/ 1168901 w 2184766"/>
              <a:gd name="connsiteY9" fmla="*/ 557673 h 2184766"/>
              <a:gd name="connsiteX10" fmla="*/ 1181018 w 2184766"/>
              <a:gd name="connsiteY10" fmla="*/ 649396 h 2184766"/>
              <a:gd name="connsiteX11" fmla="*/ 1176183 w 2184766"/>
              <a:gd name="connsiteY11" fmla="*/ 672248 h 2184766"/>
              <a:gd name="connsiteX12" fmla="*/ 1064496 w 2184766"/>
              <a:gd name="connsiteY12" fmla="*/ 783872 h 2184766"/>
              <a:gd name="connsiteX13" fmla="*/ 1041518 w 2184766"/>
              <a:gd name="connsiteY13" fmla="*/ 788078 h 2184766"/>
              <a:gd name="connsiteX14" fmla="*/ 902585 w 2184766"/>
              <a:gd name="connsiteY14" fmla="*/ 788141 h 2184766"/>
              <a:gd name="connsiteX15" fmla="*/ 873455 w 2184766"/>
              <a:gd name="connsiteY15" fmla="*/ 777971 h 2184766"/>
              <a:gd name="connsiteX16" fmla="*/ 616933 w 2184766"/>
              <a:gd name="connsiteY16" fmla="*/ 521512 h 2184766"/>
              <a:gd name="connsiteX17" fmla="*/ 587552 w 2184766"/>
              <a:gd name="connsiteY17" fmla="*/ 526534 h 2184766"/>
              <a:gd name="connsiteX18" fmla="*/ 559049 w 2184766"/>
              <a:gd name="connsiteY18" fmla="*/ 606831 h 2184766"/>
              <a:gd name="connsiteX19" fmla="*/ 569534 w 2184766"/>
              <a:gd name="connsiteY19" fmla="*/ 648329 h 2184766"/>
              <a:gd name="connsiteX20" fmla="*/ 784369 w 2184766"/>
              <a:gd name="connsiteY20" fmla="*/ 862034 h 2184766"/>
              <a:gd name="connsiteX21" fmla="*/ 793661 w 2184766"/>
              <a:gd name="connsiteY21" fmla="*/ 902653 h 2184766"/>
              <a:gd name="connsiteX22" fmla="*/ 952244 w 2184766"/>
              <a:gd name="connsiteY22" fmla="*/ 1150637 h 2184766"/>
              <a:gd name="connsiteX23" fmla="*/ 1154586 w 2184766"/>
              <a:gd name="connsiteY23" fmla="*/ 1010447 h 2184766"/>
              <a:gd name="connsiteX24" fmla="*/ 1149313 w 2184766"/>
              <a:gd name="connsiteY24" fmla="*/ 899640 h 2184766"/>
              <a:gd name="connsiteX25" fmla="*/ 1157223 w 2184766"/>
              <a:gd name="connsiteY25" fmla="*/ 864420 h 2184766"/>
              <a:gd name="connsiteX26" fmla="*/ 1259870 w 2184766"/>
              <a:gd name="connsiteY26" fmla="*/ 761899 h 2184766"/>
              <a:gd name="connsiteX27" fmla="*/ 1289879 w 2184766"/>
              <a:gd name="connsiteY27" fmla="*/ 755621 h 2184766"/>
              <a:gd name="connsiteX28" fmla="*/ 1422849 w 2184766"/>
              <a:gd name="connsiteY28" fmla="*/ 755370 h 2184766"/>
              <a:gd name="connsiteX29" fmla="*/ 1452670 w 2184766"/>
              <a:gd name="connsiteY29" fmla="*/ 762401 h 2184766"/>
              <a:gd name="connsiteX30" fmla="*/ 1556822 w 2184766"/>
              <a:gd name="connsiteY30" fmla="*/ 866429 h 2184766"/>
              <a:gd name="connsiteX31" fmla="*/ 1563226 w 2184766"/>
              <a:gd name="connsiteY31" fmla="*/ 898258 h 2184766"/>
              <a:gd name="connsiteX32" fmla="*/ 1666751 w 2184766"/>
              <a:gd name="connsiteY32" fmla="*/ 1137201 h 2184766"/>
              <a:gd name="connsiteX33" fmla="*/ 1908959 w 2184766"/>
              <a:gd name="connsiteY33" fmla="*/ 1046170 h 2184766"/>
              <a:gd name="connsiteX34" fmla="*/ 1941291 w 2184766"/>
              <a:gd name="connsiteY34" fmla="*/ 1025389 h 2184766"/>
              <a:gd name="connsiteX35" fmla="*/ 2146144 w 2184766"/>
              <a:gd name="connsiteY35" fmla="*/ 1025515 h 2184766"/>
              <a:gd name="connsiteX36" fmla="*/ 2162781 w 2184766"/>
              <a:gd name="connsiteY36" fmla="*/ 1046609 h 2184766"/>
              <a:gd name="connsiteX37" fmla="*/ 1899479 w 2184766"/>
              <a:gd name="connsiteY37" fmla="*/ 1466674 h 2184766"/>
              <a:gd name="connsiteX38" fmla="*/ 1498123 w 2184766"/>
              <a:gd name="connsiteY38" fmla="*/ 1657465 h 2184766"/>
              <a:gd name="connsiteX39" fmla="*/ 1222390 w 2184766"/>
              <a:gd name="connsiteY39" fmla="*/ 1658657 h 2184766"/>
              <a:gd name="connsiteX40" fmla="*/ 768486 w 2184766"/>
              <a:gd name="connsiteY40" fmla="*/ 1426558 h 2184766"/>
              <a:gd name="connsiteX41" fmla="*/ 530924 w 2184766"/>
              <a:gd name="connsiteY41" fmla="*/ 957335 h 2184766"/>
              <a:gd name="connsiteX42" fmla="*/ 542601 w 2184766"/>
              <a:gd name="connsiteY42" fmla="*/ 650526 h 2184766"/>
              <a:gd name="connsiteX43" fmla="*/ 532933 w 2184766"/>
              <a:gd name="connsiteY43" fmla="*/ 618006 h 2184766"/>
              <a:gd name="connsiteX44" fmla="*/ 425829 w 2184766"/>
              <a:gd name="connsiteY44" fmla="*/ 510839 h 2184766"/>
              <a:gd name="connsiteX45" fmla="*/ 397892 w 2184766"/>
              <a:gd name="connsiteY45" fmla="*/ 505252 h 2184766"/>
              <a:gd name="connsiteX46" fmla="*/ 158258 w 2184766"/>
              <a:gd name="connsiteY46" fmla="*/ 408569 h 2184766"/>
              <a:gd name="connsiteX47" fmla="*/ 125800 w 2184766"/>
              <a:gd name="connsiteY47" fmla="*/ 388166 h 2184766"/>
              <a:gd name="connsiteX48" fmla="*/ 21271 w 2184766"/>
              <a:gd name="connsiteY48" fmla="*/ 388668 h 2184766"/>
              <a:gd name="connsiteX49" fmla="*/ 1432 w 2184766"/>
              <a:gd name="connsiteY49" fmla="*/ 368641 h 2184766"/>
              <a:gd name="connsiteX50" fmla="*/ 1432 w 2184766"/>
              <a:gd name="connsiteY50" fmla="*/ 276918 h 2184766"/>
              <a:gd name="connsiteX51" fmla="*/ 21836 w 2184766"/>
              <a:gd name="connsiteY51" fmla="*/ 257456 h 2184766"/>
              <a:gd name="connsiteX52" fmla="*/ 128500 w 2184766"/>
              <a:gd name="connsiteY52" fmla="*/ 257833 h 2184766"/>
              <a:gd name="connsiteX53" fmla="*/ 156563 w 2184766"/>
              <a:gd name="connsiteY53" fmla="*/ 240882 h 2184766"/>
              <a:gd name="connsiteX54" fmla="*/ 486098 w 2184766"/>
              <a:gd name="connsiteY54" fmla="*/ 206165 h 2184766"/>
              <a:gd name="connsiteX55" fmla="*/ 514412 w 2184766"/>
              <a:gd name="connsiteY55" fmla="*/ 387726 h 2184766"/>
              <a:gd name="connsiteX56" fmla="*/ 521381 w 2184766"/>
              <a:gd name="connsiteY56" fmla="*/ 419117 h 2184766"/>
              <a:gd name="connsiteX57" fmla="*/ 581651 w 2184766"/>
              <a:gd name="connsiteY57" fmla="*/ 479512 h 2184766"/>
              <a:gd name="connsiteX58" fmla="*/ 604942 w 2184766"/>
              <a:gd name="connsiteY58" fmla="*/ 474929 h 2184766"/>
              <a:gd name="connsiteX59" fmla="*/ 778970 w 2184766"/>
              <a:gd name="connsiteY59" fmla="*/ 234290 h 2184766"/>
              <a:gd name="connsiteX60" fmla="*/ 1200668 w 2184766"/>
              <a:gd name="connsiteY60" fmla="*/ 15563 h 2184766"/>
              <a:gd name="connsiteX61" fmla="*/ 1753702 w 2184766"/>
              <a:gd name="connsiteY61" fmla="*/ 102514 h 2184766"/>
              <a:gd name="connsiteX62" fmla="*/ 2168055 w 2184766"/>
              <a:gd name="connsiteY62" fmla="*/ 643306 h 2184766"/>
              <a:gd name="connsiteX63" fmla="*/ 2188270 w 2184766"/>
              <a:gd name="connsiteY63" fmla="*/ 754240 h 2184766"/>
              <a:gd name="connsiteX64" fmla="*/ 2188333 w 2184766"/>
              <a:gd name="connsiteY64" fmla="*/ 899200 h 2184766"/>
              <a:gd name="connsiteX65" fmla="*/ 233532 w 2184766"/>
              <a:gd name="connsiteY65" fmla="*/ 2188212 h 2184766"/>
              <a:gd name="connsiteX66" fmla="*/ 337936 w 2184766"/>
              <a:gd name="connsiteY66" fmla="*/ 2128947 h 2184766"/>
              <a:gd name="connsiteX67" fmla="*/ 816199 w 2184766"/>
              <a:gd name="connsiteY67" fmla="*/ 1651061 h 2184766"/>
              <a:gd name="connsiteX68" fmla="*/ 813750 w 2184766"/>
              <a:gd name="connsiteY68" fmla="*/ 1623249 h 2184766"/>
              <a:gd name="connsiteX69" fmla="*/ 567902 w 2184766"/>
              <a:gd name="connsiteY69" fmla="*/ 1377337 h 2184766"/>
              <a:gd name="connsiteX70" fmla="*/ 540090 w 2184766"/>
              <a:gd name="connsiteY70" fmla="*/ 1375266 h 2184766"/>
              <a:gd name="connsiteX71" fmla="*/ 62580 w 2184766"/>
              <a:gd name="connsiteY71" fmla="*/ 1853905 h 2184766"/>
              <a:gd name="connsiteX72" fmla="*/ 51594 w 2184766"/>
              <a:gd name="connsiteY72" fmla="*/ 2126813 h 2184766"/>
              <a:gd name="connsiteX73" fmla="*/ 156751 w 2184766"/>
              <a:gd name="connsiteY73" fmla="*/ 2188275 h 2184766"/>
              <a:gd name="connsiteX74" fmla="*/ 233532 w 2184766"/>
              <a:gd name="connsiteY74" fmla="*/ 2188212 h 2184766"/>
              <a:gd name="connsiteX75" fmla="*/ 1421467 w 2184766"/>
              <a:gd name="connsiteY75" fmla="*/ 579835 h 2184766"/>
              <a:gd name="connsiteX76" fmla="*/ 1358373 w 2184766"/>
              <a:gd name="connsiteY76" fmla="*/ 513727 h 2184766"/>
              <a:gd name="connsiteX77" fmla="*/ 1290632 w 2184766"/>
              <a:gd name="connsiteY77" fmla="*/ 577324 h 2184766"/>
              <a:gd name="connsiteX78" fmla="*/ 1354794 w 2184766"/>
              <a:gd name="connsiteY78" fmla="*/ 644499 h 2184766"/>
              <a:gd name="connsiteX79" fmla="*/ 1421467 w 2184766"/>
              <a:gd name="connsiteY79" fmla="*/ 579835 h 2184766"/>
              <a:gd name="connsiteX80" fmla="*/ 972209 w 2184766"/>
              <a:gd name="connsiteY80" fmla="*/ 897819 h 2184766"/>
              <a:gd name="connsiteX81" fmla="*/ 906478 w 2184766"/>
              <a:gd name="connsiteY81" fmla="*/ 961353 h 2184766"/>
              <a:gd name="connsiteX82" fmla="*/ 970514 w 2184766"/>
              <a:gd name="connsiteY82" fmla="*/ 1028654 h 2184766"/>
              <a:gd name="connsiteX83" fmla="*/ 1037313 w 2184766"/>
              <a:gd name="connsiteY83" fmla="*/ 964053 h 2184766"/>
              <a:gd name="connsiteX84" fmla="*/ 972209 w 2184766"/>
              <a:gd name="connsiteY84" fmla="*/ 897819 h 2184766"/>
              <a:gd name="connsiteX85" fmla="*/ 1740330 w 2184766"/>
              <a:gd name="connsiteY85" fmla="*/ 897819 h 2184766"/>
              <a:gd name="connsiteX86" fmla="*/ 1674787 w 2184766"/>
              <a:gd name="connsiteY86" fmla="*/ 961541 h 2184766"/>
              <a:gd name="connsiteX87" fmla="*/ 1739012 w 2184766"/>
              <a:gd name="connsiteY87" fmla="*/ 1028654 h 2184766"/>
              <a:gd name="connsiteX88" fmla="*/ 1805622 w 2184766"/>
              <a:gd name="connsiteY88" fmla="*/ 963864 h 2184766"/>
              <a:gd name="connsiteX89" fmla="*/ 1740330 w 2184766"/>
              <a:gd name="connsiteY89" fmla="*/ 897819 h 218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184766" h="2184766">
                <a:moveTo>
                  <a:pt x="2188333" y="899200"/>
                </a:moveTo>
                <a:cubicBezTo>
                  <a:pt x="2103014" y="899640"/>
                  <a:pt x="2017695" y="900016"/>
                  <a:pt x="1932376" y="900707"/>
                </a:cubicBezTo>
                <a:cubicBezTo>
                  <a:pt x="1921139" y="900770"/>
                  <a:pt x="1916116" y="894554"/>
                  <a:pt x="1911784" y="885577"/>
                </a:cubicBezTo>
                <a:cubicBezTo>
                  <a:pt x="1878133" y="815890"/>
                  <a:pt x="1822071" y="779101"/>
                  <a:pt x="1745290" y="774518"/>
                </a:cubicBezTo>
                <a:cubicBezTo>
                  <a:pt x="1721182" y="773074"/>
                  <a:pt x="1696823" y="776213"/>
                  <a:pt x="1674473" y="786446"/>
                </a:cubicBezTo>
                <a:cubicBezTo>
                  <a:pt x="1662293" y="792034"/>
                  <a:pt x="1653818" y="790590"/>
                  <a:pt x="1644338" y="780921"/>
                </a:cubicBezTo>
                <a:cubicBezTo>
                  <a:pt x="1609056" y="744760"/>
                  <a:pt x="1573271" y="709163"/>
                  <a:pt x="1537298" y="673755"/>
                </a:cubicBezTo>
                <a:cubicBezTo>
                  <a:pt x="1529073" y="665656"/>
                  <a:pt x="1527818" y="658436"/>
                  <a:pt x="1531773" y="647324"/>
                </a:cubicBezTo>
                <a:cubicBezTo>
                  <a:pt x="1571137" y="537019"/>
                  <a:pt x="1514822" y="428220"/>
                  <a:pt x="1402319" y="396076"/>
                </a:cubicBezTo>
                <a:cubicBezTo>
                  <a:pt x="1295718" y="365627"/>
                  <a:pt x="1177627" y="447870"/>
                  <a:pt x="1168901" y="557673"/>
                </a:cubicBezTo>
                <a:cubicBezTo>
                  <a:pt x="1166389" y="589503"/>
                  <a:pt x="1168147" y="620015"/>
                  <a:pt x="1181018" y="649396"/>
                </a:cubicBezTo>
                <a:cubicBezTo>
                  <a:pt x="1185036" y="658562"/>
                  <a:pt x="1183152" y="665342"/>
                  <a:pt x="1176183" y="672248"/>
                </a:cubicBezTo>
                <a:cubicBezTo>
                  <a:pt x="1138766" y="709289"/>
                  <a:pt x="1101537" y="746518"/>
                  <a:pt x="1064496" y="783872"/>
                </a:cubicBezTo>
                <a:cubicBezTo>
                  <a:pt x="1057402" y="791029"/>
                  <a:pt x="1050559" y="791720"/>
                  <a:pt x="1041518" y="788078"/>
                </a:cubicBezTo>
                <a:cubicBezTo>
                  <a:pt x="995249" y="769495"/>
                  <a:pt x="948666" y="769119"/>
                  <a:pt x="902585" y="788141"/>
                </a:cubicBezTo>
                <a:cubicBezTo>
                  <a:pt x="888397" y="793980"/>
                  <a:pt x="881554" y="786132"/>
                  <a:pt x="873455" y="777971"/>
                </a:cubicBezTo>
                <a:cubicBezTo>
                  <a:pt x="787948" y="692463"/>
                  <a:pt x="702440" y="606956"/>
                  <a:pt x="616933" y="521512"/>
                </a:cubicBezTo>
                <a:cubicBezTo>
                  <a:pt x="597660" y="502238"/>
                  <a:pt x="597911" y="502364"/>
                  <a:pt x="587552" y="526534"/>
                </a:cubicBezTo>
                <a:cubicBezTo>
                  <a:pt x="576314" y="552714"/>
                  <a:pt x="568090" y="579898"/>
                  <a:pt x="559049" y="606831"/>
                </a:cubicBezTo>
                <a:cubicBezTo>
                  <a:pt x="553336" y="623907"/>
                  <a:pt x="556664" y="635584"/>
                  <a:pt x="569534" y="648329"/>
                </a:cubicBezTo>
                <a:cubicBezTo>
                  <a:pt x="641480" y="719208"/>
                  <a:pt x="712297" y="791217"/>
                  <a:pt x="784369" y="862034"/>
                </a:cubicBezTo>
                <a:cubicBezTo>
                  <a:pt x="797365" y="874778"/>
                  <a:pt x="799813" y="885074"/>
                  <a:pt x="793661" y="902653"/>
                </a:cubicBezTo>
                <a:cubicBezTo>
                  <a:pt x="753355" y="1018044"/>
                  <a:pt x="834280" y="1139022"/>
                  <a:pt x="952244" y="1150637"/>
                </a:cubicBezTo>
                <a:cubicBezTo>
                  <a:pt x="1049617" y="1160242"/>
                  <a:pt x="1133179" y="1096206"/>
                  <a:pt x="1154586" y="1010447"/>
                </a:cubicBezTo>
                <a:cubicBezTo>
                  <a:pt x="1163879" y="973218"/>
                  <a:pt x="1164255" y="935550"/>
                  <a:pt x="1149313" y="899640"/>
                </a:cubicBezTo>
                <a:cubicBezTo>
                  <a:pt x="1142972" y="884447"/>
                  <a:pt x="1146048" y="875218"/>
                  <a:pt x="1157223" y="864420"/>
                </a:cubicBezTo>
                <a:cubicBezTo>
                  <a:pt x="1192004" y="830832"/>
                  <a:pt x="1226094" y="796491"/>
                  <a:pt x="1259870" y="761899"/>
                </a:cubicBezTo>
                <a:cubicBezTo>
                  <a:pt x="1269098" y="752419"/>
                  <a:pt x="1277134" y="750661"/>
                  <a:pt x="1289879" y="755621"/>
                </a:cubicBezTo>
                <a:cubicBezTo>
                  <a:pt x="1333951" y="772760"/>
                  <a:pt x="1378839" y="772948"/>
                  <a:pt x="1422849" y="755370"/>
                </a:cubicBezTo>
                <a:cubicBezTo>
                  <a:pt x="1435970" y="750159"/>
                  <a:pt x="1443692" y="753235"/>
                  <a:pt x="1452670" y="762401"/>
                </a:cubicBezTo>
                <a:cubicBezTo>
                  <a:pt x="1487010" y="797433"/>
                  <a:pt x="1521603" y="832276"/>
                  <a:pt x="1556822" y="866429"/>
                </a:cubicBezTo>
                <a:cubicBezTo>
                  <a:pt x="1567056" y="876348"/>
                  <a:pt x="1568185" y="884823"/>
                  <a:pt x="1563226" y="898258"/>
                </a:cubicBezTo>
                <a:cubicBezTo>
                  <a:pt x="1527943" y="992932"/>
                  <a:pt x="1573334" y="1096708"/>
                  <a:pt x="1666751" y="1137201"/>
                </a:cubicBezTo>
                <a:cubicBezTo>
                  <a:pt x="1757720" y="1176628"/>
                  <a:pt x="1864824" y="1136888"/>
                  <a:pt x="1908959" y="1046170"/>
                </a:cubicBezTo>
                <a:cubicBezTo>
                  <a:pt x="1916179" y="1031291"/>
                  <a:pt x="1924465" y="1025201"/>
                  <a:pt x="1941291" y="1025389"/>
                </a:cubicBezTo>
                <a:cubicBezTo>
                  <a:pt x="2009533" y="1026268"/>
                  <a:pt x="2077839" y="1026143"/>
                  <a:pt x="2146144" y="1025515"/>
                </a:cubicBezTo>
                <a:cubicBezTo>
                  <a:pt x="2162844" y="1025389"/>
                  <a:pt x="2167238" y="1030035"/>
                  <a:pt x="2162781" y="1046609"/>
                </a:cubicBezTo>
                <a:cubicBezTo>
                  <a:pt x="2117830" y="1213543"/>
                  <a:pt x="2029811" y="1353481"/>
                  <a:pt x="1899479" y="1466674"/>
                </a:cubicBezTo>
                <a:cubicBezTo>
                  <a:pt x="1783460" y="1567437"/>
                  <a:pt x="1649172" y="1630846"/>
                  <a:pt x="1498123" y="1657465"/>
                </a:cubicBezTo>
                <a:cubicBezTo>
                  <a:pt x="1406525" y="1673599"/>
                  <a:pt x="1314489" y="1673913"/>
                  <a:pt x="1222390" y="1658657"/>
                </a:cubicBezTo>
                <a:cubicBezTo>
                  <a:pt x="1046290" y="1629527"/>
                  <a:pt x="894361" y="1551868"/>
                  <a:pt x="768486" y="1426558"/>
                </a:cubicBezTo>
                <a:cubicBezTo>
                  <a:pt x="638216" y="1296915"/>
                  <a:pt x="558171" y="1140152"/>
                  <a:pt x="530924" y="957335"/>
                </a:cubicBezTo>
                <a:cubicBezTo>
                  <a:pt x="515542" y="854249"/>
                  <a:pt x="518933" y="751979"/>
                  <a:pt x="542601" y="650526"/>
                </a:cubicBezTo>
                <a:cubicBezTo>
                  <a:pt x="545615" y="637468"/>
                  <a:pt x="542727" y="627611"/>
                  <a:pt x="532933" y="618006"/>
                </a:cubicBezTo>
                <a:cubicBezTo>
                  <a:pt x="496771" y="582723"/>
                  <a:pt x="461049" y="547001"/>
                  <a:pt x="425829" y="510839"/>
                </a:cubicBezTo>
                <a:cubicBezTo>
                  <a:pt x="417040" y="501799"/>
                  <a:pt x="409694" y="500920"/>
                  <a:pt x="397892" y="505252"/>
                </a:cubicBezTo>
                <a:cubicBezTo>
                  <a:pt x="304097" y="539341"/>
                  <a:pt x="202079" y="498283"/>
                  <a:pt x="158258" y="408569"/>
                </a:cubicBezTo>
                <a:cubicBezTo>
                  <a:pt x="150913" y="393502"/>
                  <a:pt x="142500" y="387601"/>
                  <a:pt x="125800" y="388166"/>
                </a:cubicBezTo>
                <a:cubicBezTo>
                  <a:pt x="90957" y="389359"/>
                  <a:pt x="56114" y="388040"/>
                  <a:pt x="21271" y="388668"/>
                </a:cubicBezTo>
                <a:cubicBezTo>
                  <a:pt x="6454" y="388982"/>
                  <a:pt x="1118" y="383206"/>
                  <a:pt x="1432" y="368641"/>
                </a:cubicBezTo>
                <a:cubicBezTo>
                  <a:pt x="2122" y="338067"/>
                  <a:pt x="2185" y="307430"/>
                  <a:pt x="1432" y="276918"/>
                </a:cubicBezTo>
                <a:cubicBezTo>
                  <a:pt x="1055" y="261725"/>
                  <a:pt x="7584" y="257205"/>
                  <a:pt x="21836" y="257456"/>
                </a:cubicBezTo>
                <a:cubicBezTo>
                  <a:pt x="57369" y="258021"/>
                  <a:pt x="92966" y="257142"/>
                  <a:pt x="128500" y="257833"/>
                </a:cubicBezTo>
                <a:cubicBezTo>
                  <a:pt x="142249" y="258084"/>
                  <a:pt x="150097" y="253815"/>
                  <a:pt x="156563" y="240882"/>
                </a:cubicBezTo>
                <a:cubicBezTo>
                  <a:pt x="223299" y="107285"/>
                  <a:pt x="394313" y="88765"/>
                  <a:pt x="486098" y="206165"/>
                </a:cubicBezTo>
                <a:cubicBezTo>
                  <a:pt x="528413" y="260282"/>
                  <a:pt x="536637" y="322685"/>
                  <a:pt x="514412" y="387726"/>
                </a:cubicBezTo>
                <a:cubicBezTo>
                  <a:pt x="509704" y="401601"/>
                  <a:pt x="511148" y="409574"/>
                  <a:pt x="521381" y="419117"/>
                </a:cubicBezTo>
                <a:cubicBezTo>
                  <a:pt x="542162" y="438516"/>
                  <a:pt x="562377" y="458606"/>
                  <a:pt x="581651" y="479512"/>
                </a:cubicBezTo>
                <a:cubicBezTo>
                  <a:pt x="593516" y="492382"/>
                  <a:pt x="598350" y="488803"/>
                  <a:pt x="604942" y="474929"/>
                </a:cubicBezTo>
                <a:cubicBezTo>
                  <a:pt x="648135" y="384022"/>
                  <a:pt x="706333" y="304102"/>
                  <a:pt x="778970" y="234290"/>
                </a:cubicBezTo>
                <a:cubicBezTo>
                  <a:pt x="898065" y="119778"/>
                  <a:pt x="1038568" y="46200"/>
                  <a:pt x="1200668" y="15563"/>
                </a:cubicBezTo>
                <a:cubicBezTo>
                  <a:pt x="1394974" y="-21164"/>
                  <a:pt x="1581181" y="6836"/>
                  <a:pt x="1753702" y="102514"/>
                </a:cubicBezTo>
                <a:cubicBezTo>
                  <a:pt x="1969165" y="221923"/>
                  <a:pt x="2107534" y="403484"/>
                  <a:pt x="2168055" y="643306"/>
                </a:cubicBezTo>
                <a:cubicBezTo>
                  <a:pt x="2177283" y="679907"/>
                  <a:pt x="2179669" y="717576"/>
                  <a:pt x="2188270" y="754240"/>
                </a:cubicBezTo>
                <a:cubicBezTo>
                  <a:pt x="2188333" y="802455"/>
                  <a:pt x="2188333" y="850859"/>
                  <a:pt x="2188333" y="899200"/>
                </a:cubicBezTo>
                <a:close/>
                <a:moveTo>
                  <a:pt x="233532" y="2188212"/>
                </a:moveTo>
                <a:cubicBezTo>
                  <a:pt x="272958" y="2176598"/>
                  <a:pt x="308555" y="2158329"/>
                  <a:pt x="337936" y="2128947"/>
                </a:cubicBezTo>
                <a:cubicBezTo>
                  <a:pt x="497273" y="1969547"/>
                  <a:pt x="656548" y="1810147"/>
                  <a:pt x="816199" y="1651061"/>
                </a:cubicBezTo>
                <a:cubicBezTo>
                  <a:pt x="827814" y="1639509"/>
                  <a:pt x="827499" y="1632729"/>
                  <a:pt x="813750" y="1623249"/>
                </a:cubicBezTo>
                <a:cubicBezTo>
                  <a:pt x="716692" y="1556513"/>
                  <a:pt x="634637" y="1474459"/>
                  <a:pt x="567902" y="1377337"/>
                </a:cubicBezTo>
                <a:cubicBezTo>
                  <a:pt x="558234" y="1363275"/>
                  <a:pt x="551390" y="1363902"/>
                  <a:pt x="540090" y="1375266"/>
                </a:cubicBezTo>
                <a:cubicBezTo>
                  <a:pt x="380941" y="1534854"/>
                  <a:pt x="220725" y="1693312"/>
                  <a:pt x="62580" y="1853905"/>
                </a:cubicBezTo>
                <a:cubicBezTo>
                  <a:pt x="-17591" y="1935269"/>
                  <a:pt x="-20165" y="2041996"/>
                  <a:pt x="51594" y="2126813"/>
                </a:cubicBezTo>
                <a:cubicBezTo>
                  <a:pt x="79280" y="2159521"/>
                  <a:pt x="117011" y="2175782"/>
                  <a:pt x="156751" y="2188275"/>
                </a:cubicBezTo>
                <a:cubicBezTo>
                  <a:pt x="182303" y="2188212"/>
                  <a:pt x="207917" y="2188212"/>
                  <a:pt x="233532" y="2188212"/>
                </a:cubicBezTo>
                <a:close/>
                <a:moveTo>
                  <a:pt x="1421467" y="579835"/>
                </a:moveTo>
                <a:cubicBezTo>
                  <a:pt x="1421718" y="542355"/>
                  <a:pt x="1395037" y="514418"/>
                  <a:pt x="1358373" y="513727"/>
                </a:cubicBezTo>
                <a:cubicBezTo>
                  <a:pt x="1319700" y="512974"/>
                  <a:pt x="1291197" y="539718"/>
                  <a:pt x="1290632" y="577324"/>
                </a:cubicBezTo>
                <a:cubicBezTo>
                  <a:pt x="1290067" y="615871"/>
                  <a:pt x="1317063" y="644122"/>
                  <a:pt x="1354794" y="644499"/>
                </a:cubicBezTo>
                <a:cubicBezTo>
                  <a:pt x="1393216" y="644876"/>
                  <a:pt x="1421216" y="617755"/>
                  <a:pt x="1421467" y="579835"/>
                </a:cubicBezTo>
                <a:close/>
                <a:moveTo>
                  <a:pt x="972209" y="897819"/>
                </a:moveTo>
                <a:cubicBezTo>
                  <a:pt x="934855" y="897756"/>
                  <a:pt x="907105" y="924563"/>
                  <a:pt x="906478" y="961353"/>
                </a:cubicBezTo>
                <a:cubicBezTo>
                  <a:pt x="905850" y="999900"/>
                  <a:pt x="932783" y="1028214"/>
                  <a:pt x="970514" y="1028654"/>
                </a:cubicBezTo>
                <a:cubicBezTo>
                  <a:pt x="1008998" y="1029093"/>
                  <a:pt x="1036998" y="1001972"/>
                  <a:pt x="1037313" y="964053"/>
                </a:cubicBezTo>
                <a:cubicBezTo>
                  <a:pt x="1037563" y="925694"/>
                  <a:pt x="1010254" y="897882"/>
                  <a:pt x="972209" y="897819"/>
                </a:cubicBezTo>
                <a:close/>
                <a:moveTo>
                  <a:pt x="1740330" y="897819"/>
                </a:moveTo>
                <a:cubicBezTo>
                  <a:pt x="1702976" y="897756"/>
                  <a:pt x="1675352" y="924689"/>
                  <a:pt x="1674787" y="961541"/>
                </a:cubicBezTo>
                <a:cubicBezTo>
                  <a:pt x="1674222" y="1000089"/>
                  <a:pt x="1701218" y="1028277"/>
                  <a:pt x="1739012" y="1028654"/>
                </a:cubicBezTo>
                <a:cubicBezTo>
                  <a:pt x="1777434" y="1029030"/>
                  <a:pt x="1805434" y="1001846"/>
                  <a:pt x="1805622" y="963864"/>
                </a:cubicBezTo>
                <a:cubicBezTo>
                  <a:pt x="1805811" y="925568"/>
                  <a:pt x="1778438" y="897819"/>
                  <a:pt x="1740330" y="897819"/>
                </a:cubicBezTo>
                <a:close/>
              </a:path>
            </a:pathLst>
          </a:custGeom>
          <a:solidFill>
            <a:schemeClr val="bg1"/>
          </a:solidFill>
          <a:ln w="6278"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AC533B6A-C7C3-40B2-889F-3C9B2E40ED66}"/>
              </a:ext>
            </a:extLst>
          </p:cNvPr>
          <p:cNvSpPr/>
          <p:nvPr/>
        </p:nvSpPr>
        <p:spPr>
          <a:xfrm>
            <a:off x="3538838" y="3535838"/>
            <a:ext cx="367976" cy="367976"/>
          </a:xfrm>
          <a:custGeom>
            <a:avLst/>
            <a:gdLst>
              <a:gd name="connsiteX0" fmla="*/ 2115125 w 2109429"/>
              <a:gd name="connsiteY0" fmla="*/ 793766 h 2109429"/>
              <a:gd name="connsiteX1" fmla="*/ 1994711 w 2109429"/>
              <a:gd name="connsiteY1" fmla="*/ 1109993 h 2109429"/>
              <a:gd name="connsiteX2" fmla="*/ 1987994 w 2109429"/>
              <a:gd name="connsiteY2" fmla="*/ 1176917 h 2109429"/>
              <a:gd name="connsiteX3" fmla="*/ 2040604 w 2109429"/>
              <a:gd name="connsiteY3" fmla="*/ 1420003 h 2109429"/>
              <a:gd name="connsiteX4" fmla="*/ 1932810 w 2109429"/>
              <a:gd name="connsiteY4" fmla="*/ 1716202 h 2109429"/>
              <a:gd name="connsiteX5" fmla="*/ 1676414 w 2109429"/>
              <a:gd name="connsiteY5" fmla="*/ 1877109 h 2109429"/>
              <a:gd name="connsiteX6" fmla="*/ 1648351 w 2109429"/>
              <a:gd name="connsiteY6" fmla="*/ 1901217 h 2109429"/>
              <a:gd name="connsiteX7" fmla="*/ 1086024 w 2109429"/>
              <a:gd name="connsiteY7" fmla="*/ 2010832 h 2109429"/>
              <a:gd name="connsiteX8" fmla="*/ 1046284 w 2109429"/>
              <a:gd name="connsiteY8" fmla="*/ 2010706 h 2109429"/>
              <a:gd name="connsiteX9" fmla="*/ 486093 w 2109429"/>
              <a:gd name="connsiteY9" fmla="*/ 1905360 h 2109429"/>
              <a:gd name="connsiteX10" fmla="*/ 451438 w 2109429"/>
              <a:gd name="connsiteY10" fmla="*/ 1875477 h 2109429"/>
              <a:gd name="connsiteX11" fmla="*/ 88252 w 2109429"/>
              <a:gd name="connsiteY11" fmla="*/ 1464766 h 2109429"/>
              <a:gd name="connsiteX12" fmla="*/ 140422 w 2109429"/>
              <a:gd name="connsiteY12" fmla="*/ 1161410 h 2109429"/>
              <a:gd name="connsiteX13" fmla="*/ 135902 w 2109429"/>
              <a:gd name="connsiteY13" fmla="*/ 1126692 h 2109429"/>
              <a:gd name="connsiteX14" fmla="*/ 23776 w 2109429"/>
              <a:gd name="connsiteY14" fmla="*/ 649559 h 2109429"/>
              <a:gd name="connsiteX15" fmla="*/ 387778 w 2109429"/>
              <a:gd name="connsiteY15" fmla="*/ 310983 h 2109429"/>
              <a:gd name="connsiteX16" fmla="*/ 424693 w 2109429"/>
              <a:gd name="connsiteY16" fmla="*/ 304894 h 2109429"/>
              <a:gd name="connsiteX17" fmla="*/ 459850 w 2109429"/>
              <a:gd name="connsiteY17" fmla="*/ 272248 h 2109429"/>
              <a:gd name="connsiteX18" fmla="*/ 751090 w 2109429"/>
              <a:gd name="connsiteY18" fmla="*/ 3923 h 2109429"/>
              <a:gd name="connsiteX19" fmla="*/ 1041011 w 2109429"/>
              <a:gd name="connsiteY19" fmla="*/ 108014 h 2109429"/>
              <a:gd name="connsiteX20" fmla="*/ 1075352 w 2109429"/>
              <a:gd name="connsiteY20" fmla="*/ 109457 h 2109429"/>
              <a:gd name="connsiteX21" fmla="*/ 1417318 w 2109429"/>
              <a:gd name="connsiteY21" fmla="*/ 14596 h 2109429"/>
              <a:gd name="connsiteX22" fmla="*/ 1661158 w 2109429"/>
              <a:gd name="connsiteY22" fmla="*/ 280221 h 2109429"/>
              <a:gd name="connsiteX23" fmla="*/ 1684763 w 2109429"/>
              <a:gd name="connsiteY23" fmla="*/ 304768 h 2109429"/>
              <a:gd name="connsiteX24" fmla="*/ 2107403 w 2109429"/>
              <a:gd name="connsiteY24" fmla="*/ 702483 h 2109429"/>
              <a:gd name="connsiteX25" fmla="*/ 2115125 w 2109429"/>
              <a:gd name="connsiteY25" fmla="*/ 793766 h 2109429"/>
              <a:gd name="connsiteX26" fmla="*/ 777583 w 2109429"/>
              <a:gd name="connsiteY26" fmla="*/ 1207114 h 2109429"/>
              <a:gd name="connsiteX27" fmla="*/ 777583 w 2109429"/>
              <a:gd name="connsiteY27" fmla="*/ 1207240 h 2109429"/>
              <a:gd name="connsiteX28" fmla="*/ 850534 w 2109429"/>
              <a:gd name="connsiteY28" fmla="*/ 1207240 h 2109429"/>
              <a:gd name="connsiteX29" fmla="*/ 876839 w 2109429"/>
              <a:gd name="connsiteY29" fmla="*/ 1242334 h 2109429"/>
              <a:gd name="connsiteX30" fmla="*/ 869431 w 2109429"/>
              <a:gd name="connsiteY30" fmla="*/ 1264621 h 2109429"/>
              <a:gd name="connsiteX31" fmla="*/ 767727 w 2109429"/>
              <a:gd name="connsiteY31" fmla="*/ 1565340 h 2109429"/>
              <a:gd name="connsiteX32" fmla="*/ 821530 w 2109429"/>
              <a:gd name="connsiteY32" fmla="*/ 1658130 h 2109429"/>
              <a:gd name="connsiteX33" fmla="*/ 891969 w 2109429"/>
              <a:gd name="connsiteY33" fmla="*/ 1627619 h 2109429"/>
              <a:gd name="connsiteX34" fmla="*/ 1477525 w 2109429"/>
              <a:gd name="connsiteY34" fmla="*/ 1041562 h 2109429"/>
              <a:gd name="connsiteX35" fmla="*/ 1494789 w 2109429"/>
              <a:gd name="connsiteY35" fmla="*/ 1022351 h 2109429"/>
              <a:gd name="connsiteX36" fmla="*/ 1506152 w 2109429"/>
              <a:gd name="connsiteY36" fmla="*/ 971498 h 2109429"/>
              <a:gd name="connsiteX37" fmla="*/ 1425165 w 2109429"/>
              <a:gd name="connsiteY37" fmla="*/ 909283 h 2109429"/>
              <a:gd name="connsiteX38" fmla="*/ 1279263 w 2109429"/>
              <a:gd name="connsiteY38" fmla="*/ 909032 h 2109429"/>
              <a:gd name="connsiteX39" fmla="*/ 1257102 w 2109429"/>
              <a:gd name="connsiteY39" fmla="*/ 876511 h 2109429"/>
              <a:gd name="connsiteX40" fmla="*/ 1388502 w 2109429"/>
              <a:gd name="connsiteY40" fmla="*/ 574536 h 2109429"/>
              <a:gd name="connsiteX41" fmla="*/ 1363264 w 2109429"/>
              <a:gd name="connsiteY41" fmla="*/ 471639 h 2109429"/>
              <a:gd name="connsiteX42" fmla="*/ 1264949 w 2109429"/>
              <a:gd name="connsiteY42" fmla="*/ 487083 h 2109429"/>
              <a:gd name="connsiteX43" fmla="*/ 1132796 w 2109429"/>
              <a:gd name="connsiteY43" fmla="*/ 611012 h 2109429"/>
              <a:gd name="connsiteX44" fmla="*/ 642793 w 2109429"/>
              <a:gd name="connsiteY44" fmla="*/ 1072324 h 2109429"/>
              <a:gd name="connsiteX45" fmla="*/ 613977 w 2109429"/>
              <a:gd name="connsiteY45" fmla="*/ 1108988 h 2109429"/>
              <a:gd name="connsiteX46" fmla="*/ 690506 w 2109429"/>
              <a:gd name="connsiteY46" fmla="*/ 1206800 h 2109429"/>
              <a:gd name="connsiteX47" fmla="*/ 777583 w 2109429"/>
              <a:gd name="connsiteY47" fmla="*/ 1207114 h 2109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109429" h="2109429">
                <a:moveTo>
                  <a:pt x="2115125" y="793766"/>
                </a:moveTo>
                <a:cubicBezTo>
                  <a:pt x="2115188" y="914368"/>
                  <a:pt x="2070237" y="1018082"/>
                  <a:pt x="1994711" y="1109993"/>
                </a:cubicBezTo>
                <a:cubicBezTo>
                  <a:pt x="1969160" y="1141069"/>
                  <a:pt x="1968406" y="1140630"/>
                  <a:pt x="1987994" y="1176917"/>
                </a:cubicBezTo>
                <a:cubicBezTo>
                  <a:pt x="2029052" y="1252881"/>
                  <a:pt x="2039474" y="1334622"/>
                  <a:pt x="2040604" y="1420003"/>
                </a:cubicBezTo>
                <a:cubicBezTo>
                  <a:pt x="2042111" y="1533511"/>
                  <a:pt x="2002936" y="1630444"/>
                  <a:pt x="1932810" y="1716202"/>
                </a:cubicBezTo>
                <a:cubicBezTo>
                  <a:pt x="1865760" y="1798257"/>
                  <a:pt x="1780002" y="1852625"/>
                  <a:pt x="1676414" y="1877109"/>
                </a:cubicBezTo>
                <a:cubicBezTo>
                  <a:pt x="1661597" y="1880625"/>
                  <a:pt x="1654064" y="1887405"/>
                  <a:pt x="1648351" y="1901217"/>
                </a:cubicBezTo>
                <a:cubicBezTo>
                  <a:pt x="1553866" y="2130869"/>
                  <a:pt x="1259738" y="2188438"/>
                  <a:pt x="1086024" y="2010832"/>
                </a:cubicBezTo>
                <a:cubicBezTo>
                  <a:pt x="1069953" y="1994446"/>
                  <a:pt x="1062293" y="1994383"/>
                  <a:pt x="1046284" y="2010706"/>
                </a:cubicBezTo>
                <a:cubicBezTo>
                  <a:pt x="872947" y="2187057"/>
                  <a:pt x="583717" y="2132564"/>
                  <a:pt x="486093" y="1905360"/>
                </a:cubicBezTo>
                <a:cubicBezTo>
                  <a:pt x="478747" y="1888284"/>
                  <a:pt x="469079" y="1880123"/>
                  <a:pt x="451438" y="1875477"/>
                </a:cubicBezTo>
                <a:cubicBezTo>
                  <a:pt x="259329" y="1824813"/>
                  <a:pt x="113866" y="1660390"/>
                  <a:pt x="88252" y="1464766"/>
                </a:cubicBezTo>
                <a:cubicBezTo>
                  <a:pt x="74314" y="1358478"/>
                  <a:pt x="91642" y="1256962"/>
                  <a:pt x="140422" y="1161410"/>
                </a:cubicBezTo>
                <a:cubicBezTo>
                  <a:pt x="147642" y="1147284"/>
                  <a:pt x="147140" y="1138683"/>
                  <a:pt x="135902" y="1126692"/>
                </a:cubicBezTo>
                <a:cubicBezTo>
                  <a:pt x="7390" y="989265"/>
                  <a:pt x="-29964" y="827354"/>
                  <a:pt x="23776" y="649559"/>
                </a:cubicBezTo>
                <a:cubicBezTo>
                  <a:pt x="78395" y="468814"/>
                  <a:pt x="202512" y="355118"/>
                  <a:pt x="387778" y="310983"/>
                </a:cubicBezTo>
                <a:cubicBezTo>
                  <a:pt x="399958" y="308095"/>
                  <a:pt x="412639" y="303826"/>
                  <a:pt x="424693" y="304894"/>
                </a:cubicBezTo>
                <a:cubicBezTo>
                  <a:pt x="450119" y="307091"/>
                  <a:pt x="455016" y="292714"/>
                  <a:pt x="459850" y="272248"/>
                </a:cubicBezTo>
                <a:cubicBezTo>
                  <a:pt x="493501" y="129798"/>
                  <a:pt x="607385" y="22569"/>
                  <a:pt x="751090" y="3923"/>
                </a:cubicBezTo>
                <a:cubicBezTo>
                  <a:pt x="863844" y="-10705"/>
                  <a:pt x="961593" y="26085"/>
                  <a:pt x="1041011" y="108014"/>
                </a:cubicBezTo>
                <a:cubicBezTo>
                  <a:pt x="1053944" y="121386"/>
                  <a:pt x="1060284" y="124839"/>
                  <a:pt x="1075352" y="109457"/>
                </a:cubicBezTo>
                <a:cubicBezTo>
                  <a:pt x="1170715" y="12022"/>
                  <a:pt x="1286546" y="-22570"/>
                  <a:pt x="1417318" y="14596"/>
                </a:cubicBezTo>
                <a:cubicBezTo>
                  <a:pt x="1550538" y="52453"/>
                  <a:pt x="1634037" y="142355"/>
                  <a:pt x="1661158" y="280221"/>
                </a:cubicBezTo>
                <a:cubicBezTo>
                  <a:pt x="1664171" y="295539"/>
                  <a:pt x="1667875" y="302006"/>
                  <a:pt x="1684763" y="304768"/>
                </a:cubicBezTo>
                <a:cubicBezTo>
                  <a:pt x="1903115" y="340804"/>
                  <a:pt x="2062577" y="491352"/>
                  <a:pt x="2107403" y="702483"/>
                </a:cubicBezTo>
                <a:cubicBezTo>
                  <a:pt x="2113744" y="732493"/>
                  <a:pt x="2116694" y="762878"/>
                  <a:pt x="2115125" y="793766"/>
                </a:cubicBezTo>
                <a:close/>
                <a:moveTo>
                  <a:pt x="777583" y="1207114"/>
                </a:moveTo>
                <a:cubicBezTo>
                  <a:pt x="777583" y="1207177"/>
                  <a:pt x="777583" y="1207177"/>
                  <a:pt x="777583" y="1207240"/>
                </a:cubicBezTo>
                <a:cubicBezTo>
                  <a:pt x="801879" y="1207240"/>
                  <a:pt x="826238" y="1207240"/>
                  <a:pt x="850534" y="1207240"/>
                </a:cubicBezTo>
                <a:cubicBezTo>
                  <a:pt x="888579" y="1207303"/>
                  <a:pt x="888579" y="1207303"/>
                  <a:pt x="876839" y="1242334"/>
                </a:cubicBezTo>
                <a:cubicBezTo>
                  <a:pt x="874328" y="1249742"/>
                  <a:pt x="871942" y="1257213"/>
                  <a:pt x="869431" y="1264621"/>
                </a:cubicBezTo>
                <a:cubicBezTo>
                  <a:pt x="835467" y="1364819"/>
                  <a:pt x="801000" y="1464891"/>
                  <a:pt x="767727" y="1565340"/>
                </a:cubicBezTo>
                <a:cubicBezTo>
                  <a:pt x="752094" y="1612551"/>
                  <a:pt x="776014" y="1652982"/>
                  <a:pt x="821530" y="1658130"/>
                </a:cubicBezTo>
                <a:cubicBezTo>
                  <a:pt x="850283" y="1661395"/>
                  <a:pt x="872005" y="1647646"/>
                  <a:pt x="891969" y="1627619"/>
                </a:cubicBezTo>
                <a:cubicBezTo>
                  <a:pt x="1086903" y="1432057"/>
                  <a:pt x="1282339" y="1236872"/>
                  <a:pt x="1477525" y="1041562"/>
                </a:cubicBezTo>
                <a:cubicBezTo>
                  <a:pt x="1483614" y="1035472"/>
                  <a:pt x="1490018" y="1029445"/>
                  <a:pt x="1494789" y="1022351"/>
                </a:cubicBezTo>
                <a:cubicBezTo>
                  <a:pt x="1505211" y="1007095"/>
                  <a:pt x="1511049" y="990772"/>
                  <a:pt x="1506152" y="971498"/>
                </a:cubicBezTo>
                <a:cubicBezTo>
                  <a:pt x="1494915" y="927050"/>
                  <a:pt x="1474260" y="910099"/>
                  <a:pt x="1425165" y="909283"/>
                </a:cubicBezTo>
                <a:cubicBezTo>
                  <a:pt x="1376510" y="908467"/>
                  <a:pt x="1327918" y="909094"/>
                  <a:pt x="1279263" y="909032"/>
                </a:cubicBezTo>
                <a:cubicBezTo>
                  <a:pt x="1243353" y="908969"/>
                  <a:pt x="1243164" y="908529"/>
                  <a:pt x="1257102" y="876511"/>
                </a:cubicBezTo>
                <a:cubicBezTo>
                  <a:pt x="1300985" y="775874"/>
                  <a:pt x="1344806" y="675237"/>
                  <a:pt x="1388502" y="574536"/>
                </a:cubicBezTo>
                <a:cubicBezTo>
                  <a:pt x="1405641" y="534985"/>
                  <a:pt x="1395345" y="493926"/>
                  <a:pt x="1363264" y="471639"/>
                </a:cubicBezTo>
                <a:cubicBezTo>
                  <a:pt x="1335452" y="452365"/>
                  <a:pt x="1295963" y="458267"/>
                  <a:pt x="1264949" y="487083"/>
                </a:cubicBezTo>
                <a:cubicBezTo>
                  <a:pt x="1220689" y="528204"/>
                  <a:pt x="1176805" y="569640"/>
                  <a:pt x="1132796" y="611012"/>
                </a:cubicBezTo>
                <a:cubicBezTo>
                  <a:pt x="969441" y="764762"/>
                  <a:pt x="806085" y="918574"/>
                  <a:pt x="642793" y="1072324"/>
                </a:cubicBezTo>
                <a:cubicBezTo>
                  <a:pt x="631367" y="1083060"/>
                  <a:pt x="619753" y="1093732"/>
                  <a:pt x="613977" y="1108988"/>
                </a:cubicBezTo>
                <a:cubicBezTo>
                  <a:pt x="596147" y="1156450"/>
                  <a:pt x="633313" y="1204603"/>
                  <a:pt x="690506" y="1206800"/>
                </a:cubicBezTo>
                <a:cubicBezTo>
                  <a:pt x="719511" y="1207993"/>
                  <a:pt x="748578" y="1207114"/>
                  <a:pt x="777583" y="1207114"/>
                </a:cubicBezTo>
                <a:close/>
              </a:path>
            </a:pathLst>
          </a:custGeom>
          <a:solidFill>
            <a:schemeClr val="bg1"/>
          </a:solidFill>
          <a:ln w="6278"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AE934A5E-DB5C-4AE5-9EA0-55D9DEE5C80D}"/>
              </a:ext>
            </a:extLst>
          </p:cNvPr>
          <p:cNvSpPr/>
          <p:nvPr/>
        </p:nvSpPr>
        <p:spPr>
          <a:xfrm>
            <a:off x="8239920" y="3493242"/>
            <a:ext cx="385454" cy="453168"/>
          </a:xfrm>
          <a:custGeom>
            <a:avLst/>
            <a:gdLst>
              <a:gd name="connsiteX0" fmla="*/ 1543230 w 1858306"/>
              <a:gd name="connsiteY0" fmla="*/ 1515543 h 2184766"/>
              <a:gd name="connsiteX1" fmla="*/ 1543230 w 1858306"/>
              <a:gd name="connsiteY1" fmla="*/ 2038192 h 2184766"/>
              <a:gd name="connsiteX2" fmla="*/ 1507884 w 1858306"/>
              <a:gd name="connsiteY2" fmla="*/ 2143664 h 2184766"/>
              <a:gd name="connsiteX3" fmla="*/ 1406368 w 1858306"/>
              <a:gd name="connsiteY3" fmla="*/ 2187861 h 2184766"/>
              <a:gd name="connsiteX4" fmla="*/ 577224 w 1858306"/>
              <a:gd name="connsiteY4" fmla="*/ 2187736 h 2184766"/>
              <a:gd name="connsiteX5" fmla="*/ 443752 w 1858306"/>
              <a:gd name="connsiteY5" fmla="*/ 2051313 h 2184766"/>
              <a:gd name="connsiteX6" fmla="*/ 443439 w 1858306"/>
              <a:gd name="connsiteY6" fmla="*/ 1780478 h 2184766"/>
              <a:gd name="connsiteX7" fmla="*/ 467923 w 1858306"/>
              <a:gd name="connsiteY7" fmla="*/ 1752854 h 2184766"/>
              <a:gd name="connsiteX8" fmla="*/ 472632 w 1858306"/>
              <a:gd name="connsiteY8" fmla="*/ 1752415 h 2184766"/>
              <a:gd name="connsiteX9" fmla="*/ 623619 w 1858306"/>
              <a:gd name="connsiteY9" fmla="*/ 1776209 h 2184766"/>
              <a:gd name="connsiteX10" fmla="*/ 722059 w 1858306"/>
              <a:gd name="connsiteY10" fmla="*/ 1817016 h 2184766"/>
              <a:gd name="connsiteX11" fmla="*/ 780131 w 1858306"/>
              <a:gd name="connsiteY11" fmla="*/ 1758944 h 2184766"/>
              <a:gd name="connsiteX12" fmla="*/ 759413 w 1858306"/>
              <a:gd name="connsiteY12" fmla="*/ 1659123 h 2184766"/>
              <a:gd name="connsiteX13" fmla="*/ 776490 w 1858306"/>
              <a:gd name="connsiteY13" fmla="*/ 1601176 h 2184766"/>
              <a:gd name="connsiteX14" fmla="*/ 887737 w 1858306"/>
              <a:gd name="connsiteY14" fmla="*/ 1114815 h 2184766"/>
              <a:gd name="connsiteX15" fmla="*/ 508102 w 1858306"/>
              <a:gd name="connsiteY15" fmla="*/ 781387 h 2184766"/>
              <a:gd name="connsiteX16" fmla="*/ 491842 w 1858306"/>
              <a:gd name="connsiteY16" fmla="*/ 777997 h 2184766"/>
              <a:gd name="connsiteX17" fmla="*/ 443815 w 1858306"/>
              <a:gd name="connsiteY17" fmla="*/ 721619 h 2184766"/>
              <a:gd name="connsiteX18" fmla="*/ 443878 w 1858306"/>
              <a:gd name="connsiteY18" fmla="*/ 137195 h 2184766"/>
              <a:gd name="connsiteX19" fmla="*/ 579359 w 1858306"/>
              <a:gd name="connsiteY19" fmla="*/ 333 h 2184766"/>
              <a:gd name="connsiteX20" fmla="*/ 755145 w 1858306"/>
              <a:gd name="connsiteY20" fmla="*/ 19 h 2184766"/>
              <a:gd name="connsiteX21" fmla="*/ 785530 w 1858306"/>
              <a:gd name="connsiteY21" fmla="*/ 16593 h 2184766"/>
              <a:gd name="connsiteX22" fmla="*/ 816606 w 1858306"/>
              <a:gd name="connsiteY22" fmla="*/ 34234 h 2184766"/>
              <a:gd name="connsiteX23" fmla="*/ 1168178 w 1858306"/>
              <a:gd name="connsiteY23" fmla="*/ 34234 h 2184766"/>
              <a:gd name="connsiteX24" fmla="*/ 1199255 w 1858306"/>
              <a:gd name="connsiteY24" fmla="*/ 16405 h 2184766"/>
              <a:gd name="connsiteX25" fmla="*/ 1229829 w 1858306"/>
              <a:gd name="connsiteY25" fmla="*/ 19 h 2184766"/>
              <a:gd name="connsiteX26" fmla="*/ 1398521 w 1858306"/>
              <a:gd name="connsiteY26" fmla="*/ 207 h 2184766"/>
              <a:gd name="connsiteX27" fmla="*/ 1543167 w 1858306"/>
              <a:gd name="connsiteY27" fmla="*/ 142091 h 2184766"/>
              <a:gd name="connsiteX28" fmla="*/ 1543607 w 1858306"/>
              <a:gd name="connsiteY28" fmla="*/ 232370 h 2184766"/>
              <a:gd name="connsiteX29" fmla="*/ 1515544 w 1858306"/>
              <a:gd name="connsiteY29" fmla="*/ 259491 h 2184766"/>
              <a:gd name="connsiteX30" fmla="*/ 1192474 w 1858306"/>
              <a:gd name="connsiteY30" fmla="*/ 259240 h 2184766"/>
              <a:gd name="connsiteX31" fmla="*/ 963137 w 1858306"/>
              <a:gd name="connsiteY31" fmla="*/ 444945 h 2184766"/>
              <a:gd name="connsiteX32" fmla="*/ 959872 w 1858306"/>
              <a:gd name="connsiteY32" fmla="*/ 477905 h 2184766"/>
              <a:gd name="connsiteX33" fmla="*/ 959809 w 1858306"/>
              <a:gd name="connsiteY33" fmla="*/ 729718 h 2184766"/>
              <a:gd name="connsiteX34" fmla="*/ 1127308 w 1858306"/>
              <a:gd name="connsiteY34" fmla="*/ 943863 h 2184766"/>
              <a:gd name="connsiteX35" fmla="*/ 1155433 w 1858306"/>
              <a:gd name="connsiteY35" fmla="*/ 981343 h 2184766"/>
              <a:gd name="connsiteX36" fmla="*/ 1154931 w 1858306"/>
              <a:gd name="connsiteY36" fmla="*/ 1045442 h 2184766"/>
              <a:gd name="connsiteX37" fmla="*/ 1173954 w 1858306"/>
              <a:gd name="connsiteY37" fmla="*/ 1086061 h 2184766"/>
              <a:gd name="connsiteX38" fmla="*/ 1217838 w 1858306"/>
              <a:gd name="connsiteY38" fmla="*/ 1078779 h 2184766"/>
              <a:gd name="connsiteX39" fmla="*/ 1367318 w 1858306"/>
              <a:gd name="connsiteY39" fmla="*/ 969352 h 2184766"/>
              <a:gd name="connsiteX40" fmla="*/ 1413274 w 1858306"/>
              <a:gd name="connsiteY40" fmla="*/ 954536 h 2184766"/>
              <a:gd name="connsiteX41" fmla="*/ 1513032 w 1858306"/>
              <a:gd name="connsiteY41" fmla="*/ 954347 h 2184766"/>
              <a:gd name="connsiteX42" fmla="*/ 1543795 w 1858306"/>
              <a:gd name="connsiteY42" fmla="*/ 985863 h 2184766"/>
              <a:gd name="connsiteX43" fmla="*/ 1543230 w 1858306"/>
              <a:gd name="connsiteY43" fmla="*/ 1515543 h 2184766"/>
              <a:gd name="connsiteX44" fmla="*/ 992581 w 1858306"/>
              <a:gd name="connsiteY44" fmla="*/ 2019798 h 2184766"/>
              <a:gd name="connsiteX45" fmla="*/ 1161147 w 1858306"/>
              <a:gd name="connsiteY45" fmla="*/ 2019798 h 2184766"/>
              <a:gd name="connsiteX46" fmla="*/ 1192161 w 1858306"/>
              <a:gd name="connsiteY46" fmla="*/ 2011197 h 2184766"/>
              <a:gd name="connsiteX47" fmla="*/ 1201828 w 1858306"/>
              <a:gd name="connsiteY47" fmla="*/ 1976793 h 2184766"/>
              <a:gd name="connsiteX48" fmla="*/ 1160330 w 1858306"/>
              <a:gd name="connsiteY48" fmla="*/ 1951304 h 2184766"/>
              <a:gd name="connsiteX49" fmla="*/ 823199 w 1858306"/>
              <a:gd name="connsiteY49" fmla="*/ 1951367 h 2184766"/>
              <a:gd name="connsiteX50" fmla="*/ 780194 w 1858306"/>
              <a:gd name="connsiteY50" fmla="*/ 1986712 h 2184766"/>
              <a:gd name="connsiteX51" fmla="*/ 823952 w 1858306"/>
              <a:gd name="connsiteY51" fmla="*/ 2019672 h 2184766"/>
              <a:gd name="connsiteX52" fmla="*/ 992581 w 1858306"/>
              <a:gd name="connsiteY52" fmla="*/ 2019798 h 2184766"/>
              <a:gd name="connsiteX53" fmla="*/ 845548 w 1858306"/>
              <a:gd name="connsiteY53" fmla="*/ 1264170 h 2184766"/>
              <a:gd name="connsiteX54" fmla="*/ 720992 w 1858306"/>
              <a:gd name="connsiteY54" fmla="*/ 1561185 h 2184766"/>
              <a:gd name="connsiteX55" fmla="*/ 690669 w 1858306"/>
              <a:gd name="connsiteY55" fmla="*/ 1658432 h 2184766"/>
              <a:gd name="connsiteX56" fmla="*/ 699835 w 1858306"/>
              <a:gd name="connsiteY56" fmla="*/ 1716944 h 2184766"/>
              <a:gd name="connsiteX57" fmla="*/ 682758 w 1858306"/>
              <a:gd name="connsiteY57" fmla="*/ 1729437 h 2184766"/>
              <a:gd name="connsiteX58" fmla="*/ 603655 w 1858306"/>
              <a:gd name="connsiteY58" fmla="*/ 1691329 h 2184766"/>
              <a:gd name="connsiteX59" fmla="*/ 486192 w 1858306"/>
              <a:gd name="connsiteY59" fmla="*/ 1680280 h 2184766"/>
              <a:gd name="connsiteX60" fmla="*/ 6799 w 1858306"/>
              <a:gd name="connsiteY60" fmla="*/ 1341390 h 2184766"/>
              <a:gd name="connsiteX61" fmla="*/ 352470 w 1858306"/>
              <a:gd name="connsiteY61" fmla="*/ 847306 h 2184766"/>
              <a:gd name="connsiteX62" fmla="*/ 841468 w 1858306"/>
              <a:gd name="connsiteY62" fmla="*/ 1226564 h 2184766"/>
              <a:gd name="connsiteX63" fmla="*/ 845548 w 1858306"/>
              <a:gd name="connsiteY63" fmla="*/ 1264170 h 2184766"/>
              <a:gd name="connsiteX64" fmla="*/ 652875 w 1858306"/>
              <a:gd name="connsiteY64" fmla="*/ 1195739 h 2184766"/>
              <a:gd name="connsiteX65" fmla="*/ 599386 w 1858306"/>
              <a:gd name="connsiteY65" fmla="*/ 1122788 h 2184766"/>
              <a:gd name="connsiteX66" fmla="*/ 499501 w 1858306"/>
              <a:gd name="connsiteY66" fmla="*/ 1135972 h 2184766"/>
              <a:gd name="connsiteX67" fmla="*/ 467044 w 1858306"/>
              <a:gd name="connsiteY67" fmla="*/ 1167174 h 2184766"/>
              <a:gd name="connsiteX68" fmla="*/ 406084 w 1858306"/>
              <a:gd name="connsiteY68" fmla="*/ 1167739 h 2184766"/>
              <a:gd name="connsiteX69" fmla="*/ 377079 w 1858306"/>
              <a:gd name="connsiteY69" fmla="*/ 1139739 h 2184766"/>
              <a:gd name="connsiteX70" fmla="*/ 246809 w 1858306"/>
              <a:gd name="connsiteY70" fmla="*/ 1143380 h 2184766"/>
              <a:gd name="connsiteX71" fmla="*/ 247500 w 1858306"/>
              <a:gd name="connsiteY71" fmla="*/ 1273147 h 2184766"/>
              <a:gd name="connsiteX72" fmla="*/ 425358 w 1858306"/>
              <a:gd name="connsiteY72" fmla="*/ 1450754 h 2184766"/>
              <a:gd name="connsiteX73" fmla="*/ 450219 w 1858306"/>
              <a:gd name="connsiteY73" fmla="*/ 1451193 h 2184766"/>
              <a:gd name="connsiteX74" fmla="*/ 627825 w 1858306"/>
              <a:gd name="connsiteY74" fmla="*/ 1270008 h 2184766"/>
              <a:gd name="connsiteX75" fmla="*/ 652875 w 1858306"/>
              <a:gd name="connsiteY75" fmla="*/ 1195739 h 2184766"/>
              <a:gd name="connsiteX76" fmla="*/ 1444916 w 1858306"/>
              <a:gd name="connsiteY76" fmla="*/ 327545 h 2184766"/>
              <a:gd name="connsiteX77" fmla="*/ 1684674 w 1858306"/>
              <a:gd name="connsiteY77" fmla="*/ 326667 h 2184766"/>
              <a:gd name="connsiteX78" fmla="*/ 1860146 w 1858306"/>
              <a:gd name="connsiteY78" fmla="*/ 484748 h 2184766"/>
              <a:gd name="connsiteX79" fmla="*/ 1858326 w 1858306"/>
              <a:gd name="connsiteY79" fmla="*/ 736122 h 2184766"/>
              <a:gd name="connsiteX80" fmla="*/ 1689634 w 1858306"/>
              <a:gd name="connsiteY80" fmla="*/ 885665 h 2184766"/>
              <a:gd name="connsiteX81" fmla="*/ 1392807 w 1858306"/>
              <a:gd name="connsiteY81" fmla="*/ 885540 h 2184766"/>
              <a:gd name="connsiteX82" fmla="*/ 1344467 w 1858306"/>
              <a:gd name="connsiteY82" fmla="*/ 900921 h 2184766"/>
              <a:gd name="connsiteX83" fmla="*/ 1244896 w 1858306"/>
              <a:gd name="connsiteY83" fmla="*/ 973935 h 2184766"/>
              <a:gd name="connsiteX84" fmla="*/ 1228322 w 1858306"/>
              <a:gd name="connsiteY84" fmla="*/ 980841 h 2184766"/>
              <a:gd name="connsiteX85" fmla="*/ 1223362 w 1858306"/>
              <a:gd name="connsiteY85" fmla="*/ 964016 h 2184766"/>
              <a:gd name="connsiteX86" fmla="*/ 1222985 w 1858306"/>
              <a:gd name="connsiteY86" fmla="*/ 923648 h 2184766"/>
              <a:gd name="connsiteX87" fmla="*/ 1186824 w 1858306"/>
              <a:gd name="connsiteY87" fmla="*/ 885791 h 2184766"/>
              <a:gd name="connsiteX88" fmla="*/ 1031567 w 1858306"/>
              <a:gd name="connsiteY88" fmla="*/ 761234 h 2184766"/>
              <a:gd name="connsiteX89" fmla="*/ 1026859 w 1858306"/>
              <a:gd name="connsiteY89" fmla="*/ 726077 h 2184766"/>
              <a:gd name="connsiteX90" fmla="*/ 1029244 w 1858306"/>
              <a:gd name="connsiteY90" fmla="*/ 462838 h 2184766"/>
              <a:gd name="connsiteX91" fmla="*/ 1181300 w 1858306"/>
              <a:gd name="connsiteY91" fmla="*/ 327734 h 2184766"/>
              <a:gd name="connsiteX92" fmla="*/ 1444916 w 1858306"/>
              <a:gd name="connsiteY92" fmla="*/ 327545 h 2184766"/>
              <a:gd name="connsiteX93" fmla="*/ 1450189 w 1858306"/>
              <a:gd name="connsiteY93" fmla="*/ 731790 h 2184766"/>
              <a:gd name="connsiteX94" fmla="*/ 1706585 w 1858306"/>
              <a:gd name="connsiteY94" fmla="*/ 731664 h 2184766"/>
              <a:gd name="connsiteX95" fmla="*/ 1746011 w 1858306"/>
              <a:gd name="connsiteY95" fmla="*/ 700274 h 2184766"/>
              <a:gd name="connsiteX96" fmla="*/ 1701374 w 1858306"/>
              <a:gd name="connsiteY96" fmla="*/ 663359 h 2184766"/>
              <a:gd name="connsiteX97" fmla="*/ 1200447 w 1858306"/>
              <a:gd name="connsiteY97" fmla="*/ 663359 h 2184766"/>
              <a:gd name="connsiteX98" fmla="*/ 1155246 w 1858306"/>
              <a:gd name="connsiteY98" fmla="*/ 698453 h 2184766"/>
              <a:gd name="connsiteX99" fmla="*/ 1200887 w 1858306"/>
              <a:gd name="connsiteY99" fmla="*/ 731727 h 2184766"/>
              <a:gd name="connsiteX100" fmla="*/ 1450189 w 1858306"/>
              <a:gd name="connsiteY100" fmla="*/ 731790 h 2184766"/>
              <a:gd name="connsiteX101" fmla="*/ 1450691 w 1858306"/>
              <a:gd name="connsiteY101" fmla="*/ 491780 h 2184766"/>
              <a:gd name="connsiteX102" fmla="*/ 1199066 w 1858306"/>
              <a:gd name="connsiteY102" fmla="*/ 491654 h 2184766"/>
              <a:gd name="connsiteX103" fmla="*/ 1159012 w 1858306"/>
              <a:gd name="connsiteY103" fmla="*/ 510865 h 2184766"/>
              <a:gd name="connsiteX104" fmla="*/ 1200134 w 1858306"/>
              <a:gd name="connsiteY104" fmla="*/ 560022 h 2184766"/>
              <a:gd name="connsiteX105" fmla="*/ 1703320 w 1858306"/>
              <a:gd name="connsiteY105" fmla="*/ 560085 h 2184766"/>
              <a:gd name="connsiteX106" fmla="*/ 1746011 w 1858306"/>
              <a:gd name="connsiteY106" fmla="*/ 523547 h 2184766"/>
              <a:gd name="connsiteX107" fmla="*/ 1702253 w 1858306"/>
              <a:gd name="connsiteY107" fmla="*/ 491842 h 2184766"/>
              <a:gd name="connsiteX108" fmla="*/ 1450691 w 1858306"/>
              <a:gd name="connsiteY108" fmla="*/ 491780 h 218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858306" h="2184766">
                <a:moveTo>
                  <a:pt x="1543230" y="1515543"/>
                </a:moveTo>
                <a:cubicBezTo>
                  <a:pt x="1543230" y="1689760"/>
                  <a:pt x="1543230" y="1863976"/>
                  <a:pt x="1543230" y="2038192"/>
                </a:cubicBezTo>
                <a:cubicBezTo>
                  <a:pt x="1543230" y="2077242"/>
                  <a:pt x="1535194" y="2113906"/>
                  <a:pt x="1507884" y="2143664"/>
                </a:cubicBezTo>
                <a:cubicBezTo>
                  <a:pt x="1480700" y="2173296"/>
                  <a:pt x="1446045" y="2187799"/>
                  <a:pt x="1406368" y="2187861"/>
                </a:cubicBezTo>
                <a:cubicBezTo>
                  <a:pt x="1130008" y="2188175"/>
                  <a:pt x="853584" y="2188489"/>
                  <a:pt x="577224" y="2187736"/>
                </a:cubicBezTo>
                <a:cubicBezTo>
                  <a:pt x="498497" y="2187485"/>
                  <a:pt x="443941" y="2130103"/>
                  <a:pt x="443752" y="2051313"/>
                </a:cubicBezTo>
                <a:cubicBezTo>
                  <a:pt x="443564" y="1961035"/>
                  <a:pt x="444003" y="1870756"/>
                  <a:pt x="443439" y="1780478"/>
                </a:cubicBezTo>
                <a:cubicBezTo>
                  <a:pt x="443313" y="1762460"/>
                  <a:pt x="447017" y="1750845"/>
                  <a:pt x="467923" y="1752854"/>
                </a:cubicBezTo>
                <a:cubicBezTo>
                  <a:pt x="469493" y="1752980"/>
                  <a:pt x="471187" y="1752917"/>
                  <a:pt x="472632" y="1752415"/>
                </a:cubicBezTo>
                <a:cubicBezTo>
                  <a:pt x="527376" y="1732513"/>
                  <a:pt x="575780" y="1749590"/>
                  <a:pt x="623619" y="1776209"/>
                </a:cubicBezTo>
                <a:cubicBezTo>
                  <a:pt x="654633" y="1793473"/>
                  <a:pt x="686902" y="1809106"/>
                  <a:pt x="722059" y="1817016"/>
                </a:cubicBezTo>
                <a:cubicBezTo>
                  <a:pt x="767763" y="1827312"/>
                  <a:pt x="791934" y="1803707"/>
                  <a:pt x="780131" y="1758944"/>
                </a:cubicBezTo>
                <a:cubicBezTo>
                  <a:pt x="771405" y="1725984"/>
                  <a:pt x="765378" y="1692585"/>
                  <a:pt x="759413" y="1659123"/>
                </a:cubicBezTo>
                <a:cubicBezTo>
                  <a:pt x="755395" y="1636710"/>
                  <a:pt x="759853" y="1619194"/>
                  <a:pt x="776490" y="1601176"/>
                </a:cubicBezTo>
                <a:cubicBezTo>
                  <a:pt x="906257" y="1460610"/>
                  <a:pt x="944868" y="1295372"/>
                  <a:pt x="887737" y="1114815"/>
                </a:cubicBezTo>
                <a:cubicBezTo>
                  <a:pt x="829414" y="930616"/>
                  <a:pt x="698202" y="820185"/>
                  <a:pt x="508102" y="781387"/>
                </a:cubicBezTo>
                <a:cubicBezTo>
                  <a:pt x="502703" y="780257"/>
                  <a:pt x="497304" y="778813"/>
                  <a:pt x="491842" y="777997"/>
                </a:cubicBezTo>
                <a:cubicBezTo>
                  <a:pt x="443815" y="771091"/>
                  <a:pt x="443815" y="771091"/>
                  <a:pt x="443815" y="721619"/>
                </a:cubicBezTo>
                <a:cubicBezTo>
                  <a:pt x="443815" y="526811"/>
                  <a:pt x="443752" y="332003"/>
                  <a:pt x="443878" y="137195"/>
                </a:cubicBezTo>
                <a:cubicBezTo>
                  <a:pt x="443941" y="57212"/>
                  <a:pt x="498999" y="1337"/>
                  <a:pt x="579359" y="333"/>
                </a:cubicBezTo>
                <a:cubicBezTo>
                  <a:pt x="637933" y="-421"/>
                  <a:pt x="696570" y="396"/>
                  <a:pt x="755145" y="19"/>
                </a:cubicBezTo>
                <a:cubicBezTo>
                  <a:pt x="768830" y="-44"/>
                  <a:pt x="779566" y="1839"/>
                  <a:pt x="785530" y="16593"/>
                </a:cubicBezTo>
                <a:cubicBezTo>
                  <a:pt x="790867" y="29714"/>
                  <a:pt x="802921" y="34234"/>
                  <a:pt x="816606" y="34234"/>
                </a:cubicBezTo>
                <a:cubicBezTo>
                  <a:pt x="933818" y="34234"/>
                  <a:pt x="1051030" y="34234"/>
                  <a:pt x="1168178" y="34234"/>
                </a:cubicBezTo>
                <a:cubicBezTo>
                  <a:pt x="1181927" y="34234"/>
                  <a:pt x="1193667" y="29212"/>
                  <a:pt x="1199255" y="16405"/>
                </a:cubicBezTo>
                <a:cubicBezTo>
                  <a:pt x="1205470" y="2091"/>
                  <a:pt x="1216143" y="-44"/>
                  <a:pt x="1229829" y="19"/>
                </a:cubicBezTo>
                <a:cubicBezTo>
                  <a:pt x="1286080" y="458"/>
                  <a:pt x="1342269" y="19"/>
                  <a:pt x="1398521" y="207"/>
                </a:cubicBezTo>
                <a:cubicBezTo>
                  <a:pt x="1485157" y="458"/>
                  <a:pt x="1540907" y="54952"/>
                  <a:pt x="1543167" y="142091"/>
                </a:cubicBezTo>
                <a:cubicBezTo>
                  <a:pt x="1543983" y="172163"/>
                  <a:pt x="1542476" y="202298"/>
                  <a:pt x="1543607" y="232370"/>
                </a:cubicBezTo>
                <a:cubicBezTo>
                  <a:pt x="1544360" y="253276"/>
                  <a:pt x="1535822" y="259617"/>
                  <a:pt x="1515544" y="259491"/>
                </a:cubicBezTo>
                <a:cubicBezTo>
                  <a:pt x="1407875" y="258801"/>
                  <a:pt x="1300143" y="258926"/>
                  <a:pt x="1192474" y="259240"/>
                </a:cubicBezTo>
                <a:cubicBezTo>
                  <a:pt x="1077712" y="259554"/>
                  <a:pt x="987495" y="332631"/>
                  <a:pt x="963137" y="444945"/>
                </a:cubicBezTo>
                <a:cubicBezTo>
                  <a:pt x="960813" y="455681"/>
                  <a:pt x="959872" y="466856"/>
                  <a:pt x="959872" y="477905"/>
                </a:cubicBezTo>
                <a:cubicBezTo>
                  <a:pt x="959558" y="561843"/>
                  <a:pt x="958868" y="645781"/>
                  <a:pt x="959809" y="729718"/>
                </a:cubicBezTo>
                <a:cubicBezTo>
                  <a:pt x="960939" y="830293"/>
                  <a:pt x="1028365" y="916930"/>
                  <a:pt x="1127308" y="943863"/>
                </a:cubicBezTo>
                <a:cubicBezTo>
                  <a:pt x="1149218" y="949827"/>
                  <a:pt x="1157254" y="959119"/>
                  <a:pt x="1155433" y="981343"/>
                </a:cubicBezTo>
                <a:cubicBezTo>
                  <a:pt x="1153676" y="1002563"/>
                  <a:pt x="1155433" y="1024097"/>
                  <a:pt x="1154931" y="1045442"/>
                </a:cubicBezTo>
                <a:cubicBezTo>
                  <a:pt x="1154555" y="1062393"/>
                  <a:pt x="1158322" y="1077146"/>
                  <a:pt x="1173954" y="1086061"/>
                </a:cubicBezTo>
                <a:cubicBezTo>
                  <a:pt x="1190277" y="1095415"/>
                  <a:pt x="1204403" y="1088510"/>
                  <a:pt x="1217838" y="1078779"/>
                </a:cubicBezTo>
                <a:cubicBezTo>
                  <a:pt x="1267748" y="1042429"/>
                  <a:pt x="1317973" y="1006392"/>
                  <a:pt x="1367318" y="969352"/>
                </a:cubicBezTo>
                <a:cubicBezTo>
                  <a:pt x="1381444" y="958742"/>
                  <a:pt x="1395758" y="954096"/>
                  <a:pt x="1413274" y="954536"/>
                </a:cubicBezTo>
                <a:cubicBezTo>
                  <a:pt x="1446485" y="955477"/>
                  <a:pt x="1479884" y="956294"/>
                  <a:pt x="1513032" y="954347"/>
                </a:cubicBezTo>
                <a:cubicBezTo>
                  <a:pt x="1537893" y="952903"/>
                  <a:pt x="1543858" y="962823"/>
                  <a:pt x="1543795" y="985863"/>
                </a:cubicBezTo>
                <a:cubicBezTo>
                  <a:pt x="1542916" y="1162340"/>
                  <a:pt x="1543230" y="1338942"/>
                  <a:pt x="1543230" y="1515543"/>
                </a:cubicBezTo>
                <a:close/>
                <a:moveTo>
                  <a:pt x="992581" y="2019798"/>
                </a:moveTo>
                <a:cubicBezTo>
                  <a:pt x="1048769" y="2019798"/>
                  <a:pt x="1104958" y="2019798"/>
                  <a:pt x="1161147" y="2019798"/>
                </a:cubicBezTo>
                <a:cubicBezTo>
                  <a:pt x="1172259" y="2019798"/>
                  <a:pt x="1183497" y="2020111"/>
                  <a:pt x="1192161" y="2011197"/>
                </a:cubicBezTo>
                <a:cubicBezTo>
                  <a:pt x="1201578" y="2001466"/>
                  <a:pt x="1206788" y="1990542"/>
                  <a:pt x="1201828" y="1976793"/>
                </a:cubicBezTo>
                <a:cubicBezTo>
                  <a:pt x="1194797" y="1957268"/>
                  <a:pt x="1178726" y="1951367"/>
                  <a:pt x="1160330" y="1951304"/>
                </a:cubicBezTo>
                <a:cubicBezTo>
                  <a:pt x="1047953" y="1950990"/>
                  <a:pt x="935576" y="1950864"/>
                  <a:pt x="823199" y="1951367"/>
                </a:cubicBezTo>
                <a:cubicBezTo>
                  <a:pt x="797772" y="1951492"/>
                  <a:pt x="779880" y="1967627"/>
                  <a:pt x="780194" y="1986712"/>
                </a:cubicBezTo>
                <a:cubicBezTo>
                  <a:pt x="780570" y="2006990"/>
                  <a:pt x="796705" y="2019546"/>
                  <a:pt x="823952" y="2019672"/>
                </a:cubicBezTo>
                <a:cubicBezTo>
                  <a:pt x="880203" y="2019986"/>
                  <a:pt x="936392" y="2019798"/>
                  <a:pt x="992581" y="2019798"/>
                </a:cubicBezTo>
                <a:close/>
                <a:moveTo>
                  <a:pt x="845548" y="1264170"/>
                </a:moveTo>
                <a:cubicBezTo>
                  <a:pt x="841719" y="1379121"/>
                  <a:pt x="802418" y="1479570"/>
                  <a:pt x="720992" y="1561185"/>
                </a:cubicBezTo>
                <a:cubicBezTo>
                  <a:pt x="692426" y="1589750"/>
                  <a:pt x="685897" y="1621454"/>
                  <a:pt x="690669" y="1658432"/>
                </a:cubicBezTo>
                <a:cubicBezTo>
                  <a:pt x="693180" y="1678020"/>
                  <a:pt x="695691" y="1697670"/>
                  <a:pt x="699835" y="1716944"/>
                </a:cubicBezTo>
                <a:cubicBezTo>
                  <a:pt x="703916" y="1736029"/>
                  <a:pt x="696319" y="1735966"/>
                  <a:pt x="682758" y="1729437"/>
                </a:cubicBezTo>
                <a:cubicBezTo>
                  <a:pt x="656390" y="1716755"/>
                  <a:pt x="629521" y="1704953"/>
                  <a:pt x="603655" y="1691329"/>
                </a:cubicBezTo>
                <a:cubicBezTo>
                  <a:pt x="565735" y="1671365"/>
                  <a:pt x="527188" y="1673123"/>
                  <a:pt x="486192" y="1680280"/>
                </a:cubicBezTo>
                <a:cubicBezTo>
                  <a:pt x="264074" y="1718764"/>
                  <a:pt x="45848" y="1563759"/>
                  <a:pt x="6799" y="1341390"/>
                </a:cubicBezTo>
                <a:cubicBezTo>
                  <a:pt x="-34510" y="1105774"/>
                  <a:pt x="116352" y="890123"/>
                  <a:pt x="352470" y="847306"/>
                </a:cubicBezTo>
                <a:cubicBezTo>
                  <a:pt x="590533" y="804113"/>
                  <a:pt x="824517" y="985612"/>
                  <a:pt x="841468" y="1226564"/>
                </a:cubicBezTo>
                <a:cubicBezTo>
                  <a:pt x="842346" y="1239120"/>
                  <a:pt x="844167" y="1251614"/>
                  <a:pt x="845548" y="1264170"/>
                </a:cubicBezTo>
                <a:close/>
                <a:moveTo>
                  <a:pt x="652875" y="1195739"/>
                </a:moveTo>
                <a:cubicBezTo>
                  <a:pt x="651054" y="1167613"/>
                  <a:pt x="634229" y="1138608"/>
                  <a:pt x="599386" y="1122788"/>
                </a:cubicBezTo>
                <a:cubicBezTo>
                  <a:pt x="563977" y="1106653"/>
                  <a:pt x="529825" y="1111236"/>
                  <a:pt x="499501" y="1135972"/>
                </a:cubicBezTo>
                <a:cubicBezTo>
                  <a:pt x="487887" y="1145452"/>
                  <a:pt x="478031" y="1157003"/>
                  <a:pt x="467044" y="1167174"/>
                </a:cubicBezTo>
                <a:cubicBezTo>
                  <a:pt x="446515" y="1186133"/>
                  <a:pt x="427053" y="1186385"/>
                  <a:pt x="406084" y="1167739"/>
                </a:cubicBezTo>
                <a:cubicBezTo>
                  <a:pt x="396039" y="1158824"/>
                  <a:pt x="387125" y="1148653"/>
                  <a:pt x="377079" y="1139739"/>
                </a:cubicBezTo>
                <a:cubicBezTo>
                  <a:pt x="337591" y="1104770"/>
                  <a:pt x="283097" y="1106402"/>
                  <a:pt x="246809" y="1143380"/>
                </a:cubicBezTo>
                <a:cubicBezTo>
                  <a:pt x="210773" y="1180169"/>
                  <a:pt x="210146" y="1235165"/>
                  <a:pt x="247500" y="1273147"/>
                </a:cubicBezTo>
                <a:cubicBezTo>
                  <a:pt x="306200" y="1332915"/>
                  <a:pt x="366281" y="1391363"/>
                  <a:pt x="425358" y="1450754"/>
                </a:cubicBezTo>
                <a:cubicBezTo>
                  <a:pt x="434524" y="1459983"/>
                  <a:pt x="440425" y="1461238"/>
                  <a:pt x="450219" y="1451193"/>
                </a:cubicBezTo>
                <a:cubicBezTo>
                  <a:pt x="509107" y="1390484"/>
                  <a:pt x="568811" y="1330592"/>
                  <a:pt x="627825" y="1270008"/>
                </a:cubicBezTo>
                <a:cubicBezTo>
                  <a:pt x="645090" y="1252304"/>
                  <a:pt x="653565" y="1230457"/>
                  <a:pt x="652875" y="1195739"/>
                </a:cubicBezTo>
                <a:close/>
                <a:moveTo>
                  <a:pt x="1444916" y="327545"/>
                </a:moveTo>
                <a:cubicBezTo>
                  <a:pt x="1524835" y="327545"/>
                  <a:pt x="1604943" y="330559"/>
                  <a:pt x="1684674" y="326667"/>
                </a:cubicBezTo>
                <a:cubicBezTo>
                  <a:pt x="1769617" y="322523"/>
                  <a:pt x="1856192" y="382918"/>
                  <a:pt x="1860146" y="484748"/>
                </a:cubicBezTo>
                <a:cubicBezTo>
                  <a:pt x="1863411" y="568498"/>
                  <a:pt x="1866738" y="652624"/>
                  <a:pt x="1858326" y="736122"/>
                </a:cubicBezTo>
                <a:cubicBezTo>
                  <a:pt x="1849097" y="827656"/>
                  <a:pt x="1782236" y="885100"/>
                  <a:pt x="1689634" y="885665"/>
                </a:cubicBezTo>
                <a:cubicBezTo>
                  <a:pt x="1590692" y="886230"/>
                  <a:pt x="1491750" y="886105"/>
                  <a:pt x="1392807" y="885540"/>
                </a:cubicBezTo>
                <a:cubicBezTo>
                  <a:pt x="1374538" y="885414"/>
                  <a:pt x="1359157" y="889683"/>
                  <a:pt x="1344467" y="900921"/>
                </a:cubicBezTo>
                <a:cubicBezTo>
                  <a:pt x="1311757" y="925908"/>
                  <a:pt x="1278233" y="949764"/>
                  <a:pt x="1244896" y="973935"/>
                </a:cubicBezTo>
                <a:cubicBezTo>
                  <a:pt x="1239937" y="977513"/>
                  <a:pt x="1235228" y="983791"/>
                  <a:pt x="1228322" y="980841"/>
                </a:cubicBezTo>
                <a:cubicBezTo>
                  <a:pt x="1220977" y="977702"/>
                  <a:pt x="1223551" y="969917"/>
                  <a:pt x="1223362" y="964016"/>
                </a:cubicBezTo>
                <a:cubicBezTo>
                  <a:pt x="1222923" y="950580"/>
                  <a:pt x="1223551" y="937083"/>
                  <a:pt x="1222985" y="923648"/>
                </a:cubicBezTo>
                <a:cubicBezTo>
                  <a:pt x="1221981" y="899100"/>
                  <a:pt x="1211685" y="888553"/>
                  <a:pt x="1186824" y="885791"/>
                </a:cubicBezTo>
                <a:cubicBezTo>
                  <a:pt x="1104268" y="876562"/>
                  <a:pt x="1050025" y="833243"/>
                  <a:pt x="1031567" y="761234"/>
                </a:cubicBezTo>
                <a:cubicBezTo>
                  <a:pt x="1028680" y="749871"/>
                  <a:pt x="1027173" y="737880"/>
                  <a:pt x="1026859" y="726077"/>
                </a:cubicBezTo>
                <a:cubicBezTo>
                  <a:pt x="1024536" y="638310"/>
                  <a:pt x="1020518" y="550354"/>
                  <a:pt x="1029244" y="462838"/>
                </a:cubicBezTo>
                <a:cubicBezTo>
                  <a:pt x="1036527" y="389761"/>
                  <a:pt x="1107470" y="328299"/>
                  <a:pt x="1181300" y="327734"/>
                </a:cubicBezTo>
                <a:cubicBezTo>
                  <a:pt x="1269193" y="327043"/>
                  <a:pt x="1357086" y="327608"/>
                  <a:pt x="1444916" y="327545"/>
                </a:cubicBezTo>
                <a:close/>
                <a:moveTo>
                  <a:pt x="1450189" y="731790"/>
                </a:moveTo>
                <a:cubicBezTo>
                  <a:pt x="1535633" y="731790"/>
                  <a:pt x="1621141" y="731916"/>
                  <a:pt x="1706585" y="731664"/>
                </a:cubicBezTo>
                <a:cubicBezTo>
                  <a:pt x="1731571" y="731602"/>
                  <a:pt x="1745069" y="720301"/>
                  <a:pt x="1746011" y="700274"/>
                </a:cubicBezTo>
                <a:cubicBezTo>
                  <a:pt x="1747079" y="676857"/>
                  <a:pt x="1731571" y="663422"/>
                  <a:pt x="1701374" y="663359"/>
                </a:cubicBezTo>
                <a:cubicBezTo>
                  <a:pt x="1534378" y="663171"/>
                  <a:pt x="1367444" y="663171"/>
                  <a:pt x="1200447" y="663359"/>
                </a:cubicBezTo>
                <a:cubicBezTo>
                  <a:pt x="1172761" y="663422"/>
                  <a:pt x="1155496" y="677422"/>
                  <a:pt x="1155246" y="698453"/>
                </a:cubicBezTo>
                <a:cubicBezTo>
                  <a:pt x="1154994" y="719108"/>
                  <a:pt x="1171883" y="731664"/>
                  <a:pt x="1200887" y="731727"/>
                </a:cubicBezTo>
                <a:cubicBezTo>
                  <a:pt x="1284009" y="731916"/>
                  <a:pt x="1367130" y="731853"/>
                  <a:pt x="1450189" y="731790"/>
                </a:cubicBezTo>
                <a:close/>
                <a:moveTo>
                  <a:pt x="1450691" y="491780"/>
                </a:moveTo>
                <a:cubicBezTo>
                  <a:pt x="1366816" y="491780"/>
                  <a:pt x="1282941" y="491905"/>
                  <a:pt x="1199066" y="491654"/>
                </a:cubicBezTo>
                <a:cubicBezTo>
                  <a:pt x="1182241" y="491591"/>
                  <a:pt x="1167488" y="494291"/>
                  <a:pt x="1159012" y="510865"/>
                </a:cubicBezTo>
                <a:cubicBezTo>
                  <a:pt x="1146456" y="535412"/>
                  <a:pt x="1165918" y="559897"/>
                  <a:pt x="1200134" y="560022"/>
                </a:cubicBezTo>
                <a:cubicBezTo>
                  <a:pt x="1367884" y="560462"/>
                  <a:pt x="1535570" y="560399"/>
                  <a:pt x="1703320" y="560085"/>
                </a:cubicBezTo>
                <a:cubicBezTo>
                  <a:pt x="1731760" y="560022"/>
                  <a:pt x="1746827" y="546148"/>
                  <a:pt x="1746011" y="523547"/>
                </a:cubicBezTo>
                <a:cubicBezTo>
                  <a:pt x="1745258" y="502013"/>
                  <a:pt x="1731509" y="491905"/>
                  <a:pt x="1702253" y="491842"/>
                </a:cubicBezTo>
                <a:cubicBezTo>
                  <a:pt x="1618379" y="491717"/>
                  <a:pt x="1534566" y="491780"/>
                  <a:pt x="1450691" y="491780"/>
                </a:cubicBezTo>
                <a:close/>
              </a:path>
            </a:pathLst>
          </a:custGeom>
          <a:solidFill>
            <a:schemeClr val="bg1"/>
          </a:solidFill>
          <a:ln w="6278"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4889217C-FEAE-42F7-9A19-EC4945A0AD26}"/>
              </a:ext>
            </a:extLst>
          </p:cNvPr>
          <p:cNvSpPr/>
          <p:nvPr/>
        </p:nvSpPr>
        <p:spPr>
          <a:xfrm>
            <a:off x="4731768" y="2384644"/>
            <a:ext cx="433638" cy="453170"/>
          </a:xfrm>
          <a:custGeom>
            <a:avLst/>
            <a:gdLst>
              <a:gd name="connsiteX0" fmla="*/ 1196426 w 2090595"/>
              <a:gd name="connsiteY0" fmla="*/ 1929200 h 2184766"/>
              <a:gd name="connsiteX1" fmla="*/ 1196238 w 2090595"/>
              <a:gd name="connsiteY1" fmla="*/ 1726795 h 2184766"/>
              <a:gd name="connsiteX2" fmla="*/ 1334418 w 2090595"/>
              <a:gd name="connsiteY2" fmla="*/ 1484273 h 2184766"/>
              <a:gd name="connsiteX3" fmla="*/ 1614482 w 2090595"/>
              <a:gd name="connsiteY3" fmla="*/ 1319914 h 2184766"/>
              <a:gd name="connsiteX4" fmla="*/ 1661254 w 2090595"/>
              <a:gd name="connsiteY4" fmla="*/ 1292730 h 2184766"/>
              <a:gd name="connsiteX5" fmla="*/ 1767228 w 2090595"/>
              <a:gd name="connsiteY5" fmla="*/ 1322927 h 2184766"/>
              <a:gd name="connsiteX6" fmla="*/ 1739290 w 2090595"/>
              <a:gd name="connsiteY6" fmla="*/ 1427457 h 2184766"/>
              <a:gd name="connsiteX7" fmla="*/ 1541971 w 2090595"/>
              <a:gd name="connsiteY7" fmla="*/ 1542157 h 2184766"/>
              <a:gd name="connsiteX8" fmla="*/ 1519872 w 2090595"/>
              <a:gd name="connsiteY8" fmla="*/ 1555592 h 2184766"/>
              <a:gd name="connsiteX9" fmla="*/ 1510329 w 2090595"/>
              <a:gd name="connsiteY9" fmla="*/ 1601296 h 2184766"/>
              <a:gd name="connsiteX10" fmla="*/ 1554778 w 2090595"/>
              <a:gd name="connsiteY10" fmla="*/ 1614104 h 2184766"/>
              <a:gd name="connsiteX11" fmla="*/ 1706016 w 2090595"/>
              <a:gd name="connsiteY11" fmla="*/ 1527780 h 2184766"/>
              <a:gd name="connsiteX12" fmla="*/ 1775075 w 2090595"/>
              <a:gd name="connsiteY12" fmla="*/ 1487350 h 2184766"/>
              <a:gd name="connsiteX13" fmla="*/ 1841497 w 2090595"/>
              <a:gd name="connsiteY13" fmla="*/ 1327385 h 2184766"/>
              <a:gd name="connsiteX14" fmla="*/ 1841999 w 2090595"/>
              <a:gd name="connsiteY14" fmla="*/ 1288272 h 2184766"/>
              <a:gd name="connsiteX15" fmla="*/ 1936045 w 2090595"/>
              <a:gd name="connsiteY15" fmla="*/ 938647 h 2184766"/>
              <a:gd name="connsiteX16" fmla="*/ 1959085 w 2090595"/>
              <a:gd name="connsiteY16" fmla="*/ 887795 h 2184766"/>
              <a:gd name="connsiteX17" fmla="*/ 2053319 w 2090595"/>
              <a:gd name="connsiteY17" fmla="*/ 868144 h 2184766"/>
              <a:gd name="connsiteX18" fmla="*/ 2091113 w 2090595"/>
              <a:gd name="connsiteY18" fmla="*/ 964826 h 2184766"/>
              <a:gd name="connsiteX19" fmla="*/ 2011507 w 2090595"/>
              <a:gd name="connsiteY19" fmla="*/ 1262344 h 2184766"/>
              <a:gd name="connsiteX20" fmla="*/ 1933471 w 2090595"/>
              <a:gd name="connsiteY20" fmla="*/ 1555404 h 2184766"/>
              <a:gd name="connsiteX21" fmla="*/ 1885129 w 2090595"/>
              <a:gd name="connsiteY21" fmla="*/ 1634193 h 2184766"/>
              <a:gd name="connsiteX22" fmla="*/ 1653971 w 2090595"/>
              <a:gd name="connsiteY22" fmla="*/ 1838168 h 2184766"/>
              <a:gd name="connsiteX23" fmla="*/ 1576186 w 2090595"/>
              <a:gd name="connsiteY23" fmla="*/ 2009559 h 2184766"/>
              <a:gd name="connsiteX24" fmla="*/ 1576500 w 2090595"/>
              <a:gd name="connsiteY24" fmla="*/ 2164878 h 2184766"/>
              <a:gd name="connsiteX25" fmla="*/ 1553271 w 2090595"/>
              <a:gd name="connsiteY25" fmla="*/ 2188107 h 2184766"/>
              <a:gd name="connsiteX26" fmla="*/ 1219027 w 2090595"/>
              <a:gd name="connsiteY26" fmla="*/ 2188107 h 2184766"/>
              <a:gd name="connsiteX27" fmla="*/ 1196112 w 2090595"/>
              <a:gd name="connsiteY27" fmla="*/ 2164564 h 2184766"/>
              <a:gd name="connsiteX28" fmla="*/ 1196426 w 2090595"/>
              <a:gd name="connsiteY28" fmla="*/ 1929200 h 2184766"/>
              <a:gd name="connsiteX29" fmla="*/ 898218 w 2090595"/>
              <a:gd name="connsiteY29" fmla="*/ 1716562 h 2184766"/>
              <a:gd name="connsiteX30" fmla="*/ 780944 w 2090595"/>
              <a:gd name="connsiteY30" fmla="*/ 1498336 h 2184766"/>
              <a:gd name="connsiteX31" fmla="*/ 434520 w 2090595"/>
              <a:gd name="connsiteY31" fmla="*/ 1293734 h 2184766"/>
              <a:gd name="connsiteX32" fmla="*/ 320197 w 2090595"/>
              <a:gd name="connsiteY32" fmla="*/ 1345151 h 2184766"/>
              <a:gd name="connsiteX33" fmla="*/ 361632 w 2090595"/>
              <a:gd name="connsiteY33" fmla="*/ 1431538 h 2184766"/>
              <a:gd name="connsiteX34" fmla="*/ 565355 w 2090595"/>
              <a:gd name="connsiteY34" fmla="*/ 1549377 h 2184766"/>
              <a:gd name="connsiteX35" fmla="*/ 585633 w 2090595"/>
              <a:gd name="connsiteY35" fmla="*/ 1599853 h 2184766"/>
              <a:gd name="connsiteX36" fmla="*/ 531077 w 2090595"/>
              <a:gd name="connsiteY36" fmla="*/ 1609521 h 2184766"/>
              <a:gd name="connsiteX37" fmla="*/ 319318 w 2090595"/>
              <a:gd name="connsiteY37" fmla="*/ 1486910 h 2184766"/>
              <a:gd name="connsiteX38" fmla="*/ 253272 w 2090595"/>
              <a:gd name="connsiteY38" fmla="*/ 1326882 h 2184766"/>
              <a:gd name="connsiteX39" fmla="*/ 252519 w 2090595"/>
              <a:gd name="connsiteY39" fmla="*/ 1287770 h 2184766"/>
              <a:gd name="connsiteX40" fmla="*/ 186662 w 2090595"/>
              <a:gd name="connsiteY40" fmla="*/ 1042549 h 2184766"/>
              <a:gd name="connsiteX41" fmla="*/ 152447 w 2090595"/>
              <a:gd name="connsiteY41" fmla="*/ 917866 h 2184766"/>
              <a:gd name="connsiteX42" fmla="*/ 74724 w 2090595"/>
              <a:gd name="connsiteY42" fmla="*/ 859983 h 2184766"/>
              <a:gd name="connsiteX43" fmla="*/ 4473 w 2090595"/>
              <a:gd name="connsiteY43" fmla="*/ 909956 h 2184766"/>
              <a:gd name="connsiteX44" fmla="*/ 5414 w 2090595"/>
              <a:gd name="connsiteY44" fmla="*/ 972423 h 2184766"/>
              <a:gd name="connsiteX45" fmla="*/ 158285 w 2090595"/>
              <a:gd name="connsiteY45" fmla="*/ 1544857 h 2184766"/>
              <a:gd name="connsiteX46" fmla="*/ 222384 w 2090595"/>
              <a:gd name="connsiteY46" fmla="*/ 1645745 h 2184766"/>
              <a:gd name="connsiteX47" fmla="*/ 454673 w 2090595"/>
              <a:gd name="connsiteY47" fmla="*/ 1851980 h 2184766"/>
              <a:gd name="connsiteX48" fmla="*/ 515319 w 2090595"/>
              <a:gd name="connsiteY48" fmla="*/ 1970572 h 2184766"/>
              <a:gd name="connsiteX49" fmla="*/ 518144 w 2090595"/>
              <a:gd name="connsiteY49" fmla="*/ 2161049 h 2184766"/>
              <a:gd name="connsiteX50" fmla="*/ 544637 w 2090595"/>
              <a:gd name="connsiteY50" fmla="*/ 2188421 h 2184766"/>
              <a:gd name="connsiteX51" fmla="*/ 871850 w 2090595"/>
              <a:gd name="connsiteY51" fmla="*/ 2188421 h 2184766"/>
              <a:gd name="connsiteX52" fmla="*/ 898909 w 2090595"/>
              <a:gd name="connsiteY52" fmla="*/ 2161614 h 2184766"/>
              <a:gd name="connsiteX53" fmla="*/ 898469 w 2090595"/>
              <a:gd name="connsiteY53" fmla="*/ 1928572 h 2184766"/>
              <a:gd name="connsiteX54" fmla="*/ 898218 w 2090595"/>
              <a:gd name="connsiteY54" fmla="*/ 1716562 h 2184766"/>
              <a:gd name="connsiteX55" fmla="*/ 729526 w 2090595"/>
              <a:gd name="connsiteY55" fmla="*/ 602645 h 2184766"/>
              <a:gd name="connsiteX56" fmla="*/ 583624 w 2090595"/>
              <a:gd name="connsiteY56" fmla="*/ 602645 h 2184766"/>
              <a:gd name="connsiteX57" fmla="*/ 545705 w 2090595"/>
              <a:gd name="connsiteY57" fmla="*/ 628762 h 2184766"/>
              <a:gd name="connsiteX58" fmla="*/ 558324 w 2090595"/>
              <a:gd name="connsiteY58" fmla="*/ 673148 h 2184766"/>
              <a:gd name="connsiteX59" fmla="*/ 575274 w 2090595"/>
              <a:gd name="connsiteY59" fmla="*/ 685829 h 2184766"/>
              <a:gd name="connsiteX60" fmla="*/ 790361 w 2090595"/>
              <a:gd name="connsiteY60" fmla="*/ 842153 h 2184766"/>
              <a:gd name="connsiteX61" fmla="*/ 810137 w 2090595"/>
              <a:gd name="connsiteY61" fmla="*/ 904494 h 2184766"/>
              <a:gd name="connsiteX62" fmla="*/ 765437 w 2090595"/>
              <a:gd name="connsiteY62" fmla="*/ 1040791 h 2184766"/>
              <a:gd name="connsiteX63" fmla="*/ 724316 w 2090595"/>
              <a:gd name="connsiteY63" fmla="*/ 1168361 h 2184766"/>
              <a:gd name="connsiteX64" fmla="*/ 737374 w 2090595"/>
              <a:gd name="connsiteY64" fmla="*/ 1219025 h 2184766"/>
              <a:gd name="connsiteX65" fmla="*/ 789607 w 2090595"/>
              <a:gd name="connsiteY65" fmla="*/ 1215949 h 2184766"/>
              <a:gd name="connsiteX66" fmla="*/ 801096 w 2090595"/>
              <a:gd name="connsiteY66" fmla="*/ 1207725 h 2184766"/>
              <a:gd name="connsiteX67" fmla="*/ 1012353 w 2090595"/>
              <a:gd name="connsiteY67" fmla="*/ 1054163 h 2184766"/>
              <a:gd name="connsiteX68" fmla="*/ 1081726 w 2090595"/>
              <a:gd name="connsiteY68" fmla="*/ 1053598 h 2184766"/>
              <a:gd name="connsiteX69" fmla="*/ 1192094 w 2090595"/>
              <a:gd name="connsiteY69" fmla="*/ 1133957 h 2184766"/>
              <a:gd name="connsiteX70" fmla="*/ 1308427 w 2090595"/>
              <a:gd name="connsiteY70" fmla="*/ 1218021 h 2184766"/>
              <a:gd name="connsiteX71" fmla="*/ 1358526 w 2090595"/>
              <a:gd name="connsiteY71" fmla="*/ 1218146 h 2184766"/>
              <a:gd name="connsiteX72" fmla="*/ 1371396 w 2090595"/>
              <a:gd name="connsiteY72" fmla="*/ 1171375 h 2184766"/>
              <a:gd name="connsiteX73" fmla="*/ 1366436 w 2090595"/>
              <a:gd name="connsiteY73" fmla="*/ 1155680 h 2184766"/>
              <a:gd name="connsiteX74" fmla="*/ 1285512 w 2090595"/>
              <a:gd name="connsiteY74" fmla="*/ 907508 h 2184766"/>
              <a:gd name="connsiteX75" fmla="*/ 1307422 w 2090595"/>
              <a:gd name="connsiteY75" fmla="*/ 839830 h 2184766"/>
              <a:gd name="connsiteX76" fmla="*/ 1524643 w 2090595"/>
              <a:gd name="connsiteY76" fmla="*/ 682376 h 2184766"/>
              <a:gd name="connsiteX77" fmla="*/ 1549253 w 2090595"/>
              <a:gd name="connsiteY77" fmla="*/ 629578 h 2184766"/>
              <a:gd name="connsiteX78" fmla="*/ 1497836 w 2090595"/>
              <a:gd name="connsiteY78" fmla="*/ 602331 h 2184766"/>
              <a:gd name="connsiteX79" fmla="*/ 1229511 w 2090595"/>
              <a:gd name="connsiteY79" fmla="*/ 602457 h 2184766"/>
              <a:gd name="connsiteX80" fmla="*/ 1173260 w 2090595"/>
              <a:gd name="connsiteY80" fmla="*/ 561335 h 2184766"/>
              <a:gd name="connsiteX81" fmla="*/ 1097923 w 2090595"/>
              <a:gd name="connsiteY81" fmla="*/ 328670 h 2184766"/>
              <a:gd name="connsiteX82" fmla="*/ 1084865 w 2090595"/>
              <a:gd name="connsiteY82" fmla="*/ 290876 h 2184766"/>
              <a:gd name="connsiteX83" fmla="*/ 1046569 w 2090595"/>
              <a:gd name="connsiteY83" fmla="*/ 264697 h 2184766"/>
              <a:gd name="connsiteX84" fmla="*/ 1010156 w 2090595"/>
              <a:gd name="connsiteY84" fmla="*/ 290186 h 2184766"/>
              <a:gd name="connsiteX85" fmla="*/ 1000676 w 2090595"/>
              <a:gd name="connsiteY85" fmla="*/ 316742 h 2184766"/>
              <a:gd name="connsiteX86" fmla="*/ 920882 w 2090595"/>
              <a:gd name="connsiteY86" fmla="*/ 562779 h 2184766"/>
              <a:gd name="connsiteX87" fmla="*/ 865949 w 2090595"/>
              <a:gd name="connsiteY87" fmla="*/ 602457 h 2184766"/>
              <a:gd name="connsiteX88" fmla="*/ 729464 w 2090595"/>
              <a:gd name="connsiteY88" fmla="*/ 602519 h 2184766"/>
              <a:gd name="connsiteX89" fmla="*/ 729526 w 2090595"/>
              <a:gd name="connsiteY89" fmla="*/ 602645 h 2184766"/>
              <a:gd name="connsiteX90" fmla="*/ 2012951 w 2090595"/>
              <a:gd name="connsiteY90" fmla="*/ 753946 h 2184766"/>
              <a:gd name="connsiteX91" fmla="*/ 1944018 w 2090595"/>
              <a:gd name="connsiteY91" fmla="*/ 708932 h 2184766"/>
              <a:gd name="connsiteX92" fmla="*/ 1866107 w 2090595"/>
              <a:gd name="connsiteY92" fmla="*/ 769955 h 2184766"/>
              <a:gd name="connsiteX93" fmla="*/ 1743622 w 2090595"/>
              <a:gd name="connsiteY93" fmla="*/ 1199124 h 2184766"/>
              <a:gd name="connsiteX94" fmla="*/ 1771810 w 2090595"/>
              <a:gd name="connsiteY94" fmla="*/ 1232397 h 2184766"/>
              <a:gd name="connsiteX95" fmla="*/ 1790080 w 2090595"/>
              <a:gd name="connsiteY95" fmla="*/ 1213375 h 2184766"/>
              <a:gd name="connsiteX96" fmla="*/ 1848842 w 2090595"/>
              <a:gd name="connsiteY96" fmla="*/ 995652 h 2184766"/>
              <a:gd name="connsiteX97" fmla="*/ 1872259 w 2090595"/>
              <a:gd name="connsiteY97" fmla="*/ 909517 h 2184766"/>
              <a:gd name="connsiteX98" fmla="*/ 1993615 w 2090595"/>
              <a:gd name="connsiteY98" fmla="*/ 792117 h 2184766"/>
              <a:gd name="connsiteX99" fmla="*/ 2018036 w 2090595"/>
              <a:gd name="connsiteY99" fmla="*/ 769390 h 2184766"/>
              <a:gd name="connsiteX100" fmla="*/ 2012951 w 2090595"/>
              <a:gd name="connsiteY100" fmla="*/ 753946 h 2184766"/>
              <a:gd name="connsiteX101" fmla="*/ 82132 w 2090595"/>
              <a:gd name="connsiteY101" fmla="*/ 752942 h 2184766"/>
              <a:gd name="connsiteX102" fmla="*/ 99962 w 2090595"/>
              <a:gd name="connsiteY102" fmla="*/ 792117 h 2184766"/>
              <a:gd name="connsiteX103" fmla="*/ 222761 w 2090595"/>
              <a:gd name="connsiteY103" fmla="*/ 910772 h 2184766"/>
              <a:gd name="connsiteX104" fmla="*/ 304815 w 2090595"/>
              <a:gd name="connsiteY104" fmla="*/ 1214693 h 2184766"/>
              <a:gd name="connsiteX105" fmla="*/ 321703 w 2090595"/>
              <a:gd name="connsiteY105" fmla="*/ 1232900 h 2184766"/>
              <a:gd name="connsiteX106" fmla="*/ 351210 w 2090595"/>
              <a:gd name="connsiteY106" fmla="*/ 1200379 h 2184766"/>
              <a:gd name="connsiteX107" fmla="*/ 228160 w 2090595"/>
              <a:gd name="connsiteY107" fmla="*/ 768825 h 2184766"/>
              <a:gd name="connsiteX108" fmla="*/ 147110 w 2090595"/>
              <a:gd name="connsiteY108" fmla="*/ 708870 h 2184766"/>
              <a:gd name="connsiteX109" fmla="*/ 82132 w 2090595"/>
              <a:gd name="connsiteY109" fmla="*/ 752942 h 2184766"/>
              <a:gd name="connsiteX110" fmla="*/ 530009 w 2090595"/>
              <a:gd name="connsiteY110" fmla="*/ 449397 h 2184766"/>
              <a:gd name="connsiteX111" fmla="*/ 518960 w 2090595"/>
              <a:gd name="connsiteY111" fmla="*/ 404886 h 2184766"/>
              <a:gd name="connsiteX112" fmla="*/ 441865 w 2090595"/>
              <a:gd name="connsiteY112" fmla="*/ 360374 h 2184766"/>
              <a:gd name="connsiteX113" fmla="*/ 395722 w 2090595"/>
              <a:gd name="connsiteY113" fmla="*/ 373370 h 2184766"/>
              <a:gd name="connsiteX114" fmla="*/ 394906 w 2090595"/>
              <a:gd name="connsiteY114" fmla="*/ 418886 h 2184766"/>
              <a:gd name="connsiteX115" fmla="*/ 484494 w 2090595"/>
              <a:gd name="connsiteY115" fmla="*/ 473442 h 2184766"/>
              <a:gd name="connsiteX116" fmla="*/ 530009 w 2090595"/>
              <a:gd name="connsiteY116" fmla="*/ 449397 h 2184766"/>
              <a:gd name="connsiteX117" fmla="*/ 1418230 w 2090595"/>
              <a:gd name="connsiteY117" fmla="*/ 97449 h 2184766"/>
              <a:gd name="connsiteX118" fmla="*/ 1372840 w 2090595"/>
              <a:gd name="connsiteY118" fmla="*/ 111951 h 2184766"/>
              <a:gd name="connsiteX119" fmla="*/ 1332032 w 2090595"/>
              <a:gd name="connsiteY119" fmla="*/ 182956 h 2184766"/>
              <a:gd name="connsiteX120" fmla="*/ 1348857 w 2090595"/>
              <a:gd name="connsiteY120" fmla="*/ 235378 h 2184766"/>
              <a:gd name="connsiteX121" fmla="*/ 1402095 w 2090595"/>
              <a:gd name="connsiteY121" fmla="*/ 220374 h 2184766"/>
              <a:gd name="connsiteX122" fmla="*/ 1439638 w 2090595"/>
              <a:gd name="connsiteY122" fmla="*/ 155521 h 2184766"/>
              <a:gd name="connsiteX123" fmla="*/ 1444347 w 2090595"/>
              <a:gd name="connsiteY123" fmla="*/ 135180 h 2184766"/>
              <a:gd name="connsiteX124" fmla="*/ 1418230 w 2090595"/>
              <a:gd name="connsiteY124" fmla="*/ 97449 h 2184766"/>
              <a:gd name="connsiteX125" fmla="*/ 1656043 w 2090595"/>
              <a:gd name="connsiteY125" fmla="*/ 359056 h 2184766"/>
              <a:gd name="connsiteX126" fmla="*/ 1573487 w 2090595"/>
              <a:gd name="connsiteY126" fmla="*/ 407334 h 2184766"/>
              <a:gd name="connsiteX127" fmla="*/ 1567711 w 2090595"/>
              <a:gd name="connsiteY127" fmla="*/ 454734 h 2184766"/>
              <a:gd name="connsiteX128" fmla="*/ 1614043 w 2090595"/>
              <a:gd name="connsiteY128" fmla="*/ 471936 h 2184766"/>
              <a:gd name="connsiteX129" fmla="*/ 1694841 w 2090595"/>
              <a:gd name="connsiteY129" fmla="*/ 425290 h 2184766"/>
              <a:gd name="connsiteX130" fmla="*/ 1704133 w 2090595"/>
              <a:gd name="connsiteY130" fmla="*/ 382536 h 2184766"/>
              <a:gd name="connsiteX131" fmla="*/ 1666904 w 2090595"/>
              <a:gd name="connsiteY131" fmla="*/ 357863 h 2184766"/>
              <a:gd name="connsiteX132" fmla="*/ 1656043 w 2090595"/>
              <a:gd name="connsiteY132" fmla="*/ 359056 h 2184766"/>
              <a:gd name="connsiteX133" fmla="*/ 707930 w 2090595"/>
              <a:gd name="connsiteY133" fmla="*/ 100274 h 2184766"/>
              <a:gd name="connsiteX134" fmla="*/ 666432 w 2090595"/>
              <a:gd name="connsiteY134" fmla="*/ 102785 h 2184766"/>
              <a:gd name="connsiteX135" fmla="*/ 651239 w 2090595"/>
              <a:gd name="connsiteY135" fmla="*/ 141772 h 2184766"/>
              <a:gd name="connsiteX136" fmla="*/ 701840 w 2090595"/>
              <a:gd name="connsiteY136" fmla="*/ 230356 h 2184766"/>
              <a:gd name="connsiteX137" fmla="*/ 743338 w 2090595"/>
              <a:gd name="connsiteY137" fmla="*/ 236257 h 2184766"/>
              <a:gd name="connsiteX138" fmla="*/ 766504 w 2090595"/>
              <a:gd name="connsiteY138" fmla="*/ 193943 h 2184766"/>
              <a:gd name="connsiteX139" fmla="*/ 707930 w 2090595"/>
              <a:gd name="connsiteY139" fmla="*/ 100274 h 2184766"/>
              <a:gd name="connsiteX140" fmla="*/ 1086121 w 2090595"/>
              <a:gd name="connsiteY140" fmla="*/ 34480 h 2184766"/>
              <a:gd name="connsiteX141" fmla="*/ 1046129 w 2090595"/>
              <a:gd name="connsiteY141" fmla="*/ 13 h 2184766"/>
              <a:gd name="connsiteX142" fmla="*/ 1008586 w 2090595"/>
              <a:gd name="connsiteY142" fmla="*/ 34480 h 2184766"/>
              <a:gd name="connsiteX143" fmla="*/ 1008586 w 2090595"/>
              <a:gd name="connsiteY143" fmla="*/ 119108 h 2184766"/>
              <a:gd name="connsiteX144" fmla="*/ 1046129 w 2090595"/>
              <a:gd name="connsiteY144" fmla="*/ 153575 h 2184766"/>
              <a:gd name="connsiteX145" fmla="*/ 1086121 w 2090595"/>
              <a:gd name="connsiteY145" fmla="*/ 119046 h 2184766"/>
              <a:gd name="connsiteX146" fmla="*/ 1086309 w 2090595"/>
              <a:gd name="connsiteY146" fmla="*/ 76731 h 2184766"/>
              <a:gd name="connsiteX147" fmla="*/ 1086121 w 2090595"/>
              <a:gd name="connsiteY147" fmla="*/ 34480 h 218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2090595" h="2184766">
                <a:moveTo>
                  <a:pt x="1196426" y="1929200"/>
                </a:moveTo>
                <a:cubicBezTo>
                  <a:pt x="1196426" y="1861711"/>
                  <a:pt x="1197054" y="1794221"/>
                  <a:pt x="1196238" y="1726795"/>
                </a:cubicBezTo>
                <a:cubicBezTo>
                  <a:pt x="1194982" y="1618749"/>
                  <a:pt x="1242507" y="1538704"/>
                  <a:pt x="1334418" y="1484273"/>
                </a:cubicBezTo>
                <a:cubicBezTo>
                  <a:pt x="1427522" y="1429089"/>
                  <a:pt x="1521127" y="1374658"/>
                  <a:pt x="1614482" y="1319914"/>
                </a:cubicBezTo>
                <a:cubicBezTo>
                  <a:pt x="1630052" y="1310810"/>
                  <a:pt x="1645245" y="1300954"/>
                  <a:pt x="1661254" y="1292730"/>
                </a:cubicBezTo>
                <a:cubicBezTo>
                  <a:pt x="1700994" y="1272263"/>
                  <a:pt x="1745694" y="1285322"/>
                  <a:pt x="1767228" y="1322927"/>
                </a:cubicBezTo>
                <a:cubicBezTo>
                  <a:pt x="1788008" y="1359214"/>
                  <a:pt x="1777272" y="1404542"/>
                  <a:pt x="1739290" y="1427457"/>
                </a:cubicBezTo>
                <a:cubicBezTo>
                  <a:pt x="1674124" y="1466758"/>
                  <a:pt x="1607765" y="1503986"/>
                  <a:pt x="1541971" y="1542157"/>
                </a:cubicBezTo>
                <a:cubicBezTo>
                  <a:pt x="1534500" y="1546489"/>
                  <a:pt x="1526715" y="1550444"/>
                  <a:pt x="1519872" y="1555592"/>
                </a:cubicBezTo>
                <a:cubicBezTo>
                  <a:pt x="1503612" y="1567834"/>
                  <a:pt x="1500096" y="1584471"/>
                  <a:pt x="1510329" y="1601296"/>
                </a:cubicBezTo>
                <a:cubicBezTo>
                  <a:pt x="1520374" y="1617808"/>
                  <a:pt x="1536509" y="1624337"/>
                  <a:pt x="1554778" y="1614104"/>
                </a:cubicBezTo>
                <a:cubicBezTo>
                  <a:pt x="1605379" y="1585727"/>
                  <a:pt x="1655666" y="1556722"/>
                  <a:pt x="1706016" y="1527780"/>
                </a:cubicBezTo>
                <a:cubicBezTo>
                  <a:pt x="1729120" y="1514471"/>
                  <a:pt x="1752349" y="1501350"/>
                  <a:pt x="1775075" y="1487350"/>
                </a:cubicBezTo>
                <a:cubicBezTo>
                  <a:pt x="1830950" y="1452883"/>
                  <a:pt x="1856753" y="1390981"/>
                  <a:pt x="1841497" y="1327385"/>
                </a:cubicBezTo>
                <a:cubicBezTo>
                  <a:pt x="1838295" y="1313949"/>
                  <a:pt x="1838421" y="1301582"/>
                  <a:pt x="1841999" y="1288272"/>
                </a:cubicBezTo>
                <a:cubicBezTo>
                  <a:pt x="1873578" y="1171814"/>
                  <a:pt x="1904717" y="1055231"/>
                  <a:pt x="1936045" y="938647"/>
                </a:cubicBezTo>
                <a:cubicBezTo>
                  <a:pt x="1940942" y="920440"/>
                  <a:pt x="1945713" y="902360"/>
                  <a:pt x="1959085" y="887795"/>
                </a:cubicBezTo>
                <a:cubicBezTo>
                  <a:pt x="1984009" y="860673"/>
                  <a:pt x="2022619" y="852323"/>
                  <a:pt x="2053319" y="868144"/>
                </a:cubicBezTo>
                <a:cubicBezTo>
                  <a:pt x="2087597" y="885786"/>
                  <a:pt x="2102351" y="922073"/>
                  <a:pt x="2091113" y="964826"/>
                </a:cubicBezTo>
                <a:cubicBezTo>
                  <a:pt x="2064933" y="1064083"/>
                  <a:pt x="2038001" y="1163150"/>
                  <a:pt x="2011507" y="1262344"/>
                </a:cubicBezTo>
                <a:cubicBezTo>
                  <a:pt x="1985390" y="1360031"/>
                  <a:pt x="1959148" y="1457654"/>
                  <a:pt x="1933471" y="1555404"/>
                </a:cubicBezTo>
                <a:cubicBezTo>
                  <a:pt x="1925246" y="1586794"/>
                  <a:pt x="1909677" y="1612723"/>
                  <a:pt x="1885129" y="1634193"/>
                </a:cubicBezTo>
                <a:cubicBezTo>
                  <a:pt x="1807846" y="1701934"/>
                  <a:pt x="1732008" y="1771307"/>
                  <a:pt x="1653971" y="1838168"/>
                </a:cubicBezTo>
                <a:cubicBezTo>
                  <a:pt x="1600670" y="1883809"/>
                  <a:pt x="1575621" y="1940249"/>
                  <a:pt x="1576186" y="2009559"/>
                </a:cubicBezTo>
                <a:cubicBezTo>
                  <a:pt x="1576626" y="2061353"/>
                  <a:pt x="1575747" y="2113147"/>
                  <a:pt x="1576500" y="2164878"/>
                </a:cubicBezTo>
                <a:cubicBezTo>
                  <a:pt x="1576751" y="2182206"/>
                  <a:pt x="1570536" y="2188170"/>
                  <a:pt x="1553271" y="2188107"/>
                </a:cubicBezTo>
                <a:cubicBezTo>
                  <a:pt x="1441835" y="2187605"/>
                  <a:pt x="1330463" y="2187542"/>
                  <a:pt x="1219027" y="2188107"/>
                </a:cubicBezTo>
                <a:cubicBezTo>
                  <a:pt x="1201386" y="2188170"/>
                  <a:pt x="1195987" y="2181515"/>
                  <a:pt x="1196112" y="2164564"/>
                </a:cubicBezTo>
                <a:cubicBezTo>
                  <a:pt x="1196740" y="2086089"/>
                  <a:pt x="1196426" y="2007676"/>
                  <a:pt x="1196426" y="1929200"/>
                </a:cubicBezTo>
                <a:close/>
                <a:moveTo>
                  <a:pt x="898218" y="1716562"/>
                </a:moveTo>
                <a:cubicBezTo>
                  <a:pt x="897716" y="1623207"/>
                  <a:pt x="859043" y="1547494"/>
                  <a:pt x="780944" y="1498336"/>
                </a:cubicBezTo>
                <a:cubicBezTo>
                  <a:pt x="667499" y="1426892"/>
                  <a:pt x="550790" y="1360533"/>
                  <a:pt x="434520" y="1293734"/>
                </a:cubicBezTo>
                <a:cubicBezTo>
                  <a:pt x="387623" y="1266801"/>
                  <a:pt x="333318" y="1292981"/>
                  <a:pt x="320197" y="1345151"/>
                </a:cubicBezTo>
                <a:cubicBezTo>
                  <a:pt x="311721" y="1378927"/>
                  <a:pt x="326412" y="1410883"/>
                  <a:pt x="361632" y="1431538"/>
                </a:cubicBezTo>
                <a:cubicBezTo>
                  <a:pt x="429309" y="1471152"/>
                  <a:pt x="497552" y="1509888"/>
                  <a:pt x="565355" y="1549377"/>
                </a:cubicBezTo>
                <a:cubicBezTo>
                  <a:pt x="588647" y="1562937"/>
                  <a:pt x="595427" y="1581144"/>
                  <a:pt x="585633" y="1599853"/>
                </a:cubicBezTo>
                <a:cubicBezTo>
                  <a:pt x="575714" y="1618812"/>
                  <a:pt x="554933" y="1623144"/>
                  <a:pt x="531077" y="1609521"/>
                </a:cubicBezTo>
                <a:cubicBezTo>
                  <a:pt x="460260" y="1569027"/>
                  <a:pt x="389318" y="1528659"/>
                  <a:pt x="319318" y="1486910"/>
                </a:cubicBezTo>
                <a:cubicBezTo>
                  <a:pt x="263192" y="1453448"/>
                  <a:pt x="237828" y="1390479"/>
                  <a:pt x="253272" y="1326882"/>
                </a:cubicBezTo>
                <a:cubicBezTo>
                  <a:pt x="256537" y="1313384"/>
                  <a:pt x="256160" y="1301017"/>
                  <a:pt x="252519" y="1287770"/>
                </a:cubicBezTo>
                <a:cubicBezTo>
                  <a:pt x="230295" y="1206092"/>
                  <a:pt x="208635" y="1124289"/>
                  <a:pt x="186662" y="1042549"/>
                </a:cubicBezTo>
                <a:cubicBezTo>
                  <a:pt x="175487" y="1000925"/>
                  <a:pt x="164877" y="959113"/>
                  <a:pt x="152447" y="917866"/>
                </a:cubicBezTo>
                <a:cubicBezTo>
                  <a:pt x="141900" y="883086"/>
                  <a:pt x="109442" y="860046"/>
                  <a:pt x="74724" y="859983"/>
                </a:cubicBezTo>
                <a:cubicBezTo>
                  <a:pt x="43962" y="859857"/>
                  <a:pt x="14957" y="880072"/>
                  <a:pt x="4473" y="909956"/>
                </a:cubicBezTo>
                <a:cubicBezTo>
                  <a:pt x="-2873" y="930674"/>
                  <a:pt x="-173" y="951580"/>
                  <a:pt x="5414" y="972423"/>
                </a:cubicBezTo>
                <a:cubicBezTo>
                  <a:pt x="56581" y="1163150"/>
                  <a:pt x="108312" y="1353752"/>
                  <a:pt x="158285" y="1544857"/>
                </a:cubicBezTo>
                <a:cubicBezTo>
                  <a:pt x="169146" y="1586355"/>
                  <a:pt x="190178" y="1617996"/>
                  <a:pt x="222384" y="1645745"/>
                </a:cubicBezTo>
                <a:cubicBezTo>
                  <a:pt x="300860" y="1713297"/>
                  <a:pt x="377704" y="1782732"/>
                  <a:pt x="454673" y="1851980"/>
                </a:cubicBezTo>
                <a:cubicBezTo>
                  <a:pt x="489704" y="1883558"/>
                  <a:pt x="510422" y="1922796"/>
                  <a:pt x="515319" y="1970572"/>
                </a:cubicBezTo>
                <a:cubicBezTo>
                  <a:pt x="521785" y="2034043"/>
                  <a:pt x="517516" y="2097577"/>
                  <a:pt x="518144" y="2161049"/>
                </a:cubicBezTo>
                <a:cubicBezTo>
                  <a:pt x="518332" y="2181013"/>
                  <a:pt x="523480" y="2188609"/>
                  <a:pt x="544637" y="2188421"/>
                </a:cubicBezTo>
                <a:cubicBezTo>
                  <a:pt x="653687" y="2187542"/>
                  <a:pt x="762737" y="2187542"/>
                  <a:pt x="871850" y="2188421"/>
                </a:cubicBezTo>
                <a:cubicBezTo>
                  <a:pt x="892317" y="2188547"/>
                  <a:pt x="899160" y="2182457"/>
                  <a:pt x="898909" y="2161614"/>
                </a:cubicBezTo>
                <a:cubicBezTo>
                  <a:pt x="897904" y="2083954"/>
                  <a:pt x="898469" y="2006232"/>
                  <a:pt x="898469" y="1928572"/>
                </a:cubicBezTo>
                <a:cubicBezTo>
                  <a:pt x="898281" y="1857818"/>
                  <a:pt x="898595" y="1787190"/>
                  <a:pt x="898218" y="1716562"/>
                </a:cubicBezTo>
                <a:close/>
                <a:moveTo>
                  <a:pt x="729526" y="602645"/>
                </a:moveTo>
                <a:cubicBezTo>
                  <a:pt x="680871" y="602645"/>
                  <a:pt x="632216" y="602582"/>
                  <a:pt x="583624" y="602645"/>
                </a:cubicBezTo>
                <a:cubicBezTo>
                  <a:pt x="565104" y="602645"/>
                  <a:pt x="552359" y="611497"/>
                  <a:pt x="545705" y="628762"/>
                </a:cubicBezTo>
                <a:cubicBezTo>
                  <a:pt x="538862" y="646591"/>
                  <a:pt x="545391" y="660968"/>
                  <a:pt x="558324" y="673148"/>
                </a:cubicBezTo>
                <a:cubicBezTo>
                  <a:pt x="563472" y="677919"/>
                  <a:pt x="569561" y="681686"/>
                  <a:pt x="575274" y="685829"/>
                </a:cubicBezTo>
                <a:cubicBezTo>
                  <a:pt x="646970" y="737937"/>
                  <a:pt x="718791" y="789857"/>
                  <a:pt x="790361" y="842153"/>
                </a:cubicBezTo>
                <a:cubicBezTo>
                  <a:pt x="817859" y="862243"/>
                  <a:pt x="820684" y="871911"/>
                  <a:pt x="810137" y="904494"/>
                </a:cubicBezTo>
                <a:cubicBezTo>
                  <a:pt x="795383" y="950010"/>
                  <a:pt x="780190" y="995338"/>
                  <a:pt x="765437" y="1040791"/>
                </a:cubicBezTo>
                <a:cubicBezTo>
                  <a:pt x="751625" y="1083293"/>
                  <a:pt x="738065" y="1125859"/>
                  <a:pt x="724316" y="1168361"/>
                </a:cubicBezTo>
                <a:cubicBezTo>
                  <a:pt x="717975" y="1188074"/>
                  <a:pt x="719858" y="1206030"/>
                  <a:pt x="737374" y="1219025"/>
                </a:cubicBezTo>
                <a:cubicBezTo>
                  <a:pt x="755141" y="1232146"/>
                  <a:pt x="772845" y="1227815"/>
                  <a:pt x="789607" y="1215949"/>
                </a:cubicBezTo>
                <a:cubicBezTo>
                  <a:pt x="793437" y="1213249"/>
                  <a:pt x="797267" y="1210487"/>
                  <a:pt x="801096" y="1207725"/>
                </a:cubicBezTo>
                <a:cubicBezTo>
                  <a:pt x="871536" y="1156558"/>
                  <a:pt x="941913" y="1105329"/>
                  <a:pt x="1012353" y="1054163"/>
                </a:cubicBezTo>
                <a:cubicBezTo>
                  <a:pt x="1042174" y="1032504"/>
                  <a:pt x="1052470" y="1032378"/>
                  <a:pt x="1081726" y="1053598"/>
                </a:cubicBezTo>
                <a:cubicBezTo>
                  <a:pt x="1118578" y="1080280"/>
                  <a:pt x="1155242" y="1107213"/>
                  <a:pt x="1192094" y="1133957"/>
                </a:cubicBezTo>
                <a:cubicBezTo>
                  <a:pt x="1230830" y="1162083"/>
                  <a:pt x="1269503" y="1190209"/>
                  <a:pt x="1308427" y="1218021"/>
                </a:cubicBezTo>
                <a:cubicBezTo>
                  <a:pt x="1324750" y="1229698"/>
                  <a:pt x="1342203" y="1230954"/>
                  <a:pt x="1358526" y="1218146"/>
                </a:cubicBezTo>
                <a:cubicBezTo>
                  <a:pt x="1373970" y="1206030"/>
                  <a:pt x="1376355" y="1189518"/>
                  <a:pt x="1371396" y="1171375"/>
                </a:cubicBezTo>
                <a:cubicBezTo>
                  <a:pt x="1369952" y="1166101"/>
                  <a:pt x="1368131" y="1160890"/>
                  <a:pt x="1366436" y="1155680"/>
                </a:cubicBezTo>
                <a:cubicBezTo>
                  <a:pt x="1339440" y="1072935"/>
                  <a:pt x="1312445" y="990252"/>
                  <a:pt x="1285512" y="907508"/>
                </a:cubicBezTo>
                <a:cubicBezTo>
                  <a:pt x="1273646" y="871032"/>
                  <a:pt x="1276660" y="862117"/>
                  <a:pt x="1307422" y="839830"/>
                </a:cubicBezTo>
                <a:cubicBezTo>
                  <a:pt x="1379808" y="787346"/>
                  <a:pt x="1452132" y="734735"/>
                  <a:pt x="1524643" y="682376"/>
                </a:cubicBezTo>
                <a:cubicBezTo>
                  <a:pt x="1542850" y="669192"/>
                  <a:pt x="1557603" y="654502"/>
                  <a:pt x="1549253" y="629578"/>
                </a:cubicBezTo>
                <a:cubicBezTo>
                  <a:pt x="1540903" y="604654"/>
                  <a:pt x="1520437" y="602205"/>
                  <a:pt x="1497836" y="602331"/>
                </a:cubicBezTo>
                <a:cubicBezTo>
                  <a:pt x="1408373" y="602770"/>
                  <a:pt x="1318974" y="602582"/>
                  <a:pt x="1229511" y="602457"/>
                </a:cubicBezTo>
                <a:cubicBezTo>
                  <a:pt x="1194103" y="602394"/>
                  <a:pt x="1184310" y="595300"/>
                  <a:pt x="1173260" y="561335"/>
                </a:cubicBezTo>
                <a:cubicBezTo>
                  <a:pt x="1148022" y="483801"/>
                  <a:pt x="1123036" y="406204"/>
                  <a:pt x="1097923" y="328670"/>
                </a:cubicBezTo>
                <a:cubicBezTo>
                  <a:pt x="1093842" y="315988"/>
                  <a:pt x="1090013" y="303181"/>
                  <a:pt x="1084865" y="290876"/>
                </a:cubicBezTo>
                <a:cubicBezTo>
                  <a:pt x="1077896" y="274177"/>
                  <a:pt x="1064901" y="264320"/>
                  <a:pt x="1046569" y="264697"/>
                </a:cubicBezTo>
                <a:cubicBezTo>
                  <a:pt x="1029429" y="265011"/>
                  <a:pt x="1016999" y="274490"/>
                  <a:pt x="1010156" y="290186"/>
                </a:cubicBezTo>
                <a:cubicBezTo>
                  <a:pt x="1006389" y="298787"/>
                  <a:pt x="1003627" y="307827"/>
                  <a:pt x="1000676" y="316742"/>
                </a:cubicBezTo>
                <a:cubicBezTo>
                  <a:pt x="974057" y="398733"/>
                  <a:pt x="947626" y="480850"/>
                  <a:pt x="920882" y="562779"/>
                </a:cubicBezTo>
                <a:cubicBezTo>
                  <a:pt x="910398" y="594923"/>
                  <a:pt x="900039" y="602268"/>
                  <a:pt x="865949" y="602457"/>
                </a:cubicBezTo>
                <a:cubicBezTo>
                  <a:pt x="820433" y="602645"/>
                  <a:pt x="774917" y="602519"/>
                  <a:pt x="729464" y="602519"/>
                </a:cubicBezTo>
                <a:cubicBezTo>
                  <a:pt x="729526" y="602582"/>
                  <a:pt x="729526" y="602645"/>
                  <a:pt x="729526" y="602645"/>
                </a:cubicBezTo>
                <a:close/>
                <a:moveTo>
                  <a:pt x="2012951" y="753946"/>
                </a:moveTo>
                <a:cubicBezTo>
                  <a:pt x="2000897" y="727013"/>
                  <a:pt x="1971328" y="707865"/>
                  <a:pt x="1944018" y="708932"/>
                </a:cubicBezTo>
                <a:cubicBezTo>
                  <a:pt x="1907605" y="710314"/>
                  <a:pt x="1876843" y="732726"/>
                  <a:pt x="1866107" y="769955"/>
                </a:cubicBezTo>
                <a:cubicBezTo>
                  <a:pt x="1824797" y="912907"/>
                  <a:pt x="1784806" y="1056172"/>
                  <a:pt x="1743622" y="1199124"/>
                </a:cubicBezTo>
                <a:cubicBezTo>
                  <a:pt x="1735774" y="1226370"/>
                  <a:pt x="1758124" y="1226496"/>
                  <a:pt x="1771810" y="1232397"/>
                </a:cubicBezTo>
                <a:cubicBezTo>
                  <a:pt x="1789515" y="1239994"/>
                  <a:pt x="1787694" y="1222039"/>
                  <a:pt x="1790080" y="1213375"/>
                </a:cubicBezTo>
                <a:cubicBezTo>
                  <a:pt x="1810107" y="1140926"/>
                  <a:pt x="1829318" y="1068226"/>
                  <a:pt x="1848842" y="995652"/>
                </a:cubicBezTo>
                <a:cubicBezTo>
                  <a:pt x="1856564" y="966898"/>
                  <a:pt x="1864600" y="938270"/>
                  <a:pt x="1872259" y="909517"/>
                </a:cubicBezTo>
                <a:cubicBezTo>
                  <a:pt x="1889147" y="845983"/>
                  <a:pt x="1929327" y="806933"/>
                  <a:pt x="1993615" y="792117"/>
                </a:cubicBezTo>
                <a:cubicBezTo>
                  <a:pt x="2003534" y="789857"/>
                  <a:pt x="2019543" y="792933"/>
                  <a:pt x="2018036" y="769390"/>
                </a:cubicBezTo>
                <a:cubicBezTo>
                  <a:pt x="2017345" y="767193"/>
                  <a:pt x="2015776" y="760287"/>
                  <a:pt x="2012951" y="753946"/>
                </a:cubicBezTo>
                <a:close/>
                <a:moveTo>
                  <a:pt x="82132" y="752942"/>
                </a:moveTo>
                <a:cubicBezTo>
                  <a:pt x="70204" y="777301"/>
                  <a:pt x="74285" y="786467"/>
                  <a:pt x="99962" y="792117"/>
                </a:cubicBezTo>
                <a:cubicBezTo>
                  <a:pt x="165380" y="806431"/>
                  <a:pt x="205622" y="846234"/>
                  <a:pt x="222761" y="910772"/>
                </a:cubicBezTo>
                <a:cubicBezTo>
                  <a:pt x="249694" y="1012163"/>
                  <a:pt x="277129" y="1113428"/>
                  <a:pt x="304815" y="1214693"/>
                </a:cubicBezTo>
                <a:cubicBezTo>
                  <a:pt x="307075" y="1223043"/>
                  <a:pt x="306322" y="1239743"/>
                  <a:pt x="321703" y="1232900"/>
                </a:cubicBezTo>
                <a:cubicBezTo>
                  <a:pt x="334950" y="1227061"/>
                  <a:pt x="359121" y="1228003"/>
                  <a:pt x="351210" y="1200379"/>
                </a:cubicBezTo>
                <a:cubicBezTo>
                  <a:pt x="310026" y="1056549"/>
                  <a:pt x="269784" y="912530"/>
                  <a:pt x="228160" y="768825"/>
                </a:cubicBezTo>
                <a:cubicBezTo>
                  <a:pt x="217550" y="732036"/>
                  <a:pt x="185407" y="709435"/>
                  <a:pt x="147110" y="708870"/>
                </a:cubicBezTo>
                <a:cubicBezTo>
                  <a:pt x="118796" y="711130"/>
                  <a:pt x="95756" y="725130"/>
                  <a:pt x="82132" y="752942"/>
                </a:cubicBezTo>
                <a:close/>
                <a:moveTo>
                  <a:pt x="530009" y="449397"/>
                </a:moveTo>
                <a:cubicBezTo>
                  <a:pt x="537229" y="432070"/>
                  <a:pt x="533086" y="415684"/>
                  <a:pt x="518960" y="404886"/>
                </a:cubicBezTo>
                <a:cubicBezTo>
                  <a:pt x="495355" y="386868"/>
                  <a:pt x="469238" y="371926"/>
                  <a:pt x="441865" y="360374"/>
                </a:cubicBezTo>
                <a:cubicBezTo>
                  <a:pt x="424789" y="353155"/>
                  <a:pt x="407587" y="357612"/>
                  <a:pt x="395722" y="373370"/>
                </a:cubicBezTo>
                <a:cubicBezTo>
                  <a:pt x="384547" y="388123"/>
                  <a:pt x="382412" y="405765"/>
                  <a:pt x="394906" y="418886"/>
                </a:cubicBezTo>
                <a:cubicBezTo>
                  <a:pt x="421211" y="446384"/>
                  <a:pt x="455928" y="460949"/>
                  <a:pt x="484494" y="473442"/>
                </a:cubicBezTo>
                <a:cubicBezTo>
                  <a:pt x="509794" y="474635"/>
                  <a:pt x="522915" y="466411"/>
                  <a:pt x="530009" y="449397"/>
                </a:cubicBezTo>
                <a:close/>
                <a:moveTo>
                  <a:pt x="1418230" y="97449"/>
                </a:moveTo>
                <a:cubicBezTo>
                  <a:pt x="1399521" y="90480"/>
                  <a:pt x="1383136" y="96507"/>
                  <a:pt x="1372840" y="111951"/>
                </a:cubicBezTo>
                <a:cubicBezTo>
                  <a:pt x="1357710" y="134615"/>
                  <a:pt x="1344149" y="158535"/>
                  <a:pt x="1332032" y="182956"/>
                </a:cubicBezTo>
                <a:cubicBezTo>
                  <a:pt x="1321925" y="203423"/>
                  <a:pt x="1330463" y="225961"/>
                  <a:pt x="1348857" y="235378"/>
                </a:cubicBezTo>
                <a:cubicBezTo>
                  <a:pt x="1367441" y="244858"/>
                  <a:pt x="1390041" y="239333"/>
                  <a:pt x="1402095" y="220374"/>
                </a:cubicBezTo>
                <a:cubicBezTo>
                  <a:pt x="1415468" y="199342"/>
                  <a:pt x="1427207" y="177180"/>
                  <a:pt x="1439638" y="155521"/>
                </a:cubicBezTo>
                <a:cubicBezTo>
                  <a:pt x="1443217" y="149243"/>
                  <a:pt x="1444598" y="142400"/>
                  <a:pt x="1444347" y="135180"/>
                </a:cubicBezTo>
                <a:cubicBezTo>
                  <a:pt x="1443907" y="116911"/>
                  <a:pt x="1435495" y="103915"/>
                  <a:pt x="1418230" y="97449"/>
                </a:cubicBezTo>
                <a:close/>
                <a:moveTo>
                  <a:pt x="1656043" y="359056"/>
                </a:moveTo>
                <a:cubicBezTo>
                  <a:pt x="1626787" y="372177"/>
                  <a:pt x="1598034" y="386742"/>
                  <a:pt x="1573487" y="407334"/>
                </a:cubicBezTo>
                <a:cubicBezTo>
                  <a:pt x="1558921" y="419577"/>
                  <a:pt x="1558545" y="437971"/>
                  <a:pt x="1567711" y="454734"/>
                </a:cubicBezTo>
                <a:cubicBezTo>
                  <a:pt x="1577944" y="473317"/>
                  <a:pt x="1596088" y="478967"/>
                  <a:pt x="1614043" y="471936"/>
                </a:cubicBezTo>
                <a:cubicBezTo>
                  <a:pt x="1643047" y="460635"/>
                  <a:pt x="1670671" y="445128"/>
                  <a:pt x="1694841" y="425290"/>
                </a:cubicBezTo>
                <a:cubicBezTo>
                  <a:pt x="1707649" y="414805"/>
                  <a:pt x="1711227" y="398984"/>
                  <a:pt x="1704133" y="382536"/>
                </a:cubicBezTo>
                <a:cubicBezTo>
                  <a:pt x="1697227" y="366527"/>
                  <a:pt x="1684985" y="358428"/>
                  <a:pt x="1666904" y="357863"/>
                </a:cubicBezTo>
                <a:cubicBezTo>
                  <a:pt x="1663765" y="358114"/>
                  <a:pt x="1659433" y="357549"/>
                  <a:pt x="1656043" y="359056"/>
                </a:cubicBezTo>
                <a:close/>
                <a:moveTo>
                  <a:pt x="707930" y="100274"/>
                </a:moveTo>
                <a:cubicBezTo>
                  <a:pt x="695437" y="89915"/>
                  <a:pt x="679616" y="93306"/>
                  <a:pt x="666432" y="102785"/>
                </a:cubicBezTo>
                <a:cubicBezTo>
                  <a:pt x="652997" y="112391"/>
                  <a:pt x="646530" y="126893"/>
                  <a:pt x="651239" y="141772"/>
                </a:cubicBezTo>
                <a:cubicBezTo>
                  <a:pt x="661660" y="174669"/>
                  <a:pt x="679365" y="204364"/>
                  <a:pt x="701840" y="230356"/>
                </a:cubicBezTo>
                <a:cubicBezTo>
                  <a:pt x="712325" y="242535"/>
                  <a:pt x="728836" y="242535"/>
                  <a:pt x="743338" y="236257"/>
                </a:cubicBezTo>
                <a:cubicBezTo>
                  <a:pt x="758092" y="229916"/>
                  <a:pt x="766065" y="217737"/>
                  <a:pt x="766504" y="193943"/>
                </a:cubicBezTo>
                <a:cubicBezTo>
                  <a:pt x="753320" y="163808"/>
                  <a:pt x="739383" y="126454"/>
                  <a:pt x="707930" y="100274"/>
                </a:cubicBezTo>
                <a:close/>
                <a:moveTo>
                  <a:pt x="1086121" y="34480"/>
                </a:moveTo>
                <a:cubicBezTo>
                  <a:pt x="1084362" y="13072"/>
                  <a:pt x="1067914" y="-489"/>
                  <a:pt x="1046129" y="13"/>
                </a:cubicBezTo>
                <a:cubicBezTo>
                  <a:pt x="1025537" y="516"/>
                  <a:pt x="1009465" y="13951"/>
                  <a:pt x="1008586" y="34480"/>
                </a:cubicBezTo>
                <a:cubicBezTo>
                  <a:pt x="1007393" y="62669"/>
                  <a:pt x="1007393" y="90920"/>
                  <a:pt x="1008586" y="119108"/>
                </a:cubicBezTo>
                <a:cubicBezTo>
                  <a:pt x="1009465" y="139638"/>
                  <a:pt x="1025537" y="153135"/>
                  <a:pt x="1046129" y="153575"/>
                </a:cubicBezTo>
                <a:cubicBezTo>
                  <a:pt x="1067851" y="154077"/>
                  <a:pt x="1084362" y="140454"/>
                  <a:pt x="1086121" y="119046"/>
                </a:cubicBezTo>
                <a:cubicBezTo>
                  <a:pt x="1087251" y="105045"/>
                  <a:pt x="1086309" y="90857"/>
                  <a:pt x="1086309" y="76731"/>
                </a:cubicBezTo>
                <a:cubicBezTo>
                  <a:pt x="1086309" y="62606"/>
                  <a:pt x="1087313" y="48480"/>
                  <a:pt x="1086121" y="34480"/>
                </a:cubicBezTo>
                <a:close/>
              </a:path>
            </a:pathLst>
          </a:custGeom>
          <a:solidFill>
            <a:schemeClr val="bg1"/>
          </a:solidFill>
          <a:ln w="6278" cap="flat">
            <a:noFill/>
            <a:prstDash val="solid"/>
            <a:miter/>
          </a:ln>
        </p:spPr>
        <p:txBody>
          <a:bodyPr rtlCol="0" anchor="ctr"/>
          <a:lstStyle/>
          <a:p>
            <a:endParaRPr lang="en-US"/>
          </a:p>
        </p:txBody>
      </p:sp>
      <p:grpSp>
        <p:nvGrpSpPr>
          <p:cNvPr id="7" name="Group 6">
            <a:extLst>
              <a:ext uri="{FF2B5EF4-FFF2-40B4-BE49-F238E27FC236}">
                <a16:creationId xmlns:a16="http://schemas.microsoft.com/office/drawing/2014/main" id="{E7063A2A-EA32-44DE-87F2-D34C53812FCB}"/>
              </a:ext>
            </a:extLst>
          </p:cNvPr>
          <p:cNvGrpSpPr/>
          <p:nvPr/>
        </p:nvGrpSpPr>
        <p:grpSpPr>
          <a:xfrm>
            <a:off x="262937" y="2785739"/>
            <a:ext cx="2676324" cy="1080701"/>
            <a:chOff x="441092" y="2532479"/>
            <a:chExt cx="2676324" cy="1080701"/>
          </a:xfrm>
        </p:grpSpPr>
        <p:sp>
          <p:nvSpPr>
            <p:cNvPr id="2179" name="Lorem Ipsum is simply dummy text of the printing typesetting"/>
            <p:cNvSpPr txBox="1"/>
            <p:nvPr/>
          </p:nvSpPr>
          <p:spPr>
            <a:xfrm>
              <a:off x="441092" y="2855665"/>
              <a:ext cx="2676323" cy="75751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r">
                <a:defRPr sz="2500" b="0">
                  <a:solidFill>
                    <a:srgbClr val="9FA09E"/>
                  </a:solidFill>
                  <a:latin typeface="Barlow Medium"/>
                  <a:ea typeface="Barlow Medium"/>
                  <a:cs typeface="Barlow Medium"/>
                  <a:sym typeface="Barlow Medium"/>
                </a:defRPr>
              </a:lvl1pPr>
            </a:lstStyle>
            <a:p>
              <a:pPr>
                <a:lnSpc>
                  <a:spcPts val="1900"/>
                </a:lnSpc>
              </a:pPr>
              <a:r>
                <a:rPr lang="en-US" sz="1200" dirty="0">
                  <a:solidFill>
                    <a:schemeClr val="tx1">
                      <a:lumMod val="75000"/>
                      <a:lumOff val="25000"/>
                    </a:schemeClr>
                  </a:solidFill>
                  <a:latin typeface="Montserrat" panose="00000500000000000000" pitchFamily="50" charset="0"/>
                </a:rPr>
                <a:t>Having a great idea and assembling a team to bring that concept to life is the first step in</a:t>
              </a:r>
            </a:p>
          </p:txBody>
        </p:sp>
        <p:sp>
          <p:nvSpPr>
            <p:cNvPr id="2180" name="Placeholder text"/>
            <p:cNvSpPr txBox="1"/>
            <p:nvPr/>
          </p:nvSpPr>
          <p:spPr>
            <a:xfrm>
              <a:off x="924167" y="2532479"/>
              <a:ext cx="2193249" cy="28212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r">
                <a:defRPr b="0">
                  <a:solidFill>
                    <a:srgbClr val="535454"/>
                  </a:solidFill>
                  <a:latin typeface="Barlow Bold"/>
                  <a:ea typeface="Barlow Bold"/>
                  <a:cs typeface="Barlow Bold"/>
                  <a:sym typeface="Barlow Bold"/>
                </a:defRPr>
              </a:lvl1pPr>
            </a:lstStyle>
            <a:p>
              <a:pPr defTabSz="412750" hangingPunct="0"/>
              <a:r>
                <a:rPr sz="1500" b="1" kern="0" dirty="0">
                  <a:solidFill>
                    <a:schemeClr val="accent3"/>
                  </a:solidFill>
                  <a:latin typeface="Montserrat" panose="00000500000000000000" pitchFamily="50" charset="0"/>
                </a:rPr>
                <a:t>Placeholder text</a:t>
              </a:r>
            </a:p>
          </p:txBody>
        </p:sp>
      </p:grpSp>
      <p:grpSp>
        <p:nvGrpSpPr>
          <p:cNvPr id="72" name="Group 71">
            <a:extLst>
              <a:ext uri="{FF2B5EF4-FFF2-40B4-BE49-F238E27FC236}">
                <a16:creationId xmlns:a16="http://schemas.microsoft.com/office/drawing/2014/main" id="{A0EAFAA7-1DED-46C1-BA50-9EE51748BC52}"/>
              </a:ext>
            </a:extLst>
          </p:cNvPr>
          <p:cNvGrpSpPr/>
          <p:nvPr/>
        </p:nvGrpSpPr>
        <p:grpSpPr>
          <a:xfrm flipH="1">
            <a:off x="9252740" y="2785739"/>
            <a:ext cx="2676324" cy="1080701"/>
            <a:chOff x="441092" y="2532479"/>
            <a:chExt cx="2676324" cy="1080701"/>
          </a:xfrm>
        </p:grpSpPr>
        <p:sp>
          <p:nvSpPr>
            <p:cNvPr id="73" name="Lorem Ipsum is simply dummy text of the printing typesetting">
              <a:extLst>
                <a:ext uri="{FF2B5EF4-FFF2-40B4-BE49-F238E27FC236}">
                  <a16:creationId xmlns:a16="http://schemas.microsoft.com/office/drawing/2014/main" id="{13090781-AE50-4425-986B-409D9FA14A3F}"/>
                </a:ext>
              </a:extLst>
            </p:cNvPr>
            <p:cNvSpPr txBox="1"/>
            <p:nvPr/>
          </p:nvSpPr>
          <p:spPr>
            <a:xfrm>
              <a:off x="441092" y="2855665"/>
              <a:ext cx="2676323" cy="75751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r">
                <a:defRPr sz="2500" b="0">
                  <a:solidFill>
                    <a:srgbClr val="9FA09E"/>
                  </a:solidFill>
                  <a:latin typeface="Barlow Medium"/>
                  <a:ea typeface="Barlow Medium"/>
                  <a:cs typeface="Barlow Medium"/>
                  <a:sym typeface="Barlow Medium"/>
                </a:defRPr>
              </a:lvl1pPr>
            </a:lstStyle>
            <a:p>
              <a:pPr algn="l">
                <a:lnSpc>
                  <a:spcPts val="1900"/>
                </a:lnSpc>
              </a:pPr>
              <a:r>
                <a:rPr lang="en-US" sz="1200" dirty="0">
                  <a:solidFill>
                    <a:schemeClr val="tx1">
                      <a:lumMod val="75000"/>
                      <a:lumOff val="25000"/>
                    </a:schemeClr>
                  </a:solidFill>
                  <a:latin typeface="Montserrat" panose="00000500000000000000" pitchFamily="50" charset="0"/>
                </a:rPr>
                <a:t>Having a great idea and assembling a team to bring that concept to life is the first step in</a:t>
              </a:r>
            </a:p>
          </p:txBody>
        </p:sp>
        <p:sp>
          <p:nvSpPr>
            <p:cNvPr id="74" name="Placeholder text">
              <a:extLst>
                <a:ext uri="{FF2B5EF4-FFF2-40B4-BE49-F238E27FC236}">
                  <a16:creationId xmlns:a16="http://schemas.microsoft.com/office/drawing/2014/main" id="{A4695D7A-734E-4FCE-BB1E-AE8A64F3539A}"/>
                </a:ext>
              </a:extLst>
            </p:cNvPr>
            <p:cNvSpPr txBox="1"/>
            <p:nvPr/>
          </p:nvSpPr>
          <p:spPr>
            <a:xfrm>
              <a:off x="924167" y="2532479"/>
              <a:ext cx="2193249" cy="28212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r">
                <a:defRPr b="0">
                  <a:solidFill>
                    <a:srgbClr val="535454"/>
                  </a:solidFill>
                  <a:latin typeface="Barlow Bold"/>
                  <a:ea typeface="Barlow Bold"/>
                  <a:cs typeface="Barlow Bold"/>
                  <a:sym typeface="Barlow Bold"/>
                </a:defRPr>
              </a:lvl1pPr>
            </a:lstStyle>
            <a:p>
              <a:pPr algn="l" defTabSz="412750" hangingPunct="0"/>
              <a:r>
                <a:rPr sz="1500" b="1" kern="0" dirty="0">
                  <a:solidFill>
                    <a:schemeClr val="accent2"/>
                  </a:solidFill>
                  <a:latin typeface="Montserrat" panose="00000500000000000000" pitchFamily="50" charset="0"/>
                </a:rPr>
                <a:t>Placeholder text</a:t>
              </a:r>
            </a:p>
          </p:txBody>
        </p:sp>
      </p:grpSp>
      <p:grpSp>
        <p:nvGrpSpPr>
          <p:cNvPr id="69" name="Group 68">
            <a:extLst>
              <a:ext uri="{FF2B5EF4-FFF2-40B4-BE49-F238E27FC236}">
                <a16:creationId xmlns:a16="http://schemas.microsoft.com/office/drawing/2014/main" id="{5529D363-DBC4-4C83-B90E-00A68C7F13BC}"/>
              </a:ext>
            </a:extLst>
          </p:cNvPr>
          <p:cNvGrpSpPr/>
          <p:nvPr/>
        </p:nvGrpSpPr>
        <p:grpSpPr>
          <a:xfrm>
            <a:off x="2102563" y="650773"/>
            <a:ext cx="2676324" cy="1080701"/>
            <a:chOff x="441092" y="2532479"/>
            <a:chExt cx="2676324" cy="1080701"/>
          </a:xfrm>
        </p:grpSpPr>
        <p:sp>
          <p:nvSpPr>
            <p:cNvPr id="70" name="Lorem Ipsum is simply dummy text of the printing typesetting">
              <a:extLst>
                <a:ext uri="{FF2B5EF4-FFF2-40B4-BE49-F238E27FC236}">
                  <a16:creationId xmlns:a16="http://schemas.microsoft.com/office/drawing/2014/main" id="{BBCA75B1-D902-4D7B-8895-64B6DFDFE66B}"/>
                </a:ext>
              </a:extLst>
            </p:cNvPr>
            <p:cNvSpPr txBox="1"/>
            <p:nvPr/>
          </p:nvSpPr>
          <p:spPr>
            <a:xfrm>
              <a:off x="441092" y="2855665"/>
              <a:ext cx="2676323" cy="75751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r">
                <a:defRPr sz="2500" b="0">
                  <a:solidFill>
                    <a:srgbClr val="9FA09E"/>
                  </a:solidFill>
                  <a:latin typeface="Barlow Medium"/>
                  <a:ea typeface="Barlow Medium"/>
                  <a:cs typeface="Barlow Medium"/>
                  <a:sym typeface="Barlow Medium"/>
                </a:defRPr>
              </a:lvl1pPr>
            </a:lstStyle>
            <a:p>
              <a:pPr>
                <a:lnSpc>
                  <a:spcPts val="1900"/>
                </a:lnSpc>
              </a:pPr>
              <a:r>
                <a:rPr lang="en-US" sz="1200" dirty="0">
                  <a:solidFill>
                    <a:schemeClr val="tx1">
                      <a:lumMod val="75000"/>
                      <a:lumOff val="25000"/>
                    </a:schemeClr>
                  </a:solidFill>
                  <a:latin typeface="Montserrat" panose="00000500000000000000" pitchFamily="50" charset="0"/>
                </a:rPr>
                <a:t>Having a great idea and assembling a team to bring that concept to life is the first step in</a:t>
              </a:r>
            </a:p>
          </p:txBody>
        </p:sp>
        <p:sp>
          <p:nvSpPr>
            <p:cNvPr id="71" name="Placeholder text">
              <a:extLst>
                <a:ext uri="{FF2B5EF4-FFF2-40B4-BE49-F238E27FC236}">
                  <a16:creationId xmlns:a16="http://schemas.microsoft.com/office/drawing/2014/main" id="{C0FD566D-4CD9-458C-AFA5-EE8BACFF87B1}"/>
                </a:ext>
              </a:extLst>
            </p:cNvPr>
            <p:cNvSpPr txBox="1"/>
            <p:nvPr/>
          </p:nvSpPr>
          <p:spPr>
            <a:xfrm>
              <a:off x="924167" y="2532479"/>
              <a:ext cx="2193249" cy="28212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r">
                <a:defRPr b="0">
                  <a:solidFill>
                    <a:srgbClr val="535454"/>
                  </a:solidFill>
                  <a:latin typeface="Barlow Bold"/>
                  <a:ea typeface="Barlow Bold"/>
                  <a:cs typeface="Barlow Bold"/>
                  <a:sym typeface="Barlow Bold"/>
                </a:defRPr>
              </a:lvl1pPr>
            </a:lstStyle>
            <a:p>
              <a:pPr defTabSz="412750" hangingPunct="0"/>
              <a:r>
                <a:rPr sz="1500" b="1" kern="0" dirty="0">
                  <a:solidFill>
                    <a:schemeClr val="accent1"/>
                  </a:solidFill>
                  <a:latin typeface="Montserrat" panose="00000500000000000000" pitchFamily="50" charset="0"/>
                </a:rPr>
                <a:t>Placeholder text</a:t>
              </a:r>
            </a:p>
          </p:txBody>
        </p:sp>
      </p:grpSp>
      <p:grpSp>
        <p:nvGrpSpPr>
          <p:cNvPr id="75" name="Group 74">
            <a:extLst>
              <a:ext uri="{FF2B5EF4-FFF2-40B4-BE49-F238E27FC236}">
                <a16:creationId xmlns:a16="http://schemas.microsoft.com/office/drawing/2014/main" id="{852B5248-B514-4441-9AFB-9AC1CF269700}"/>
              </a:ext>
            </a:extLst>
          </p:cNvPr>
          <p:cNvGrpSpPr/>
          <p:nvPr/>
        </p:nvGrpSpPr>
        <p:grpSpPr>
          <a:xfrm flipH="1">
            <a:off x="7413114" y="650773"/>
            <a:ext cx="2676324" cy="1080701"/>
            <a:chOff x="441092" y="2532479"/>
            <a:chExt cx="2676324" cy="1080701"/>
          </a:xfrm>
        </p:grpSpPr>
        <p:sp>
          <p:nvSpPr>
            <p:cNvPr id="76" name="Lorem Ipsum is simply dummy text of the printing typesetting">
              <a:extLst>
                <a:ext uri="{FF2B5EF4-FFF2-40B4-BE49-F238E27FC236}">
                  <a16:creationId xmlns:a16="http://schemas.microsoft.com/office/drawing/2014/main" id="{CAB6C7CA-3B8D-498A-9918-59F67DC131E2}"/>
                </a:ext>
              </a:extLst>
            </p:cNvPr>
            <p:cNvSpPr txBox="1"/>
            <p:nvPr/>
          </p:nvSpPr>
          <p:spPr>
            <a:xfrm>
              <a:off x="441092" y="2855665"/>
              <a:ext cx="2676323" cy="75751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r">
                <a:defRPr sz="2500" b="0">
                  <a:solidFill>
                    <a:srgbClr val="9FA09E"/>
                  </a:solidFill>
                  <a:latin typeface="Barlow Medium"/>
                  <a:ea typeface="Barlow Medium"/>
                  <a:cs typeface="Barlow Medium"/>
                  <a:sym typeface="Barlow Medium"/>
                </a:defRPr>
              </a:lvl1pPr>
            </a:lstStyle>
            <a:p>
              <a:pPr algn="l">
                <a:lnSpc>
                  <a:spcPts val="1900"/>
                </a:lnSpc>
              </a:pPr>
              <a:r>
                <a:rPr lang="en-US" sz="1200" dirty="0">
                  <a:solidFill>
                    <a:schemeClr val="tx1">
                      <a:lumMod val="75000"/>
                      <a:lumOff val="25000"/>
                    </a:schemeClr>
                  </a:solidFill>
                  <a:latin typeface="Montserrat" panose="00000500000000000000" pitchFamily="50" charset="0"/>
                </a:rPr>
                <a:t>Having a great idea and assembling a team to bring that concept to life is the first step in</a:t>
              </a:r>
            </a:p>
          </p:txBody>
        </p:sp>
        <p:sp>
          <p:nvSpPr>
            <p:cNvPr id="77" name="Placeholder text">
              <a:extLst>
                <a:ext uri="{FF2B5EF4-FFF2-40B4-BE49-F238E27FC236}">
                  <a16:creationId xmlns:a16="http://schemas.microsoft.com/office/drawing/2014/main" id="{E0481617-C612-495E-A0C0-A62749A94C1A}"/>
                </a:ext>
              </a:extLst>
            </p:cNvPr>
            <p:cNvSpPr txBox="1"/>
            <p:nvPr/>
          </p:nvSpPr>
          <p:spPr>
            <a:xfrm>
              <a:off x="924167" y="2532479"/>
              <a:ext cx="2193249" cy="28212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r">
                <a:defRPr b="0">
                  <a:solidFill>
                    <a:srgbClr val="535454"/>
                  </a:solidFill>
                  <a:latin typeface="Barlow Bold"/>
                  <a:ea typeface="Barlow Bold"/>
                  <a:cs typeface="Barlow Bold"/>
                  <a:sym typeface="Barlow Bold"/>
                </a:defRPr>
              </a:lvl1pPr>
            </a:lstStyle>
            <a:p>
              <a:pPr algn="l" defTabSz="412750" hangingPunct="0"/>
              <a:r>
                <a:rPr sz="1500" b="1" kern="0" dirty="0">
                  <a:solidFill>
                    <a:schemeClr val="accent4"/>
                  </a:solidFill>
                  <a:latin typeface="Montserrat" panose="00000500000000000000" pitchFamily="50" charset="0"/>
                </a:rPr>
                <a:t>Placeholder text</a:t>
              </a:r>
            </a:p>
          </p:txBody>
        </p:sp>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65"/>
                                        </p:tgtEl>
                                        <p:attrNameLst>
                                          <p:attrName>style.visibility</p:attrName>
                                        </p:attrNameLst>
                                      </p:cBhvr>
                                      <p:to>
                                        <p:strVal val="visible"/>
                                      </p:to>
                                    </p:set>
                                    <p:animEffect transition="in" filter="fade">
                                      <p:cBhvr>
                                        <p:cTn id="7" dur="2000"/>
                                        <p:tgtEl>
                                          <p:spTgt spid="2165"/>
                                        </p:tgtEl>
                                      </p:cBhvr>
                                    </p:animEffect>
                                  </p:childTnLst>
                                </p:cTn>
                              </p:par>
                              <p:par>
                                <p:cTn id="8" presetID="42" presetClass="path" presetSubtype="0" accel="50000" decel="50000" fill="hold" grpId="1" nodeType="withEffect">
                                  <p:stCondLst>
                                    <p:cond delay="0"/>
                                  </p:stCondLst>
                                  <p:childTnLst>
                                    <p:animMotion origin="layout" path="M -0.12695 -0.13912 L -2.08333E-6 -3.7037E-7 " pathEditMode="relative" rAng="0" ptsTypes="AA">
                                      <p:cBhvr>
                                        <p:cTn id="9" dur="2000" fill="hold"/>
                                        <p:tgtEl>
                                          <p:spTgt spid="2165"/>
                                        </p:tgtEl>
                                        <p:attrNameLst>
                                          <p:attrName>ppt_x</p:attrName>
                                          <p:attrName>ppt_y</p:attrName>
                                        </p:attrNameLst>
                                      </p:cBhvr>
                                      <p:rCtr x="6341" y="6944"/>
                                    </p:animMotion>
                                  </p:childTnLst>
                                </p:cTn>
                              </p:par>
                              <p:par>
                                <p:cTn id="10" presetID="10" presetClass="entr" presetSubtype="0" fill="hold" grpId="0" nodeType="withEffect">
                                  <p:stCondLst>
                                    <p:cond delay="0"/>
                                  </p:stCondLst>
                                  <p:childTnLst>
                                    <p:set>
                                      <p:cBhvr>
                                        <p:cTn id="11" dur="1" fill="hold">
                                          <p:stCondLst>
                                            <p:cond delay="0"/>
                                          </p:stCondLst>
                                        </p:cTn>
                                        <p:tgtEl>
                                          <p:spTgt spid="2168"/>
                                        </p:tgtEl>
                                        <p:attrNameLst>
                                          <p:attrName>style.visibility</p:attrName>
                                        </p:attrNameLst>
                                      </p:cBhvr>
                                      <p:to>
                                        <p:strVal val="visible"/>
                                      </p:to>
                                    </p:set>
                                    <p:animEffect transition="in" filter="fade">
                                      <p:cBhvr>
                                        <p:cTn id="12" dur="2000"/>
                                        <p:tgtEl>
                                          <p:spTgt spid="2168"/>
                                        </p:tgtEl>
                                      </p:cBhvr>
                                    </p:animEffect>
                                  </p:childTnLst>
                                </p:cTn>
                              </p:par>
                              <p:par>
                                <p:cTn id="13" presetID="42" presetClass="path" presetSubtype="0" accel="50000" decel="50000" fill="hold" grpId="1" nodeType="withEffect">
                                  <p:stCondLst>
                                    <p:cond delay="0"/>
                                  </p:stCondLst>
                                  <p:childTnLst>
                                    <p:animMotion origin="layout" path="M 0.12695 -0.13912 L 2.08333E-6 -3.7037E-7 " pathEditMode="relative" rAng="0" ptsTypes="AA">
                                      <p:cBhvr>
                                        <p:cTn id="14" dur="2000" fill="hold"/>
                                        <p:tgtEl>
                                          <p:spTgt spid="2168"/>
                                        </p:tgtEl>
                                        <p:attrNameLst>
                                          <p:attrName>ppt_x</p:attrName>
                                          <p:attrName>ppt_y</p:attrName>
                                        </p:attrNameLst>
                                      </p:cBhvr>
                                      <p:rCtr x="-6354" y="6944"/>
                                    </p:animMotion>
                                  </p:childTnLst>
                                </p:cTn>
                              </p:par>
                              <p:par>
                                <p:cTn id="15" presetID="10" presetClass="entr" presetSubtype="0" fill="hold" grpId="0" nodeType="withEffect">
                                  <p:stCondLst>
                                    <p:cond delay="0"/>
                                  </p:stCondLst>
                                  <p:childTnLst>
                                    <p:set>
                                      <p:cBhvr>
                                        <p:cTn id="16" dur="1" fill="hold">
                                          <p:stCondLst>
                                            <p:cond delay="0"/>
                                          </p:stCondLst>
                                        </p:cTn>
                                        <p:tgtEl>
                                          <p:spTgt spid="2162"/>
                                        </p:tgtEl>
                                        <p:attrNameLst>
                                          <p:attrName>style.visibility</p:attrName>
                                        </p:attrNameLst>
                                      </p:cBhvr>
                                      <p:to>
                                        <p:strVal val="visible"/>
                                      </p:to>
                                    </p:set>
                                    <p:animEffect transition="in" filter="fade">
                                      <p:cBhvr>
                                        <p:cTn id="17" dur="2000"/>
                                        <p:tgtEl>
                                          <p:spTgt spid="2162"/>
                                        </p:tgtEl>
                                      </p:cBhvr>
                                    </p:animEffect>
                                  </p:childTnLst>
                                </p:cTn>
                              </p:par>
                              <p:par>
                                <p:cTn id="18" presetID="42" presetClass="path" presetSubtype="0" accel="50000" decel="50000" fill="hold" grpId="1" nodeType="withEffect">
                                  <p:stCondLst>
                                    <p:cond delay="0"/>
                                  </p:stCondLst>
                                  <p:childTnLst>
                                    <p:animMotion origin="layout" path="M 0.06028 -0.24097 L 3.54167E-6 0 " pathEditMode="relative" rAng="0" ptsTypes="AA">
                                      <p:cBhvr>
                                        <p:cTn id="19" dur="2000" fill="hold"/>
                                        <p:tgtEl>
                                          <p:spTgt spid="2162"/>
                                        </p:tgtEl>
                                        <p:attrNameLst>
                                          <p:attrName>ppt_x</p:attrName>
                                          <p:attrName>ppt_y</p:attrName>
                                        </p:attrNameLst>
                                      </p:cBhvr>
                                      <p:rCtr x="-3021" y="12037"/>
                                    </p:animMotion>
                                  </p:childTnLst>
                                </p:cTn>
                              </p:par>
                              <p:par>
                                <p:cTn id="20" presetID="10" presetClass="entr" presetSubtype="0" fill="hold" grpId="0" nodeType="withEffect">
                                  <p:stCondLst>
                                    <p:cond delay="0"/>
                                  </p:stCondLst>
                                  <p:childTnLst>
                                    <p:set>
                                      <p:cBhvr>
                                        <p:cTn id="21" dur="1" fill="hold">
                                          <p:stCondLst>
                                            <p:cond delay="0"/>
                                          </p:stCondLst>
                                        </p:cTn>
                                        <p:tgtEl>
                                          <p:spTgt spid="2159"/>
                                        </p:tgtEl>
                                        <p:attrNameLst>
                                          <p:attrName>style.visibility</p:attrName>
                                        </p:attrNameLst>
                                      </p:cBhvr>
                                      <p:to>
                                        <p:strVal val="visible"/>
                                      </p:to>
                                    </p:set>
                                    <p:animEffect transition="in" filter="fade">
                                      <p:cBhvr>
                                        <p:cTn id="22" dur="2000"/>
                                        <p:tgtEl>
                                          <p:spTgt spid="2159"/>
                                        </p:tgtEl>
                                      </p:cBhvr>
                                    </p:animEffect>
                                  </p:childTnLst>
                                </p:cTn>
                              </p:par>
                              <p:par>
                                <p:cTn id="23" presetID="42" presetClass="path" presetSubtype="0" accel="50000" decel="50000" fill="hold" grpId="1" nodeType="withEffect">
                                  <p:stCondLst>
                                    <p:cond delay="0"/>
                                  </p:stCondLst>
                                  <p:childTnLst>
                                    <p:animMotion origin="layout" path="M -0.06419 -0.24097 L -3.54167E-6 0 " pathEditMode="relative" rAng="0" ptsTypes="AA">
                                      <p:cBhvr>
                                        <p:cTn id="24" dur="2000" fill="hold"/>
                                        <p:tgtEl>
                                          <p:spTgt spid="2159"/>
                                        </p:tgtEl>
                                        <p:attrNameLst>
                                          <p:attrName>ppt_x</p:attrName>
                                          <p:attrName>ppt_y</p:attrName>
                                        </p:attrNameLst>
                                      </p:cBhvr>
                                      <p:rCtr x="3203" y="12037"/>
                                    </p:animMotion>
                                  </p:childTnLst>
                                </p:cTn>
                              </p:par>
                              <p:par>
                                <p:cTn id="25" presetID="10" presetClass="entr" presetSubtype="0" fill="hold" grpId="0" nodeType="withEffect">
                                  <p:stCondLst>
                                    <p:cond delay="100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1000"/>
                                        <p:tgtEl>
                                          <p:spTgt spid="62"/>
                                        </p:tgtEl>
                                      </p:cBhvr>
                                    </p:animEffect>
                                  </p:childTnLst>
                                </p:cTn>
                              </p:par>
                              <p:par>
                                <p:cTn id="28" presetID="10" presetClass="entr" presetSubtype="0" fill="hold" grpId="0" nodeType="withEffect">
                                  <p:stCondLst>
                                    <p:cond delay="1000"/>
                                  </p:stCondLst>
                                  <p:childTnLst>
                                    <p:set>
                                      <p:cBhvr>
                                        <p:cTn id="29" dur="1" fill="hold">
                                          <p:stCondLst>
                                            <p:cond delay="0"/>
                                          </p:stCondLst>
                                        </p:cTn>
                                        <p:tgtEl>
                                          <p:spTgt spid="63"/>
                                        </p:tgtEl>
                                        <p:attrNameLst>
                                          <p:attrName>style.visibility</p:attrName>
                                        </p:attrNameLst>
                                      </p:cBhvr>
                                      <p:to>
                                        <p:strVal val="visible"/>
                                      </p:to>
                                    </p:set>
                                    <p:animEffect transition="in" filter="fade">
                                      <p:cBhvr>
                                        <p:cTn id="30" dur="1000"/>
                                        <p:tgtEl>
                                          <p:spTgt spid="63"/>
                                        </p:tgtEl>
                                      </p:cBhvr>
                                    </p:animEffect>
                                  </p:childTnLst>
                                </p:cTn>
                              </p:par>
                              <p:par>
                                <p:cTn id="31" presetID="10" presetClass="entr" presetSubtype="0" fill="hold" grpId="0" nodeType="withEffect">
                                  <p:stCondLst>
                                    <p:cond delay="1000"/>
                                  </p:stCondLst>
                                  <p:childTnLst>
                                    <p:set>
                                      <p:cBhvr>
                                        <p:cTn id="32" dur="1" fill="hold">
                                          <p:stCondLst>
                                            <p:cond delay="0"/>
                                          </p:stCondLst>
                                        </p:cTn>
                                        <p:tgtEl>
                                          <p:spTgt spid="64"/>
                                        </p:tgtEl>
                                        <p:attrNameLst>
                                          <p:attrName>style.visibility</p:attrName>
                                        </p:attrNameLst>
                                      </p:cBhvr>
                                      <p:to>
                                        <p:strVal val="visible"/>
                                      </p:to>
                                    </p:set>
                                    <p:animEffect transition="in" filter="fade">
                                      <p:cBhvr>
                                        <p:cTn id="33" dur="1000"/>
                                        <p:tgtEl>
                                          <p:spTgt spid="64"/>
                                        </p:tgtEl>
                                      </p:cBhvr>
                                    </p:animEffect>
                                  </p:childTnLst>
                                </p:cTn>
                              </p:par>
                              <p:par>
                                <p:cTn id="34" presetID="10" presetClass="entr" presetSubtype="0" fill="hold" grpId="0" nodeType="withEffect">
                                  <p:stCondLst>
                                    <p:cond delay="1000"/>
                                  </p:stCondLst>
                                  <p:childTnLst>
                                    <p:set>
                                      <p:cBhvr>
                                        <p:cTn id="35" dur="1" fill="hold">
                                          <p:stCondLst>
                                            <p:cond delay="0"/>
                                          </p:stCondLst>
                                        </p:cTn>
                                        <p:tgtEl>
                                          <p:spTgt spid="65"/>
                                        </p:tgtEl>
                                        <p:attrNameLst>
                                          <p:attrName>style.visibility</p:attrName>
                                        </p:attrNameLst>
                                      </p:cBhvr>
                                      <p:to>
                                        <p:strVal val="visible"/>
                                      </p:to>
                                    </p:set>
                                    <p:animEffect transition="in" filter="fade">
                                      <p:cBhvr>
                                        <p:cTn id="36" dur="1000"/>
                                        <p:tgtEl>
                                          <p:spTgt spid="65"/>
                                        </p:tgtEl>
                                      </p:cBhvr>
                                    </p:animEffect>
                                  </p:childTnLst>
                                </p:cTn>
                              </p:par>
                              <p:par>
                                <p:cTn id="37" presetID="22" presetClass="entr" presetSubtype="2" fill="hold" nodeType="withEffect">
                                  <p:stCondLst>
                                    <p:cond delay="2000"/>
                                  </p:stCondLst>
                                  <p:childTnLst>
                                    <p:set>
                                      <p:cBhvr>
                                        <p:cTn id="38" dur="1" fill="hold">
                                          <p:stCondLst>
                                            <p:cond delay="0"/>
                                          </p:stCondLst>
                                        </p:cTn>
                                        <p:tgtEl>
                                          <p:spTgt spid="7"/>
                                        </p:tgtEl>
                                        <p:attrNameLst>
                                          <p:attrName>style.visibility</p:attrName>
                                        </p:attrNameLst>
                                      </p:cBhvr>
                                      <p:to>
                                        <p:strVal val="visible"/>
                                      </p:to>
                                    </p:set>
                                    <p:animEffect transition="in" filter="wipe(right)">
                                      <p:cBhvr>
                                        <p:cTn id="39" dur="1500"/>
                                        <p:tgtEl>
                                          <p:spTgt spid="7"/>
                                        </p:tgtEl>
                                      </p:cBhvr>
                                    </p:animEffect>
                                  </p:childTnLst>
                                </p:cTn>
                              </p:par>
                              <p:par>
                                <p:cTn id="40" presetID="22" presetClass="entr" presetSubtype="2" fill="hold" nodeType="withEffect">
                                  <p:stCondLst>
                                    <p:cond delay="2000"/>
                                  </p:stCondLst>
                                  <p:childTnLst>
                                    <p:set>
                                      <p:cBhvr>
                                        <p:cTn id="41" dur="1" fill="hold">
                                          <p:stCondLst>
                                            <p:cond delay="0"/>
                                          </p:stCondLst>
                                        </p:cTn>
                                        <p:tgtEl>
                                          <p:spTgt spid="69"/>
                                        </p:tgtEl>
                                        <p:attrNameLst>
                                          <p:attrName>style.visibility</p:attrName>
                                        </p:attrNameLst>
                                      </p:cBhvr>
                                      <p:to>
                                        <p:strVal val="visible"/>
                                      </p:to>
                                    </p:set>
                                    <p:animEffect transition="in" filter="wipe(right)">
                                      <p:cBhvr>
                                        <p:cTn id="42" dur="1500"/>
                                        <p:tgtEl>
                                          <p:spTgt spid="69"/>
                                        </p:tgtEl>
                                      </p:cBhvr>
                                    </p:animEffect>
                                  </p:childTnLst>
                                </p:cTn>
                              </p:par>
                              <p:par>
                                <p:cTn id="43" presetID="22" presetClass="entr" presetSubtype="8" fill="hold" nodeType="withEffect">
                                  <p:stCondLst>
                                    <p:cond delay="2000"/>
                                  </p:stCondLst>
                                  <p:childTnLst>
                                    <p:set>
                                      <p:cBhvr>
                                        <p:cTn id="44" dur="1" fill="hold">
                                          <p:stCondLst>
                                            <p:cond delay="0"/>
                                          </p:stCondLst>
                                        </p:cTn>
                                        <p:tgtEl>
                                          <p:spTgt spid="75"/>
                                        </p:tgtEl>
                                        <p:attrNameLst>
                                          <p:attrName>style.visibility</p:attrName>
                                        </p:attrNameLst>
                                      </p:cBhvr>
                                      <p:to>
                                        <p:strVal val="visible"/>
                                      </p:to>
                                    </p:set>
                                    <p:animEffect transition="in" filter="wipe(left)">
                                      <p:cBhvr>
                                        <p:cTn id="45" dur="1500"/>
                                        <p:tgtEl>
                                          <p:spTgt spid="75"/>
                                        </p:tgtEl>
                                      </p:cBhvr>
                                    </p:animEffect>
                                  </p:childTnLst>
                                </p:cTn>
                              </p:par>
                              <p:par>
                                <p:cTn id="46" presetID="22" presetClass="entr" presetSubtype="8" fill="hold" nodeType="withEffect">
                                  <p:stCondLst>
                                    <p:cond delay="2000"/>
                                  </p:stCondLst>
                                  <p:childTnLst>
                                    <p:set>
                                      <p:cBhvr>
                                        <p:cTn id="47" dur="1" fill="hold">
                                          <p:stCondLst>
                                            <p:cond delay="0"/>
                                          </p:stCondLst>
                                        </p:cTn>
                                        <p:tgtEl>
                                          <p:spTgt spid="72"/>
                                        </p:tgtEl>
                                        <p:attrNameLst>
                                          <p:attrName>style.visibility</p:attrName>
                                        </p:attrNameLst>
                                      </p:cBhvr>
                                      <p:to>
                                        <p:strVal val="visible"/>
                                      </p:to>
                                    </p:set>
                                    <p:animEffect transition="in" filter="wipe(left)">
                                      <p:cBhvr>
                                        <p:cTn id="48" dur="1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65" grpId="0" animBg="1"/>
      <p:bldP spid="2165" grpId="1" animBg="1"/>
      <p:bldP spid="2159" grpId="0" animBg="1"/>
      <p:bldP spid="2159" grpId="1" animBg="1"/>
      <p:bldP spid="2162" grpId="0" animBg="1"/>
      <p:bldP spid="2162" grpId="1" animBg="1"/>
      <p:bldP spid="2168" grpId="0" animBg="1"/>
      <p:bldP spid="2168" grpId="1" animBg="1"/>
      <p:bldP spid="62" grpId="0" animBg="1"/>
      <p:bldP spid="63" grpId="0" animBg="1"/>
      <p:bldP spid="64" grpId="0" animBg="1"/>
      <p:bldP spid="6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Oval 40">
            <a:extLst>
              <a:ext uri="{FF2B5EF4-FFF2-40B4-BE49-F238E27FC236}">
                <a16:creationId xmlns:a16="http://schemas.microsoft.com/office/drawing/2014/main" id="{ADDE35BB-5CA6-44E7-9ADC-60C721E6DD9E}"/>
              </a:ext>
            </a:extLst>
          </p:cNvPr>
          <p:cNvSpPr/>
          <p:nvPr/>
        </p:nvSpPr>
        <p:spPr>
          <a:xfrm>
            <a:off x="3759874" y="1381549"/>
            <a:ext cx="2297597" cy="2297595"/>
          </a:xfrm>
          <a:prstGeom prst="ellipse">
            <a:avLst/>
          </a:prstGeom>
          <a:gradFill>
            <a:gsLst>
              <a:gs pos="20000">
                <a:schemeClr val="tx2">
                  <a:lumMod val="60000"/>
                  <a:lumOff val="40000"/>
                  <a:alpha val="0"/>
                </a:schemeClr>
              </a:gs>
              <a:gs pos="100000">
                <a:schemeClr val="tx2">
                  <a:lumMod val="60000"/>
                  <a:lumOff val="40000"/>
                </a:schemeClr>
              </a:gs>
            </a:gsLst>
            <a:lin ang="12000000" scaled="0"/>
          </a:gradFill>
          <a:ln w="3943" cap="flat">
            <a:noFill/>
            <a:prstDash val="solid"/>
            <a:round/>
          </a:ln>
        </p:spPr>
        <p:txBody>
          <a:bodyPr wrap="square" rtlCol="0" anchor="ctr">
            <a:noAutofit/>
          </a:bodyPr>
          <a:lstStyle/>
          <a:p>
            <a:endParaRPr lang="en-US"/>
          </a:p>
        </p:txBody>
      </p:sp>
      <p:sp>
        <p:nvSpPr>
          <p:cNvPr id="45" name="Oval 44">
            <a:extLst>
              <a:ext uri="{FF2B5EF4-FFF2-40B4-BE49-F238E27FC236}">
                <a16:creationId xmlns:a16="http://schemas.microsoft.com/office/drawing/2014/main" id="{52F18625-373C-490D-A24B-74746102CEBE}"/>
              </a:ext>
            </a:extLst>
          </p:cNvPr>
          <p:cNvSpPr/>
          <p:nvPr/>
        </p:nvSpPr>
        <p:spPr>
          <a:xfrm>
            <a:off x="4214261" y="2842245"/>
            <a:ext cx="2297597" cy="2297595"/>
          </a:xfrm>
          <a:prstGeom prst="ellipse">
            <a:avLst/>
          </a:prstGeom>
          <a:gradFill>
            <a:gsLst>
              <a:gs pos="20000">
                <a:schemeClr val="accent4">
                  <a:alpha val="0"/>
                </a:schemeClr>
              </a:gs>
              <a:gs pos="100000">
                <a:schemeClr val="accent4"/>
              </a:gs>
            </a:gsLst>
            <a:lin ang="7800000" scaled="0"/>
          </a:gradFill>
          <a:ln w="3943" cap="flat">
            <a:noFill/>
            <a:prstDash val="solid"/>
            <a:round/>
          </a:ln>
        </p:spPr>
        <p:txBody>
          <a:bodyPr wrap="square" rtlCol="0" anchor="ctr">
            <a:noAutofit/>
          </a:bodyPr>
          <a:lstStyle/>
          <a:p>
            <a:endParaRPr lang="en-US"/>
          </a:p>
        </p:txBody>
      </p:sp>
      <p:sp>
        <p:nvSpPr>
          <p:cNvPr id="46" name="Oval 45">
            <a:extLst>
              <a:ext uri="{FF2B5EF4-FFF2-40B4-BE49-F238E27FC236}">
                <a16:creationId xmlns:a16="http://schemas.microsoft.com/office/drawing/2014/main" id="{673FDF27-3CE2-44C6-95C4-161CD1DEF370}"/>
              </a:ext>
            </a:extLst>
          </p:cNvPr>
          <p:cNvSpPr/>
          <p:nvPr/>
        </p:nvSpPr>
        <p:spPr>
          <a:xfrm>
            <a:off x="5682069" y="2842245"/>
            <a:ext cx="2297597" cy="2297595"/>
          </a:xfrm>
          <a:prstGeom prst="ellipse">
            <a:avLst/>
          </a:prstGeom>
          <a:gradFill>
            <a:gsLst>
              <a:gs pos="0">
                <a:schemeClr val="accent2">
                  <a:lumMod val="50000"/>
                  <a:lumOff val="50000"/>
                </a:schemeClr>
              </a:gs>
              <a:gs pos="80000">
                <a:schemeClr val="accent2">
                  <a:lumMod val="50000"/>
                  <a:lumOff val="50000"/>
                  <a:alpha val="0"/>
                </a:schemeClr>
              </a:gs>
            </a:gsLst>
            <a:lin ang="13800000" scaled="0"/>
          </a:gradFill>
          <a:ln w="3943" cap="flat">
            <a:noFill/>
            <a:prstDash val="solid"/>
            <a:round/>
          </a:ln>
        </p:spPr>
        <p:txBody>
          <a:bodyPr wrap="square" rtlCol="0" anchor="ctr">
            <a:noAutofit/>
          </a:bodyPr>
          <a:lstStyle/>
          <a:p>
            <a:endParaRPr lang="en-US"/>
          </a:p>
        </p:txBody>
      </p:sp>
      <p:sp>
        <p:nvSpPr>
          <p:cNvPr id="43" name="Oval 42">
            <a:extLst>
              <a:ext uri="{FF2B5EF4-FFF2-40B4-BE49-F238E27FC236}">
                <a16:creationId xmlns:a16="http://schemas.microsoft.com/office/drawing/2014/main" id="{23195872-29F9-4400-BDAC-3AFE2E5EEC01}"/>
              </a:ext>
            </a:extLst>
          </p:cNvPr>
          <p:cNvSpPr/>
          <p:nvPr/>
        </p:nvSpPr>
        <p:spPr>
          <a:xfrm>
            <a:off x="6136683" y="1393772"/>
            <a:ext cx="2295443" cy="2297595"/>
          </a:xfrm>
          <a:prstGeom prst="ellipse">
            <a:avLst/>
          </a:prstGeom>
          <a:gradFill>
            <a:gsLst>
              <a:gs pos="0">
                <a:schemeClr val="accent3">
                  <a:alpha val="75000"/>
                </a:schemeClr>
              </a:gs>
              <a:gs pos="80000">
                <a:schemeClr val="accent3">
                  <a:alpha val="0"/>
                </a:schemeClr>
              </a:gs>
            </a:gsLst>
            <a:lin ang="9600000" scaled="0"/>
          </a:gradFill>
          <a:ln w="3943" cap="flat">
            <a:noFill/>
            <a:prstDash val="solid"/>
            <a:round/>
          </a:ln>
        </p:spPr>
        <p:txBody>
          <a:bodyPr wrap="square" rtlCol="0" anchor="ctr">
            <a:noAutofit/>
          </a:bodyPr>
          <a:lstStyle/>
          <a:p>
            <a:endParaRPr lang="en-US"/>
          </a:p>
        </p:txBody>
      </p:sp>
      <p:sp>
        <p:nvSpPr>
          <p:cNvPr id="44" name="Oval 43">
            <a:extLst>
              <a:ext uri="{FF2B5EF4-FFF2-40B4-BE49-F238E27FC236}">
                <a16:creationId xmlns:a16="http://schemas.microsoft.com/office/drawing/2014/main" id="{A22CB287-DFE6-454F-BD7D-C3BA1B9E7E3E}"/>
              </a:ext>
            </a:extLst>
          </p:cNvPr>
          <p:cNvSpPr/>
          <p:nvPr/>
        </p:nvSpPr>
        <p:spPr>
          <a:xfrm>
            <a:off x="4948166" y="491640"/>
            <a:ext cx="2297597" cy="2297595"/>
          </a:xfrm>
          <a:prstGeom prst="ellipse">
            <a:avLst/>
          </a:prstGeom>
          <a:gradFill>
            <a:gsLst>
              <a:gs pos="20000">
                <a:schemeClr val="accent1">
                  <a:alpha val="0"/>
                </a:schemeClr>
              </a:gs>
              <a:gs pos="100000">
                <a:schemeClr val="accent1">
                  <a:alpha val="75000"/>
                </a:schemeClr>
              </a:gs>
            </a:gsLst>
            <a:lin ang="16200000" scaled="1"/>
          </a:gradFill>
          <a:ln w="3943" cap="flat">
            <a:noFill/>
            <a:prstDash val="solid"/>
            <a:round/>
          </a:ln>
        </p:spPr>
        <p:txBody>
          <a:bodyPr wrap="square" rtlCol="0" anchor="ctr">
            <a:noAutofit/>
          </a:bodyPr>
          <a:lstStyle/>
          <a:p>
            <a:endParaRPr lang="en-US"/>
          </a:p>
        </p:txBody>
      </p:sp>
      <p:sp>
        <p:nvSpPr>
          <p:cNvPr id="91" name="TextBox 90">
            <a:extLst>
              <a:ext uri="{FF2B5EF4-FFF2-40B4-BE49-F238E27FC236}">
                <a16:creationId xmlns:a16="http://schemas.microsoft.com/office/drawing/2014/main" id="{34F1FD5C-B9D9-4351-8B77-689A07CFEE24}"/>
              </a:ext>
            </a:extLst>
          </p:cNvPr>
          <p:cNvSpPr txBox="1"/>
          <p:nvPr/>
        </p:nvSpPr>
        <p:spPr>
          <a:xfrm rot="18900000">
            <a:off x="5642322" y="3434202"/>
            <a:ext cx="2282925" cy="992350"/>
          </a:xfrm>
          <a:prstGeom prst="rect">
            <a:avLst/>
          </a:prstGeom>
          <a:noFill/>
        </p:spPr>
        <p:txBody>
          <a:bodyPr wrap="none" rtlCol="0">
            <a:prstTxWarp prst="textArchDown">
              <a:avLst>
                <a:gd name="adj" fmla="val 16952346"/>
              </a:avLst>
            </a:prstTxWarp>
            <a:spAutoFit/>
          </a:bodyPr>
          <a:lstStyle/>
          <a:p>
            <a:pPr algn="ctr"/>
            <a:r>
              <a:rPr lang="en-US" sz="1500" b="1" dirty="0">
                <a:solidFill>
                  <a:schemeClr val="bg1"/>
                </a:solidFill>
                <a:latin typeface="Montserrat" panose="00000500000000000000" pitchFamily="50" charset="0"/>
              </a:rPr>
              <a:t>What</a:t>
            </a:r>
          </a:p>
          <a:p>
            <a:pPr algn="ctr"/>
            <a:r>
              <a:rPr lang="en-US" sz="1500" b="1" dirty="0">
                <a:solidFill>
                  <a:schemeClr val="bg1"/>
                </a:solidFill>
                <a:latin typeface="Montserrat" panose="00000500000000000000" pitchFamily="50" charset="0"/>
              </a:rPr>
              <a:t>You Need</a:t>
            </a:r>
          </a:p>
        </p:txBody>
      </p:sp>
      <p:sp>
        <p:nvSpPr>
          <p:cNvPr id="90" name="TextBox 89">
            <a:extLst>
              <a:ext uri="{FF2B5EF4-FFF2-40B4-BE49-F238E27FC236}">
                <a16:creationId xmlns:a16="http://schemas.microsoft.com/office/drawing/2014/main" id="{A3528067-2A32-41A1-9B43-3FA883766C7E}"/>
              </a:ext>
            </a:extLst>
          </p:cNvPr>
          <p:cNvSpPr txBox="1"/>
          <p:nvPr/>
        </p:nvSpPr>
        <p:spPr>
          <a:xfrm rot="16382060">
            <a:off x="5610859" y="686527"/>
            <a:ext cx="970066" cy="2038250"/>
          </a:xfrm>
          <a:prstGeom prst="rect">
            <a:avLst/>
          </a:prstGeom>
          <a:noFill/>
        </p:spPr>
        <p:txBody>
          <a:bodyPr wrap="none" lIns="91440" tIns="0" rIns="91440" bIns="0" rtlCol="0" anchor="ctr" anchorCtr="0">
            <a:prstTxWarp prst="textCircle">
              <a:avLst>
                <a:gd name="adj" fmla="val 16835691"/>
              </a:avLst>
            </a:prstTxWarp>
            <a:spAutoFit/>
          </a:bodyPr>
          <a:lstStyle/>
          <a:p>
            <a:pPr algn="ctr"/>
            <a:r>
              <a:rPr lang="en-US" sz="1500" b="1" dirty="0">
                <a:solidFill>
                  <a:schemeClr val="bg1"/>
                </a:solidFill>
                <a:latin typeface="Montserrat" panose="00000500000000000000" pitchFamily="50" charset="0"/>
              </a:rPr>
              <a:t>What</a:t>
            </a:r>
          </a:p>
          <a:p>
            <a:pPr algn="ctr"/>
            <a:r>
              <a:rPr lang="en-US" sz="1500" b="1" dirty="0">
                <a:solidFill>
                  <a:schemeClr val="bg1"/>
                </a:solidFill>
                <a:latin typeface="Montserrat" panose="00000500000000000000" pitchFamily="50" charset="0"/>
              </a:rPr>
              <a:t>You Crave</a:t>
            </a:r>
          </a:p>
        </p:txBody>
      </p:sp>
      <p:sp>
        <p:nvSpPr>
          <p:cNvPr id="93" name="TextBox 92">
            <a:extLst>
              <a:ext uri="{FF2B5EF4-FFF2-40B4-BE49-F238E27FC236}">
                <a16:creationId xmlns:a16="http://schemas.microsoft.com/office/drawing/2014/main" id="{954B0525-D0D6-443F-A5DE-EB8C654572D4}"/>
              </a:ext>
            </a:extLst>
          </p:cNvPr>
          <p:cNvSpPr txBox="1"/>
          <p:nvPr/>
        </p:nvSpPr>
        <p:spPr>
          <a:xfrm rot="20204818">
            <a:off x="6840802" y="1584350"/>
            <a:ext cx="832893" cy="2025072"/>
          </a:xfrm>
          <a:prstGeom prst="rect">
            <a:avLst/>
          </a:prstGeom>
          <a:noFill/>
        </p:spPr>
        <p:txBody>
          <a:bodyPr wrap="none" rtlCol="0">
            <a:prstTxWarp prst="textCircle">
              <a:avLst>
                <a:gd name="adj" fmla="val 16633070"/>
              </a:avLst>
            </a:prstTxWarp>
            <a:spAutoFit/>
          </a:bodyPr>
          <a:lstStyle/>
          <a:p>
            <a:pPr algn="ctr"/>
            <a:r>
              <a:rPr lang="en-US" sz="1500" b="1" dirty="0">
                <a:solidFill>
                  <a:schemeClr val="bg1"/>
                </a:solidFill>
                <a:latin typeface="Montserrat" panose="00000500000000000000" pitchFamily="50" charset="0"/>
              </a:rPr>
              <a:t>What</a:t>
            </a:r>
          </a:p>
          <a:p>
            <a:pPr algn="ctr"/>
            <a:r>
              <a:rPr lang="en-US" sz="1500" b="1" dirty="0">
                <a:solidFill>
                  <a:schemeClr val="bg1"/>
                </a:solidFill>
                <a:latin typeface="Montserrat" panose="00000500000000000000" pitchFamily="50" charset="0"/>
              </a:rPr>
              <a:t>You Love</a:t>
            </a:r>
          </a:p>
        </p:txBody>
      </p:sp>
      <p:sp>
        <p:nvSpPr>
          <p:cNvPr id="94" name="TextBox 93">
            <a:extLst>
              <a:ext uri="{FF2B5EF4-FFF2-40B4-BE49-F238E27FC236}">
                <a16:creationId xmlns:a16="http://schemas.microsoft.com/office/drawing/2014/main" id="{9BED20E5-436F-477D-83A9-EA27D4E01E97}"/>
              </a:ext>
            </a:extLst>
          </p:cNvPr>
          <p:cNvSpPr txBox="1"/>
          <p:nvPr/>
        </p:nvSpPr>
        <p:spPr>
          <a:xfrm rot="2700000">
            <a:off x="4282852" y="3462232"/>
            <a:ext cx="2269054" cy="1003305"/>
          </a:xfrm>
          <a:prstGeom prst="rect">
            <a:avLst/>
          </a:prstGeom>
          <a:noFill/>
        </p:spPr>
        <p:txBody>
          <a:bodyPr wrap="none" rtlCol="0">
            <a:prstTxWarp prst="textArchDown">
              <a:avLst>
                <a:gd name="adj" fmla="val 19768406"/>
              </a:avLst>
            </a:prstTxWarp>
            <a:spAutoFit/>
          </a:bodyPr>
          <a:lstStyle/>
          <a:p>
            <a:pPr algn="ctr"/>
            <a:r>
              <a:rPr lang="en-US" sz="1500" b="1" dirty="0">
                <a:solidFill>
                  <a:schemeClr val="bg1"/>
                </a:solidFill>
                <a:latin typeface="Montserrat" panose="00000500000000000000" pitchFamily="50" charset="0"/>
              </a:rPr>
              <a:t>What</a:t>
            </a:r>
          </a:p>
          <a:p>
            <a:pPr algn="ctr"/>
            <a:r>
              <a:rPr lang="en-US" sz="1500" b="1" dirty="0">
                <a:solidFill>
                  <a:schemeClr val="bg1"/>
                </a:solidFill>
                <a:latin typeface="Montserrat" panose="00000500000000000000" pitchFamily="50" charset="0"/>
              </a:rPr>
              <a:t>You Want</a:t>
            </a:r>
          </a:p>
        </p:txBody>
      </p:sp>
      <p:sp>
        <p:nvSpPr>
          <p:cNvPr id="95" name="TextBox 94">
            <a:extLst>
              <a:ext uri="{FF2B5EF4-FFF2-40B4-BE49-F238E27FC236}">
                <a16:creationId xmlns:a16="http://schemas.microsoft.com/office/drawing/2014/main" id="{8CB6C693-CCDD-4DB5-BE8B-BBA127599369}"/>
              </a:ext>
            </a:extLst>
          </p:cNvPr>
          <p:cNvSpPr txBox="1"/>
          <p:nvPr/>
        </p:nvSpPr>
        <p:spPr>
          <a:xfrm rot="11883525">
            <a:off x="4441274" y="1419200"/>
            <a:ext cx="1097750" cy="2330928"/>
          </a:xfrm>
          <a:prstGeom prst="rect">
            <a:avLst/>
          </a:prstGeom>
          <a:noFill/>
        </p:spPr>
        <p:txBody>
          <a:bodyPr wrap="none" rtlCol="0">
            <a:prstTxWarp prst="textCircle">
              <a:avLst>
                <a:gd name="adj" fmla="val 16594248"/>
              </a:avLst>
            </a:prstTxWarp>
            <a:spAutoFit/>
          </a:bodyPr>
          <a:lstStyle/>
          <a:p>
            <a:pPr algn="ctr"/>
            <a:r>
              <a:rPr lang="en-US" sz="1500" b="1" dirty="0">
                <a:solidFill>
                  <a:schemeClr val="bg1"/>
                </a:solidFill>
                <a:latin typeface="Montserrat" panose="00000500000000000000" pitchFamily="50" charset="0"/>
              </a:rPr>
              <a:t>What</a:t>
            </a:r>
          </a:p>
          <a:p>
            <a:pPr algn="ctr"/>
            <a:r>
              <a:rPr lang="en-US" sz="1500" b="1" dirty="0">
                <a:solidFill>
                  <a:schemeClr val="bg1"/>
                </a:solidFill>
                <a:latin typeface="Montserrat" panose="00000500000000000000" pitchFamily="50" charset="0"/>
              </a:rPr>
              <a:t>You Obsess</a:t>
            </a:r>
          </a:p>
        </p:txBody>
      </p:sp>
      <p:grpSp>
        <p:nvGrpSpPr>
          <p:cNvPr id="7" name="Group 6">
            <a:extLst>
              <a:ext uri="{FF2B5EF4-FFF2-40B4-BE49-F238E27FC236}">
                <a16:creationId xmlns:a16="http://schemas.microsoft.com/office/drawing/2014/main" id="{C986128B-822B-479B-8CEE-69A7F02CE976}"/>
              </a:ext>
            </a:extLst>
          </p:cNvPr>
          <p:cNvGrpSpPr/>
          <p:nvPr/>
        </p:nvGrpSpPr>
        <p:grpSpPr>
          <a:xfrm>
            <a:off x="4318604" y="1385033"/>
            <a:ext cx="3560957" cy="3483034"/>
            <a:chOff x="200529" y="2201911"/>
            <a:chExt cx="3054162" cy="2987329"/>
          </a:xfrm>
          <a:solidFill>
            <a:schemeClr val="tx1">
              <a:alpha val="25000"/>
            </a:schemeClr>
          </a:solidFill>
        </p:grpSpPr>
        <p:sp>
          <p:nvSpPr>
            <p:cNvPr id="86" name="Freeform: Shape 85">
              <a:extLst>
                <a:ext uri="{FF2B5EF4-FFF2-40B4-BE49-F238E27FC236}">
                  <a16:creationId xmlns:a16="http://schemas.microsoft.com/office/drawing/2014/main" id="{A56FAE1B-EF4C-4B24-935D-5D49565E412F}"/>
                </a:ext>
              </a:extLst>
            </p:cNvPr>
            <p:cNvSpPr/>
            <p:nvPr/>
          </p:nvSpPr>
          <p:spPr>
            <a:xfrm>
              <a:off x="740492" y="2201911"/>
              <a:ext cx="951430" cy="1201370"/>
            </a:xfrm>
            <a:custGeom>
              <a:avLst/>
              <a:gdLst>
                <a:gd name="connsiteX0" fmla="*/ 25285 w 951430"/>
                <a:gd name="connsiteY0" fmla="*/ 0 h 1201370"/>
                <a:gd name="connsiteX1" fmla="*/ 66869 w 951430"/>
                <a:gd name="connsiteY1" fmla="*/ 2100 h 1201370"/>
                <a:gd name="connsiteX2" fmla="*/ 951430 w 951430"/>
                <a:gd name="connsiteY2" fmla="*/ 982314 h 1201370"/>
                <a:gd name="connsiteX3" fmla="*/ 931412 w 951430"/>
                <a:gd name="connsiteY3" fmla="*/ 1180887 h 1201370"/>
                <a:gd name="connsiteX4" fmla="*/ 926145 w 951430"/>
                <a:gd name="connsiteY4" fmla="*/ 1201370 h 1201370"/>
                <a:gd name="connsiteX5" fmla="*/ 884561 w 951430"/>
                <a:gd name="connsiteY5" fmla="*/ 1199270 h 1201370"/>
                <a:gd name="connsiteX6" fmla="*/ 0 w 951430"/>
                <a:gd name="connsiteY6" fmla="*/ 219056 h 1201370"/>
                <a:gd name="connsiteX7" fmla="*/ 20018 w 951430"/>
                <a:gd name="connsiteY7" fmla="*/ 20483 h 1201370"/>
                <a:gd name="connsiteX8" fmla="*/ 25285 w 951430"/>
                <a:gd name="connsiteY8" fmla="*/ 0 h 1201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1430" h="1201370">
                  <a:moveTo>
                    <a:pt x="25285" y="0"/>
                  </a:moveTo>
                  <a:lnTo>
                    <a:pt x="66869" y="2100"/>
                  </a:lnTo>
                  <a:cubicBezTo>
                    <a:pt x="563714" y="52557"/>
                    <a:pt x="951430" y="472158"/>
                    <a:pt x="951430" y="982314"/>
                  </a:cubicBezTo>
                  <a:cubicBezTo>
                    <a:pt x="951430" y="1050335"/>
                    <a:pt x="944537" y="1116746"/>
                    <a:pt x="931412" y="1180887"/>
                  </a:cubicBezTo>
                  <a:lnTo>
                    <a:pt x="926145" y="1201370"/>
                  </a:lnTo>
                  <a:lnTo>
                    <a:pt x="884561" y="1199270"/>
                  </a:lnTo>
                  <a:cubicBezTo>
                    <a:pt x="387716" y="1148813"/>
                    <a:pt x="0" y="729213"/>
                    <a:pt x="0" y="219056"/>
                  </a:cubicBezTo>
                  <a:cubicBezTo>
                    <a:pt x="0" y="151035"/>
                    <a:pt x="6893" y="84624"/>
                    <a:pt x="20018" y="20483"/>
                  </a:cubicBezTo>
                  <a:lnTo>
                    <a:pt x="25285" y="0"/>
                  </a:lnTo>
                  <a:close/>
                </a:path>
              </a:pathLst>
            </a:custGeom>
            <a:grpFill/>
            <a:ln w="25400" cap="flat">
              <a:solidFill>
                <a:schemeClr val="bg1"/>
              </a:solidFill>
              <a:prstDash val="solid"/>
              <a:round/>
            </a:ln>
          </p:spPr>
          <p:txBody>
            <a:bodyPr wrap="square" rtlCol="0" anchor="ctr">
              <a:noAutofit/>
            </a:bodyPr>
            <a:lstStyle/>
            <a:p>
              <a:endParaRPr lang="en-US"/>
            </a:p>
          </p:txBody>
        </p:sp>
        <p:sp>
          <p:nvSpPr>
            <p:cNvPr id="85" name="Freeform: Shape 84">
              <a:extLst>
                <a:ext uri="{FF2B5EF4-FFF2-40B4-BE49-F238E27FC236}">
                  <a16:creationId xmlns:a16="http://schemas.microsoft.com/office/drawing/2014/main" id="{B4AF82D1-A1E7-4159-B075-89D295B9E12A}"/>
                </a:ext>
              </a:extLst>
            </p:cNvPr>
            <p:cNvSpPr/>
            <p:nvPr/>
          </p:nvSpPr>
          <p:spPr>
            <a:xfrm>
              <a:off x="1759860" y="2212225"/>
              <a:ext cx="951236" cy="1191182"/>
            </a:xfrm>
            <a:custGeom>
              <a:avLst/>
              <a:gdLst>
                <a:gd name="connsiteX0" fmla="*/ 928603 w 951236"/>
                <a:gd name="connsiteY0" fmla="*/ 0 h 1191182"/>
                <a:gd name="connsiteX1" fmla="*/ 931218 w 951236"/>
                <a:gd name="connsiteY1" fmla="*/ 10169 h 1191182"/>
                <a:gd name="connsiteX2" fmla="*/ 951236 w 951236"/>
                <a:gd name="connsiteY2" fmla="*/ 208742 h 1191182"/>
                <a:gd name="connsiteX3" fmla="*/ 66675 w 951236"/>
                <a:gd name="connsiteY3" fmla="*/ 1188956 h 1191182"/>
                <a:gd name="connsiteX4" fmla="*/ 22600 w 951236"/>
                <a:gd name="connsiteY4" fmla="*/ 1191182 h 1191182"/>
                <a:gd name="connsiteX5" fmla="*/ 19999 w 951236"/>
                <a:gd name="connsiteY5" fmla="*/ 1181055 h 1191182"/>
                <a:gd name="connsiteX6" fmla="*/ 0 w 951236"/>
                <a:gd name="connsiteY6" fmla="*/ 982482 h 1191182"/>
                <a:gd name="connsiteX7" fmla="*/ 883731 w 951236"/>
                <a:gd name="connsiteY7" fmla="*/ 2268 h 1191182"/>
                <a:gd name="connsiteX8" fmla="*/ 928603 w 951236"/>
                <a:gd name="connsiteY8" fmla="*/ 0 h 1191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1236" h="1191182">
                  <a:moveTo>
                    <a:pt x="928603" y="0"/>
                  </a:moveTo>
                  <a:lnTo>
                    <a:pt x="931218" y="10169"/>
                  </a:lnTo>
                  <a:cubicBezTo>
                    <a:pt x="944343" y="74310"/>
                    <a:pt x="951236" y="140721"/>
                    <a:pt x="951236" y="208742"/>
                  </a:cubicBezTo>
                  <a:cubicBezTo>
                    <a:pt x="951236" y="718899"/>
                    <a:pt x="563520" y="1138499"/>
                    <a:pt x="66675" y="1188956"/>
                  </a:cubicBezTo>
                  <a:lnTo>
                    <a:pt x="22600" y="1191182"/>
                  </a:lnTo>
                  <a:lnTo>
                    <a:pt x="19999" y="1181055"/>
                  </a:lnTo>
                  <a:cubicBezTo>
                    <a:pt x="6886" y="1116914"/>
                    <a:pt x="0" y="1050503"/>
                    <a:pt x="0" y="982482"/>
                  </a:cubicBezTo>
                  <a:cubicBezTo>
                    <a:pt x="0" y="472326"/>
                    <a:pt x="387353" y="52725"/>
                    <a:pt x="883731" y="2268"/>
                  </a:cubicBezTo>
                  <a:lnTo>
                    <a:pt x="928603" y="0"/>
                  </a:lnTo>
                  <a:close/>
                </a:path>
              </a:pathLst>
            </a:custGeom>
            <a:grpFill/>
            <a:ln w="25400" cap="flat">
              <a:solidFill>
                <a:schemeClr val="bg1"/>
              </a:solidFill>
              <a:prstDash val="solid"/>
              <a:round/>
            </a:ln>
          </p:spPr>
          <p:txBody>
            <a:bodyPr wrap="square" rtlCol="0" anchor="ctr">
              <a:noAutofit/>
            </a:bodyPr>
            <a:lstStyle/>
            <a:p>
              <a:endParaRPr lang="en-US"/>
            </a:p>
          </p:txBody>
        </p:sp>
        <p:sp>
          <p:nvSpPr>
            <p:cNvPr id="83" name="Freeform: Shape 82">
              <a:extLst>
                <a:ext uri="{FF2B5EF4-FFF2-40B4-BE49-F238E27FC236}">
                  <a16:creationId xmlns:a16="http://schemas.microsoft.com/office/drawing/2014/main" id="{53E0BF95-2474-4EB5-9B7D-2AACAC5FDFDC}"/>
                </a:ext>
              </a:extLst>
            </p:cNvPr>
            <p:cNvSpPr/>
            <p:nvPr/>
          </p:nvSpPr>
          <p:spPr>
            <a:xfrm>
              <a:off x="200529" y="3451732"/>
              <a:ext cx="1401901" cy="717794"/>
            </a:xfrm>
            <a:custGeom>
              <a:avLst/>
              <a:gdLst>
                <a:gd name="connsiteX0" fmla="*/ 895810 w 1401901"/>
                <a:gd name="connsiteY0" fmla="*/ 0 h 717794"/>
                <a:gd name="connsiteX1" fmla="*/ 1365463 w 1401901"/>
                <a:gd name="connsiteY1" fmla="*/ 118920 h 717794"/>
                <a:gd name="connsiteX2" fmla="*/ 1401901 w 1401901"/>
                <a:gd name="connsiteY2" fmla="*/ 141057 h 717794"/>
                <a:gd name="connsiteX3" fmla="*/ 1372472 w 1401901"/>
                <a:gd name="connsiteY3" fmla="*/ 202146 h 717794"/>
                <a:gd name="connsiteX4" fmla="*/ 506091 w 1401901"/>
                <a:gd name="connsiteY4" fmla="*/ 717794 h 717794"/>
                <a:gd name="connsiteX5" fmla="*/ 36438 w 1401901"/>
                <a:gd name="connsiteY5" fmla="*/ 598874 h 717794"/>
                <a:gd name="connsiteX6" fmla="*/ 0 w 1401901"/>
                <a:gd name="connsiteY6" fmla="*/ 576738 h 717794"/>
                <a:gd name="connsiteX7" fmla="*/ 29429 w 1401901"/>
                <a:gd name="connsiteY7" fmla="*/ 515648 h 717794"/>
                <a:gd name="connsiteX8" fmla="*/ 895810 w 1401901"/>
                <a:gd name="connsiteY8" fmla="*/ 0 h 71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1901" h="717794">
                  <a:moveTo>
                    <a:pt x="895810" y="0"/>
                  </a:moveTo>
                  <a:cubicBezTo>
                    <a:pt x="1065862" y="0"/>
                    <a:pt x="1225853" y="43080"/>
                    <a:pt x="1365463" y="118920"/>
                  </a:cubicBezTo>
                  <a:lnTo>
                    <a:pt x="1401901" y="141057"/>
                  </a:lnTo>
                  <a:lnTo>
                    <a:pt x="1372472" y="202146"/>
                  </a:lnTo>
                  <a:cubicBezTo>
                    <a:pt x="1205622" y="509289"/>
                    <a:pt x="880206" y="717794"/>
                    <a:pt x="506091" y="717794"/>
                  </a:cubicBezTo>
                  <a:cubicBezTo>
                    <a:pt x="336039" y="717794"/>
                    <a:pt x="176048" y="674715"/>
                    <a:pt x="36438" y="598874"/>
                  </a:cubicBezTo>
                  <a:lnTo>
                    <a:pt x="0" y="576738"/>
                  </a:lnTo>
                  <a:lnTo>
                    <a:pt x="29429" y="515648"/>
                  </a:lnTo>
                  <a:cubicBezTo>
                    <a:pt x="196279" y="208505"/>
                    <a:pt x="521695" y="0"/>
                    <a:pt x="895810" y="0"/>
                  </a:cubicBezTo>
                  <a:close/>
                </a:path>
              </a:pathLst>
            </a:custGeom>
            <a:grpFill/>
            <a:ln w="25400" cap="flat">
              <a:solidFill>
                <a:schemeClr val="bg1"/>
              </a:solidFill>
              <a:prstDash val="solid"/>
              <a:round/>
            </a:ln>
          </p:spPr>
          <p:txBody>
            <a:bodyPr wrap="square" rtlCol="0" anchor="ctr">
              <a:noAutofit/>
            </a:bodyPr>
            <a:lstStyle/>
            <a:p>
              <a:endParaRPr lang="en-US"/>
            </a:p>
          </p:txBody>
        </p:sp>
        <p:sp>
          <p:nvSpPr>
            <p:cNvPr id="82" name="Freeform: Shape 81">
              <a:extLst>
                <a:ext uri="{FF2B5EF4-FFF2-40B4-BE49-F238E27FC236}">
                  <a16:creationId xmlns:a16="http://schemas.microsoft.com/office/drawing/2014/main" id="{B749D627-76A7-456C-AE67-020AFDE890BE}"/>
                </a:ext>
              </a:extLst>
            </p:cNvPr>
            <p:cNvSpPr/>
            <p:nvPr/>
          </p:nvSpPr>
          <p:spPr>
            <a:xfrm>
              <a:off x="1845340" y="3451732"/>
              <a:ext cx="1409351" cy="728276"/>
            </a:xfrm>
            <a:custGeom>
              <a:avLst/>
              <a:gdLst>
                <a:gd name="connsiteX0" fmla="*/ 509909 w 1409351"/>
                <a:gd name="connsiteY0" fmla="*/ 0 h 728276"/>
                <a:gd name="connsiteX1" fmla="*/ 1376290 w 1409351"/>
                <a:gd name="connsiteY1" fmla="*/ 515648 h 728276"/>
                <a:gd name="connsiteX2" fmla="*/ 1409351 w 1409351"/>
                <a:gd name="connsiteY2" fmla="*/ 584278 h 728276"/>
                <a:gd name="connsiteX3" fmla="*/ 1368111 w 1409351"/>
                <a:gd name="connsiteY3" fmla="*/ 609356 h 728276"/>
                <a:gd name="connsiteX4" fmla="*/ 898898 w 1409351"/>
                <a:gd name="connsiteY4" fmla="*/ 728276 h 728276"/>
                <a:gd name="connsiteX5" fmla="*/ 33329 w 1409351"/>
                <a:gd name="connsiteY5" fmla="*/ 212628 h 728276"/>
                <a:gd name="connsiteX6" fmla="*/ 0 w 1409351"/>
                <a:gd name="connsiteY6" fmla="*/ 143376 h 728276"/>
                <a:gd name="connsiteX7" fmla="*/ 40256 w 1409351"/>
                <a:gd name="connsiteY7" fmla="*/ 118920 h 728276"/>
                <a:gd name="connsiteX8" fmla="*/ 509909 w 1409351"/>
                <a:gd name="connsiteY8" fmla="*/ 0 h 728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9351" h="728276">
                  <a:moveTo>
                    <a:pt x="509909" y="0"/>
                  </a:moveTo>
                  <a:cubicBezTo>
                    <a:pt x="884024" y="0"/>
                    <a:pt x="1209440" y="208505"/>
                    <a:pt x="1376290" y="515648"/>
                  </a:cubicBezTo>
                  <a:lnTo>
                    <a:pt x="1409351" y="584278"/>
                  </a:lnTo>
                  <a:lnTo>
                    <a:pt x="1368111" y="609356"/>
                  </a:lnTo>
                  <a:cubicBezTo>
                    <a:pt x="1228631" y="685197"/>
                    <a:pt x="1068791" y="728276"/>
                    <a:pt x="898898" y="728276"/>
                  </a:cubicBezTo>
                  <a:cubicBezTo>
                    <a:pt x="525134" y="728276"/>
                    <a:pt x="200023" y="519771"/>
                    <a:pt x="33329" y="212628"/>
                  </a:cubicBezTo>
                  <a:lnTo>
                    <a:pt x="0" y="143376"/>
                  </a:lnTo>
                  <a:lnTo>
                    <a:pt x="40256" y="118920"/>
                  </a:lnTo>
                  <a:cubicBezTo>
                    <a:pt x="179866" y="43080"/>
                    <a:pt x="339857" y="0"/>
                    <a:pt x="509909" y="0"/>
                  </a:cubicBezTo>
                  <a:close/>
                </a:path>
              </a:pathLst>
            </a:custGeom>
            <a:grpFill/>
            <a:ln w="25400" cap="flat">
              <a:solidFill>
                <a:schemeClr val="bg1"/>
              </a:solidFill>
              <a:prstDash val="solid"/>
              <a:round/>
            </a:ln>
          </p:spPr>
          <p:txBody>
            <a:bodyPr wrap="square" rtlCol="0" anchor="ctr">
              <a:noAutofit/>
            </a:bodyPr>
            <a:lstStyle/>
            <a:p>
              <a:endParaRPr lang="en-US"/>
            </a:p>
          </p:txBody>
        </p:sp>
        <p:sp>
          <p:nvSpPr>
            <p:cNvPr id="81" name="Freeform: Shape 80">
              <a:extLst>
                <a:ext uri="{FF2B5EF4-FFF2-40B4-BE49-F238E27FC236}">
                  <a16:creationId xmlns:a16="http://schemas.microsoft.com/office/drawing/2014/main" id="{B06C6367-43B6-4371-B887-47AD8907FAFA}"/>
                </a:ext>
              </a:extLst>
            </p:cNvPr>
            <p:cNvSpPr/>
            <p:nvPr/>
          </p:nvSpPr>
          <p:spPr>
            <a:xfrm>
              <a:off x="1369947" y="3684826"/>
              <a:ext cx="711694" cy="1504414"/>
            </a:xfrm>
            <a:custGeom>
              <a:avLst/>
              <a:gdLst>
                <a:gd name="connsiteX0" fmla="*/ 355847 w 711694"/>
                <a:gd name="connsiteY0" fmla="*/ 0 h 1504414"/>
                <a:gd name="connsiteX1" fmla="*/ 423106 w 711694"/>
                <a:gd name="connsiteY1" fmla="*/ 55494 h 1504414"/>
                <a:gd name="connsiteX2" fmla="*/ 711694 w 711694"/>
                <a:gd name="connsiteY2" fmla="*/ 752207 h 1504414"/>
                <a:gd name="connsiteX3" fmla="*/ 423106 w 711694"/>
                <a:gd name="connsiteY3" fmla="*/ 1448920 h 1504414"/>
                <a:gd name="connsiteX4" fmla="*/ 355847 w 711694"/>
                <a:gd name="connsiteY4" fmla="*/ 1504414 h 1504414"/>
                <a:gd name="connsiteX5" fmla="*/ 288588 w 711694"/>
                <a:gd name="connsiteY5" fmla="*/ 1448920 h 1504414"/>
                <a:gd name="connsiteX6" fmla="*/ 0 w 711694"/>
                <a:gd name="connsiteY6" fmla="*/ 752207 h 1504414"/>
                <a:gd name="connsiteX7" fmla="*/ 288588 w 711694"/>
                <a:gd name="connsiteY7" fmla="*/ 55494 h 1504414"/>
                <a:gd name="connsiteX8" fmla="*/ 355847 w 711694"/>
                <a:gd name="connsiteY8" fmla="*/ 0 h 1504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694" h="1504414">
                  <a:moveTo>
                    <a:pt x="355847" y="0"/>
                  </a:moveTo>
                  <a:lnTo>
                    <a:pt x="423106" y="55494"/>
                  </a:lnTo>
                  <a:cubicBezTo>
                    <a:pt x="601410" y="233798"/>
                    <a:pt x="711694" y="480124"/>
                    <a:pt x="711694" y="752207"/>
                  </a:cubicBezTo>
                  <a:cubicBezTo>
                    <a:pt x="711694" y="1024291"/>
                    <a:pt x="601410" y="1270616"/>
                    <a:pt x="423106" y="1448920"/>
                  </a:cubicBezTo>
                  <a:lnTo>
                    <a:pt x="355847" y="1504414"/>
                  </a:lnTo>
                  <a:lnTo>
                    <a:pt x="288588" y="1448920"/>
                  </a:lnTo>
                  <a:cubicBezTo>
                    <a:pt x="110284" y="1270616"/>
                    <a:pt x="0" y="1024291"/>
                    <a:pt x="0" y="752207"/>
                  </a:cubicBezTo>
                  <a:cubicBezTo>
                    <a:pt x="0" y="480124"/>
                    <a:pt x="110284" y="233798"/>
                    <a:pt x="288588" y="55494"/>
                  </a:cubicBezTo>
                  <a:lnTo>
                    <a:pt x="355847" y="0"/>
                  </a:lnTo>
                  <a:close/>
                </a:path>
              </a:pathLst>
            </a:custGeom>
            <a:grpFill/>
            <a:ln w="25400" cap="flat">
              <a:solidFill>
                <a:schemeClr val="bg1"/>
              </a:solidFill>
              <a:prstDash val="solid"/>
              <a:round/>
            </a:ln>
          </p:spPr>
          <p:txBody>
            <a:bodyPr wrap="square" rtlCol="0" anchor="ctr">
              <a:noAutofit/>
            </a:bodyPr>
            <a:lstStyle/>
            <a:p>
              <a:endParaRPr lang="en-US"/>
            </a:p>
          </p:txBody>
        </p:sp>
      </p:grpSp>
      <p:sp>
        <p:nvSpPr>
          <p:cNvPr id="47" name="Oval 46">
            <a:extLst>
              <a:ext uri="{FF2B5EF4-FFF2-40B4-BE49-F238E27FC236}">
                <a16:creationId xmlns:a16="http://schemas.microsoft.com/office/drawing/2014/main" id="{77761525-5F6D-4322-AE21-01544F7160A7}"/>
              </a:ext>
            </a:extLst>
          </p:cNvPr>
          <p:cNvSpPr/>
          <p:nvPr/>
        </p:nvSpPr>
        <p:spPr>
          <a:xfrm>
            <a:off x="5103009" y="1916191"/>
            <a:ext cx="1994468" cy="1990004"/>
          </a:xfrm>
          <a:prstGeom prst="ellipse">
            <a:avLst/>
          </a:prstGeom>
          <a:solidFill>
            <a:schemeClr val="bg1"/>
          </a:solidFill>
          <a:ln w="25400" cap="flat">
            <a:noFill/>
            <a:prstDash val="solid"/>
            <a:miter lim="400000"/>
          </a:ln>
          <a:effectLst>
            <a:outerShdw blurRad="787400" dist="114300" dir="2700000" algn="tl" rotWithShape="0">
              <a:schemeClr val="tx2">
                <a:alpha val="40000"/>
              </a:schemeClr>
            </a:outerShdw>
          </a:effectLst>
        </p:spPr>
        <p:txBody>
          <a:bodyPr wrap="square" lIns="0" tIns="0" rIns="0" bIns="0" numCol="1" anchor="ctr" anchorCtr="0">
            <a:noAutofit/>
          </a:bodyPr>
          <a:lstStyle/>
          <a:p>
            <a:pPr algn="ctr" defTabSz="914172" eaLnBrk="0" fontAlgn="base" hangingPunct="0">
              <a:lnSpc>
                <a:spcPts val="2600"/>
              </a:lnSpc>
              <a:spcBef>
                <a:spcPct val="0"/>
              </a:spcBef>
              <a:spcAft>
                <a:spcPct val="0"/>
              </a:spcAft>
            </a:pPr>
            <a:r>
              <a:rPr lang="en-US" altLang="en-US" sz="1900" b="1" spc="-75" dirty="0">
                <a:solidFill>
                  <a:schemeClr val="tx2"/>
                </a:solidFill>
                <a:latin typeface="Montserrat" panose="00000500000000000000" pitchFamily="50" charset="0"/>
              </a:rPr>
              <a:t>Our</a:t>
            </a:r>
          </a:p>
          <a:p>
            <a:pPr algn="ctr" defTabSz="914172" eaLnBrk="0" fontAlgn="base" hangingPunct="0">
              <a:lnSpc>
                <a:spcPts val="2600"/>
              </a:lnSpc>
              <a:spcBef>
                <a:spcPct val="0"/>
              </a:spcBef>
              <a:spcAft>
                <a:spcPct val="0"/>
              </a:spcAft>
            </a:pPr>
            <a:r>
              <a:rPr lang="en-US" altLang="en-US" sz="1900" b="1" spc="-75" dirty="0">
                <a:solidFill>
                  <a:schemeClr val="tx2"/>
                </a:solidFill>
                <a:latin typeface="Montserrat" panose="00000500000000000000" pitchFamily="50" charset="0"/>
              </a:rPr>
              <a:t>Philosophy</a:t>
            </a:r>
          </a:p>
        </p:txBody>
      </p:sp>
      <p:cxnSp>
        <p:nvCxnSpPr>
          <p:cNvPr id="75" name="Straight Connector 74">
            <a:extLst>
              <a:ext uri="{FF2B5EF4-FFF2-40B4-BE49-F238E27FC236}">
                <a16:creationId xmlns:a16="http://schemas.microsoft.com/office/drawing/2014/main" id="{A5A67ED7-9953-47E9-BFFE-C1EBAE736A9E}"/>
              </a:ext>
            </a:extLst>
          </p:cNvPr>
          <p:cNvCxnSpPr>
            <a:cxnSpLocks/>
          </p:cNvCxnSpPr>
          <p:nvPr/>
        </p:nvCxnSpPr>
        <p:spPr>
          <a:xfrm>
            <a:off x="7846759" y="3494237"/>
            <a:ext cx="660843" cy="217456"/>
          </a:xfrm>
          <a:prstGeom prst="line">
            <a:avLst/>
          </a:prstGeom>
          <a:ln w="31750" cap="rnd">
            <a:gradFill>
              <a:gsLst>
                <a:gs pos="0">
                  <a:srgbClr val="7293B8">
                    <a:alpha val="0"/>
                  </a:srgbClr>
                </a:gs>
                <a:gs pos="100000">
                  <a:srgbClr val="7293B8"/>
                </a:gs>
              </a:gsLst>
              <a:lin ang="5400000" scaled="1"/>
            </a:gradFill>
            <a:prstDash val="solid"/>
            <a:round/>
            <a:headEnd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4B2E782-D4A7-46AA-B2D8-7800EC3C7D37}"/>
              </a:ext>
            </a:extLst>
          </p:cNvPr>
          <p:cNvCxnSpPr>
            <a:cxnSpLocks/>
          </p:cNvCxnSpPr>
          <p:nvPr/>
        </p:nvCxnSpPr>
        <p:spPr>
          <a:xfrm flipH="1">
            <a:off x="3684398" y="3494237"/>
            <a:ext cx="660843" cy="217456"/>
          </a:xfrm>
          <a:prstGeom prst="line">
            <a:avLst/>
          </a:prstGeom>
          <a:ln w="31750" cap="rnd">
            <a:gradFill>
              <a:gsLst>
                <a:gs pos="0">
                  <a:srgbClr val="60A0A0">
                    <a:alpha val="0"/>
                  </a:srgbClr>
                </a:gs>
                <a:gs pos="100000">
                  <a:srgbClr val="60A0A0"/>
                </a:gs>
              </a:gsLst>
              <a:lin ang="5400000" scaled="1"/>
            </a:gradFill>
            <a:prstDash val="solid"/>
            <a:round/>
            <a:headEnd w="med" len="med"/>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FD923A92-F511-4902-9849-5FFFEDCF3B74}"/>
              </a:ext>
            </a:extLst>
          </p:cNvPr>
          <p:cNvCxnSpPr>
            <a:cxnSpLocks/>
          </p:cNvCxnSpPr>
          <p:nvPr/>
        </p:nvCxnSpPr>
        <p:spPr>
          <a:xfrm>
            <a:off x="6096000" y="4740027"/>
            <a:ext cx="0" cy="761671"/>
          </a:xfrm>
          <a:prstGeom prst="line">
            <a:avLst/>
          </a:prstGeom>
          <a:ln w="31750" cap="rnd">
            <a:gradFill>
              <a:gsLst>
                <a:gs pos="0">
                  <a:srgbClr val="58A7AE">
                    <a:alpha val="0"/>
                  </a:srgbClr>
                </a:gs>
                <a:gs pos="100000">
                  <a:srgbClr val="58A7AE"/>
                </a:gs>
              </a:gsLst>
              <a:lin ang="5400000" scaled="1"/>
            </a:gradFill>
            <a:prstDash val="solid"/>
            <a:round/>
            <a:headEnd w="med" len="med"/>
            <a:tailEnd type="arrow" w="sm" len="sm"/>
          </a:ln>
        </p:spPr>
        <p:style>
          <a:lnRef idx="1">
            <a:schemeClr val="accent1"/>
          </a:lnRef>
          <a:fillRef idx="0">
            <a:schemeClr val="accent1"/>
          </a:fillRef>
          <a:effectRef idx="0">
            <a:schemeClr val="accent1"/>
          </a:effectRef>
          <a:fontRef idx="minor">
            <a:schemeClr val="tx1"/>
          </a:fontRef>
        </p:style>
      </p:cxnSp>
      <p:sp>
        <p:nvSpPr>
          <p:cNvPr id="12" name="Graphic 10">
            <a:extLst>
              <a:ext uri="{FF2B5EF4-FFF2-40B4-BE49-F238E27FC236}">
                <a16:creationId xmlns:a16="http://schemas.microsoft.com/office/drawing/2014/main" id="{55906A70-F8CE-4CB8-BDF0-50FF23F78B23}"/>
              </a:ext>
            </a:extLst>
          </p:cNvPr>
          <p:cNvSpPr/>
          <p:nvPr/>
        </p:nvSpPr>
        <p:spPr>
          <a:xfrm>
            <a:off x="7217666" y="936075"/>
            <a:ext cx="1074730" cy="443326"/>
          </a:xfrm>
          <a:custGeom>
            <a:avLst/>
            <a:gdLst>
              <a:gd name="connsiteX0" fmla="*/ 0 w 762000"/>
              <a:gd name="connsiteY0" fmla="*/ 322993 h 314325"/>
              <a:gd name="connsiteX1" fmla="*/ 146780 w 762000"/>
              <a:gd name="connsiteY1" fmla="*/ 128207 h 314325"/>
              <a:gd name="connsiteX2" fmla="*/ 404146 w 762000"/>
              <a:gd name="connsiteY2" fmla="*/ 0 h 314325"/>
              <a:gd name="connsiteX3" fmla="*/ 770287 w 762000"/>
              <a:gd name="connsiteY3" fmla="*/ 0 h 314325"/>
            </a:gdLst>
            <a:ahLst/>
            <a:cxnLst>
              <a:cxn ang="0">
                <a:pos x="connsiteX0" y="connsiteY0"/>
              </a:cxn>
              <a:cxn ang="0">
                <a:pos x="connsiteX1" y="connsiteY1"/>
              </a:cxn>
              <a:cxn ang="0">
                <a:pos x="connsiteX2" y="connsiteY2"/>
              </a:cxn>
              <a:cxn ang="0">
                <a:pos x="connsiteX3" y="connsiteY3"/>
              </a:cxn>
            </a:cxnLst>
            <a:rect l="l" t="t" r="r" b="b"/>
            <a:pathLst>
              <a:path w="762000" h="314325">
                <a:moveTo>
                  <a:pt x="0" y="322993"/>
                </a:moveTo>
                <a:lnTo>
                  <a:pt x="146780" y="128207"/>
                </a:lnTo>
                <a:cubicBezTo>
                  <a:pt x="207740" y="47530"/>
                  <a:pt x="302990" y="0"/>
                  <a:pt x="404146" y="0"/>
                </a:cubicBezTo>
                <a:lnTo>
                  <a:pt x="770287" y="0"/>
                </a:lnTo>
              </a:path>
            </a:pathLst>
          </a:custGeom>
          <a:ln w="31750" cap="rnd">
            <a:gradFill>
              <a:gsLst>
                <a:gs pos="0">
                  <a:srgbClr val="6E7AB5">
                    <a:alpha val="0"/>
                  </a:srgbClr>
                </a:gs>
                <a:gs pos="100000">
                  <a:srgbClr val="6E7AB5"/>
                </a:gs>
              </a:gsLst>
              <a:lin ang="0" scaled="0"/>
            </a:gradFill>
            <a:prstDash val="solid"/>
            <a:round/>
            <a:headEnd w="med" len="med"/>
            <a:tailEnd type="arrow" w="sm" len="sm"/>
          </a:ln>
        </p:spPr>
        <p:style>
          <a:lnRef idx="1">
            <a:schemeClr val="accent1"/>
          </a:lnRef>
          <a:fillRef idx="0">
            <a:schemeClr val="accent1"/>
          </a:fillRef>
          <a:effectRef idx="0">
            <a:schemeClr val="accent1"/>
          </a:effectRef>
          <a:fontRef idx="minor">
            <a:schemeClr val="tx1"/>
          </a:fontRef>
        </p:style>
        <p:txBody>
          <a:bodyPr rtlCol="0" anchor="ctr"/>
          <a:lstStyle/>
          <a:p>
            <a:endParaRPr lang="en-US"/>
          </a:p>
        </p:txBody>
      </p:sp>
      <p:sp>
        <p:nvSpPr>
          <p:cNvPr id="96" name="Graphic 10">
            <a:extLst>
              <a:ext uri="{FF2B5EF4-FFF2-40B4-BE49-F238E27FC236}">
                <a16:creationId xmlns:a16="http://schemas.microsoft.com/office/drawing/2014/main" id="{BB69D103-C389-45F5-A3B8-58ABEB23469D}"/>
              </a:ext>
            </a:extLst>
          </p:cNvPr>
          <p:cNvSpPr/>
          <p:nvPr/>
        </p:nvSpPr>
        <p:spPr>
          <a:xfrm flipH="1">
            <a:off x="3904239" y="936075"/>
            <a:ext cx="1074730" cy="443326"/>
          </a:xfrm>
          <a:custGeom>
            <a:avLst/>
            <a:gdLst>
              <a:gd name="connsiteX0" fmla="*/ 0 w 762000"/>
              <a:gd name="connsiteY0" fmla="*/ 322993 h 314325"/>
              <a:gd name="connsiteX1" fmla="*/ 146780 w 762000"/>
              <a:gd name="connsiteY1" fmla="*/ 128207 h 314325"/>
              <a:gd name="connsiteX2" fmla="*/ 404146 w 762000"/>
              <a:gd name="connsiteY2" fmla="*/ 0 h 314325"/>
              <a:gd name="connsiteX3" fmla="*/ 770287 w 762000"/>
              <a:gd name="connsiteY3" fmla="*/ 0 h 314325"/>
            </a:gdLst>
            <a:ahLst/>
            <a:cxnLst>
              <a:cxn ang="0">
                <a:pos x="connsiteX0" y="connsiteY0"/>
              </a:cxn>
              <a:cxn ang="0">
                <a:pos x="connsiteX1" y="connsiteY1"/>
              </a:cxn>
              <a:cxn ang="0">
                <a:pos x="connsiteX2" y="connsiteY2"/>
              </a:cxn>
              <a:cxn ang="0">
                <a:pos x="connsiteX3" y="connsiteY3"/>
              </a:cxn>
            </a:cxnLst>
            <a:rect l="l" t="t" r="r" b="b"/>
            <a:pathLst>
              <a:path w="762000" h="314325">
                <a:moveTo>
                  <a:pt x="0" y="322993"/>
                </a:moveTo>
                <a:lnTo>
                  <a:pt x="146780" y="128207"/>
                </a:lnTo>
                <a:cubicBezTo>
                  <a:pt x="207740" y="47530"/>
                  <a:pt x="302990" y="0"/>
                  <a:pt x="404146" y="0"/>
                </a:cubicBezTo>
                <a:lnTo>
                  <a:pt x="770287" y="0"/>
                </a:lnTo>
              </a:path>
            </a:pathLst>
          </a:custGeom>
          <a:ln w="31750" cap="rnd">
            <a:gradFill>
              <a:gsLst>
                <a:gs pos="0">
                  <a:srgbClr val="6476A4">
                    <a:alpha val="0"/>
                  </a:srgbClr>
                </a:gs>
                <a:gs pos="100000">
                  <a:srgbClr val="6476A4"/>
                </a:gs>
              </a:gsLst>
              <a:lin ang="0" scaled="0"/>
            </a:gradFill>
            <a:prstDash val="solid"/>
            <a:round/>
            <a:headEnd w="med" len="med"/>
            <a:tailEnd type="arrow" w="sm" len="sm"/>
          </a:ln>
        </p:spPr>
        <p:style>
          <a:lnRef idx="1">
            <a:schemeClr val="accent1"/>
          </a:lnRef>
          <a:fillRef idx="0">
            <a:schemeClr val="accent1"/>
          </a:fillRef>
          <a:effectRef idx="0">
            <a:schemeClr val="accent1"/>
          </a:effectRef>
          <a:fontRef idx="minor">
            <a:schemeClr val="tx1"/>
          </a:fontRef>
        </p:style>
        <p:txBody>
          <a:bodyPr rtlCol="0" anchor="ctr"/>
          <a:lstStyle/>
          <a:p>
            <a:endParaRPr lang="en-US"/>
          </a:p>
        </p:txBody>
      </p:sp>
      <p:sp>
        <p:nvSpPr>
          <p:cNvPr id="98" name="Rectangle 97">
            <a:extLst>
              <a:ext uri="{FF2B5EF4-FFF2-40B4-BE49-F238E27FC236}">
                <a16:creationId xmlns:a16="http://schemas.microsoft.com/office/drawing/2014/main" id="{ED4FA629-AEE1-4AD0-9F37-2AACFA7846E4}"/>
              </a:ext>
            </a:extLst>
          </p:cNvPr>
          <p:cNvSpPr/>
          <p:nvPr/>
        </p:nvSpPr>
        <p:spPr>
          <a:xfrm>
            <a:off x="8877727" y="835479"/>
            <a:ext cx="1137573" cy="246221"/>
          </a:xfrm>
          <a:prstGeom prst="rect">
            <a:avLst/>
          </a:prstGeom>
        </p:spPr>
        <p:txBody>
          <a:bodyPr wrap="square" lIns="0" tIns="0" rIns="0" bIns="0" anchor="ctr">
            <a:spAutoFit/>
          </a:bodyPr>
          <a:lstStyle/>
          <a:p>
            <a:r>
              <a:rPr lang="en-US" sz="1600" b="1" dirty="0">
                <a:solidFill>
                  <a:srgbClr val="6977B4"/>
                </a:solidFill>
                <a:latin typeface="Montserrat" panose="00000500000000000000" pitchFamily="50" charset="0"/>
              </a:rPr>
              <a:t>Planning</a:t>
            </a:r>
          </a:p>
        </p:txBody>
      </p:sp>
      <p:sp>
        <p:nvSpPr>
          <p:cNvPr id="99" name="Rectangle 98">
            <a:extLst>
              <a:ext uri="{FF2B5EF4-FFF2-40B4-BE49-F238E27FC236}">
                <a16:creationId xmlns:a16="http://schemas.microsoft.com/office/drawing/2014/main" id="{959942CF-BC19-4C47-9C24-7D7932BF8DC7}"/>
              </a:ext>
            </a:extLst>
          </p:cNvPr>
          <p:cNvSpPr/>
          <p:nvPr/>
        </p:nvSpPr>
        <p:spPr>
          <a:xfrm>
            <a:off x="8877727" y="1196744"/>
            <a:ext cx="2743200" cy="414665"/>
          </a:xfrm>
          <a:prstGeom prst="rect">
            <a:avLst/>
          </a:prstGeom>
        </p:spPr>
        <p:txBody>
          <a:bodyPr wrap="square" lIns="0" tIns="0" rIns="0" bIns="0">
            <a:spAutoFit/>
          </a:bodyPr>
          <a:lstStyle/>
          <a:p>
            <a:pPr>
              <a:lnSpc>
                <a:spcPts val="1700"/>
              </a:lnSpc>
            </a:pPr>
            <a:r>
              <a:rPr lang="en-US" sz="1100" dirty="0">
                <a:latin typeface="Montserrat" panose="00000500000000000000" pitchFamily="50" charset="0"/>
              </a:rPr>
              <a:t>The overlapping area shows where the two sets have something in common.</a:t>
            </a:r>
          </a:p>
        </p:txBody>
      </p:sp>
      <p:sp>
        <p:nvSpPr>
          <p:cNvPr id="101" name="Rectangle 100">
            <a:extLst>
              <a:ext uri="{FF2B5EF4-FFF2-40B4-BE49-F238E27FC236}">
                <a16:creationId xmlns:a16="http://schemas.microsoft.com/office/drawing/2014/main" id="{C990567C-7EB9-47AA-9D16-37FCFBC7D89B}"/>
              </a:ext>
            </a:extLst>
          </p:cNvPr>
          <p:cNvSpPr/>
          <p:nvPr/>
        </p:nvSpPr>
        <p:spPr>
          <a:xfrm>
            <a:off x="8877727" y="3711693"/>
            <a:ext cx="1676558" cy="246221"/>
          </a:xfrm>
          <a:prstGeom prst="rect">
            <a:avLst/>
          </a:prstGeom>
        </p:spPr>
        <p:txBody>
          <a:bodyPr wrap="square" lIns="0" tIns="0" rIns="0" bIns="0" anchor="ctr">
            <a:spAutoFit/>
          </a:bodyPr>
          <a:lstStyle/>
          <a:p>
            <a:r>
              <a:rPr lang="en-US" sz="1600" b="1" dirty="0">
                <a:solidFill>
                  <a:srgbClr val="7293B8"/>
                </a:solidFill>
                <a:latin typeface="Montserrat" panose="00000500000000000000" pitchFamily="50" charset="0"/>
              </a:rPr>
              <a:t>Social Media</a:t>
            </a:r>
          </a:p>
        </p:txBody>
      </p:sp>
      <p:sp>
        <p:nvSpPr>
          <p:cNvPr id="102" name="Rectangle 101">
            <a:extLst>
              <a:ext uri="{FF2B5EF4-FFF2-40B4-BE49-F238E27FC236}">
                <a16:creationId xmlns:a16="http://schemas.microsoft.com/office/drawing/2014/main" id="{8ECD73C8-EF5B-4419-93CF-4AC532DBF651}"/>
              </a:ext>
            </a:extLst>
          </p:cNvPr>
          <p:cNvSpPr/>
          <p:nvPr/>
        </p:nvSpPr>
        <p:spPr>
          <a:xfrm>
            <a:off x="8877727" y="4072958"/>
            <a:ext cx="2956494" cy="414665"/>
          </a:xfrm>
          <a:prstGeom prst="rect">
            <a:avLst/>
          </a:prstGeom>
        </p:spPr>
        <p:txBody>
          <a:bodyPr wrap="square" lIns="0" tIns="0" rIns="0" bIns="0">
            <a:spAutoFit/>
          </a:bodyPr>
          <a:lstStyle/>
          <a:p>
            <a:pPr>
              <a:lnSpc>
                <a:spcPts val="1700"/>
              </a:lnSpc>
            </a:pPr>
            <a:r>
              <a:rPr lang="en-US" sz="1100" dirty="0">
                <a:latin typeface="Montserrat" panose="00000500000000000000" pitchFamily="50" charset="0"/>
              </a:rPr>
              <a:t>A Venn diagram shows the similarities and differences between two sets of data. </a:t>
            </a:r>
          </a:p>
        </p:txBody>
      </p:sp>
      <p:sp>
        <p:nvSpPr>
          <p:cNvPr id="108" name="Rectangle 107">
            <a:extLst>
              <a:ext uri="{FF2B5EF4-FFF2-40B4-BE49-F238E27FC236}">
                <a16:creationId xmlns:a16="http://schemas.microsoft.com/office/drawing/2014/main" id="{CBA84421-5335-43D9-97AF-2EA4BBD0783B}"/>
              </a:ext>
            </a:extLst>
          </p:cNvPr>
          <p:cNvSpPr/>
          <p:nvPr/>
        </p:nvSpPr>
        <p:spPr>
          <a:xfrm flipH="1">
            <a:off x="1016675" y="835479"/>
            <a:ext cx="2297598" cy="246221"/>
          </a:xfrm>
          <a:prstGeom prst="rect">
            <a:avLst/>
          </a:prstGeom>
        </p:spPr>
        <p:txBody>
          <a:bodyPr wrap="square" lIns="0" tIns="0" rIns="0" bIns="0" anchor="ctr">
            <a:spAutoFit/>
          </a:bodyPr>
          <a:lstStyle/>
          <a:p>
            <a:pPr algn="r"/>
            <a:r>
              <a:rPr lang="en-US" sz="1600" b="1" dirty="0">
                <a:solidFill>
                  <a:srgbClr val="6476A4"/>
                </a:solidFill>
                <a:latin typeface="Montserrat" panose="00000500000000000000" pitchFamily="50" charset="0"/>
              </a:rPr>
              <a:t>Winning Mentality</a:t>
            </a:r>
          </a:p>
        </p:txBody>
      </p:sp>
      <p:sp>
        <p:nvSpPr>
          <p:cNvPr id="109" name="Rectangle 108">
            <a:extLst>
              <a:ext uri="{FF2B5EF4-FFF2-40B4-BE49-F238E27FC236}">
                <a16:creationId xmlns:a16="http://schemas.microsoft.com/office/drawing/2014/main" id="{FB50B06A-00D1-41FD-A07D-29475C55C6DD}"/>
              </a:ext>
            </a:extLst>
          </p:cNvPr>
          <p:cNvSpPr/>
          <p:nvPr/>
        </p:nvSpPr>
        <p:spPr>
          <a:xfrm flipH="1">
            <a:off x="357779" y="1196744"/>
            <a:ext cx="2956494" cy="414665"/>
          </a:xfrm>
          <a:prstGeom prst="rect">
            <a:avLst/>
          </a:prstGeom>
        </p:spPr>
        <p:txBody>
          <a:bodyPr wrap="square" lIns="0" tIns="0" rIns="0" bIns="0">
            <a:spAutoFit/>
          </a:bodyPr>
          <a:lstStyle/>
          <a:p>
            <a:pPr algn="r">
              <a:lnSpc>
                <a:spcPts val="1700"/>
              </a:lnSpc>
            </a:pPr>
            <a:r>
              <a:rPr lang="en-US" sz="1100" dirty="0">
                <a:latin typeface="Montserrat" panose="00000500000000000000" pitchFamily="50" charset="0"/>
              </a:rPr>
              <a:t>A Venn diagram shows the similarities and differences between two sets of data. </a:t>
            </a:r>
          </a:p>
        </p:txBody>
      </p:sp>
      <p:sp>
        <p:nvSpPr>
          <p:cNvPr id="106" name="Rectangle 105">
            <a:extLst>
              <a:ext uri="{FF2B5EF4-FFF2-40B4-BE49-F238E27FC236}">
                <a16:creationId xmlns:a16="http://schemas.microsoft.com/office/drawing/2014/main" id="{36028207-05D5-463A-806A-BF7859058F1E}"/>
              </a:ext>
            </a:extLst>
          </p:cNvPr>
          <p:cNvSpPr/>
          <p:nvPr/>
        </p:nvSpPr>
        <p:spPr>
          <a:xfrm flipH="1">
            <a:off x="1637715" y="3711693"/>
            <a:ext cx="1676558" cy="246221"/>
          </a:xfrm>
          <a:prstGeom prst="rect">
            <a:avLst/>
          </a:prstGeom>
        </p:spPr>
        <p:txBody>
          <a:bodyPr wrap="square" lIns="0" tIns="0" rIns="0" bIns="0" anchor="ctr">
            <a:spAutoFit/>
          </a:bodyPr>
          <a:lstStyle/>
          <a:p>
            <a:pPr algn="r"/>
            <a:r>
              <a:rPr lang="en-US" sz="1600" b="1" dirty="0">
                <a:solidFill>
                  <a:srgbClr val="60A0A0"/>
                </a:solidFill>
                <a:latin typeface="Montserrat" panose="00000500000000000000" pitchFamily="50" charset="0"/>
              </a:rPr>
              <a:t>Deep Analysis</a:t>
            </a:r>
          </a:p>
        </p:txBody>
      </p:sp>
      <p:sp>
        <p:nvSpPr>
          <p:cNvPr id="107" name="Rectangle 106">
            <a:extLst>
              <a:ext uri="{FF2B5EF4-FFF2-40B4-BE49-F238E27FC236}">
                <a16:creationId xmlns:a16="http://schemas.microsoft.com/office/drawing/2014/main" id="{EEEF1122-D5AC-4F0F-ABA2-469F0B5D9770}"/>
              </a:ext>
            </a:extLst>
          </p:cNvPr>
          <p:cNvSpPr/>
          <p:nvPr/>
        </p:nvSpPr>
        <p:spPr>
          <a:xfrm flipH="1">
            <a:off x="357779" y="4072958"/>
            <a:ext cx="2956494" cy="414665"/>
          </a:xfrm>
          <a:prstGeom prst="rect">
            <a:avLst/>
          </a:prstGeom>
        </p:spPr>
        <p:txBody>
          <a:bodyPr wrap="square" lIns="0" tIns="0" rIns="0" bIns="0">
            <a:spAutoFit/>
          </a:bodyPr>
          <a:lstStyle/>
          <a:p>
            <a:pPr algn="r">
              <a:lnSpc>
                <a:spcPts val="1700"/>
              </a:lnSpc>
            </a:pPr>
            <a:r>
              <a:rPr lang="en-US" sz="1100" dirty="0">
                <a:latin typeface="Montserrat" panose="00000500000000000000" pitchFamily="50" charset="0"/>
              </a:rPr>
              <a:t>The overlapping area shows where the two sets have something in common.</a:t>
            </a:r>
          </a:p>
        </p:txBody>
      </p:sp>
      <p:sp>
        <p:nvSpPr>
          <p:cNvPr id="111" name="Rectangle 110">
            <a:extLst>
              <a:ext uri="{FF2B5EF4-FFF2-40B4-BE49-F238E27FC236}">
                <a16:creationId xmlns:a16="http://schemas.microsoft.com/office/drawing/2014/main" id="{AE5DF9BA-F943-4E52-8CE7-FC812D92E950}"/>
              </a:ext>
            </a:extLst>
          </p:cNvPr>
          <p:cNvSpPr/>
          <p:nvPr/>
        </p:nvSpPr>
        <p:spPr>
          <a:xfrm flipH="1">
            <a:off x="4947093" y="5648486"/>
            <a:ext cx="2297598" cy="246221"/>
          </a:xfrm>
          <a:prstGeom prst="rect">
            <a:avLst/>
          </a:prstGeom>
        </p:spPr>
        <p:txBody>
          <a:bodyPr wrap="square" lIns="0" tIns="0" rIns="0" bIns="0" anchor="ctr">
            <a:spAutoFit/>
          </a:bodyPr>
          <a:lstStyle/>
          <a:p>
            <a:pPr algn="ctr"/>
            <a:r>
              <a:rPr lang="en-US" sz="1600" b="1" dirty="0">
                <a:solidFill>
                  <a:srgbClr val="58A7AE"/>
                </a:solidFill>
                <a:latin typeface="Montserrat" panose="00000500000000000000" pitchFamily="50" charset="0"/>
              </a:rPr>
              <a:t>Brainstorm</a:t>
            </a:r>
          </a:p>
        </p:txBody>
      </p:sp>
      <p:sp>
        <p:nvSpPr>
          <p:cNvPr id="112" name="Rectangle 111">
            <a:extLst>
              <a:ext uri="{FF2B5EF4-FFF2-40B4-BE49-F238E27FC236}">
                <a16:creationId xmlns:a16="http://schemas.microsoft.com/office/drawing/2014/main" id="{77608280-41A6-4771-BD88-BC06B5E13936}"/>
              </a:ext>
            </a:extLst>
          </p:cNvPr>
          <p:cNvSpPr/>
          <p:nvPr/>
        </p:nvSpPr>
        <p:spPr>
          <a:xfrm flipH="1">
            <a:off x="4617645" y="6009751"/>
            <a:ext cx="2956494" cy="414665"/>
          </a:xfrm>
          <a:prstGeom prst="rect">
            <a:avLst/>
          </a:prstGeom>
        </p:spPr>
        <p:txBody>
          <a:bodyPr wrap="square" lIns="0" tIns="0" rIns="0" bIns="0">
            <a:spAutoFit/>
          </a:bodyPr>
          <a:lstStyle/>
          <a:p>
            <a:pPr algn="ctr">
              <a:lnSpc>
                <a:spcPts val="1700"/>
              </a:lnSpc>
            </a:pPr>
            <a:r>
              <a:rPr lang="en-US" sz="1100" dirty="0">
                <a:latin typeface="Montserrat" panose="00000500000000000000" pitchFamily="50" charset="0"/>
              </a:rPr>
              <a:t>The overlapping area shows where the two sets have something in common.</a:t>
            </a:r>
          </a:p>
        </p:txBody>
      </p:sp>
    </p:spTree>
    <p:extLst>
      <p:ext uri="{BB962C8B-B14F-4D97-AF65-F5344CB8AC3E}">
        <p14:creationId xmlns:p14="http://schemas.microsoft.com/office/powerpoint/2010/main" val="573327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750"/>
                                        <p:tgtEl>
                                          <p:spTgt spid="47"/>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 calcmode="lin" valueType="num">
                                      <p:cBhvr>
                                        <p:cTn id="10" dur="1500" fill="hold"/>
                                        <p:tgtEl>
                                          <p:spTgt spid="44"/>
                                        </p:tgtEl>
                                        <p:attrNameLst>
                                          <p:attrName>ppt_w</p:attrName>
                                        </p:attrNameLst>
                                      </p:cBhvr>
                                      <p:tavLst>
                                        <p:tav tm="0">
                                          <p:val>
                                            <p:fltVal val="0"/>
                                          </p:val>
                                        </p:tav>
                                        <p:tav tm="100000">
                                          <p:val>
                                            <p:strVal val="#ppt_w"/>
                                          </p:val>
                                        </p:tav>
                                      </p:tavLst>
                                    </p:anim>
                                    <p:anim calcmode="lin" valueType="num">
                                      <p:cBhvr>
                                        <p:cTn id="11" dur="1500" fill="hold"/>
                                        <p:tgtEl>
                                          <p:spTgt spid="44"/>
                                        </p:tgtEl>
                                        <p:attrNameLst>
                                          <p:attrName>ppt_h</p:attrName>
                                        </p:attrNameLst>
                                      </p:cBhvr>
                                      <p:tavLst>
                                        <p:tav tm="0">
                                          <p:val>
                                            <p:fltVal val="0"/>
                                          </p:val>
                                        </p:tav>
                                        <p:tav tm="100000">
                                          <p:val>
                                            <p:strVal val="#ppt_h"/>
                                          </p:val>
                                        </p:tav>
                                      </p:tavLst>
                                    </p:anim>
                                    <p:animEffect transition="in" filter="fade">
                                      <p:cBhvr>
                                        <p:cTn id="12" dur="1500"/>
                                        <p:tgtEl>
                                          <p:spTgt spid="44"/>
                                        </p:tgtEl>
                                      </p:cBhvr>
                                    </p:animEffect>
                                  </p:childTnLst>
                                </p:cTn>
                              </p:par>
                              <p:par>
                                <p:cTn id="13" presetID="42" presetClass="path" presetSubtype="0" accel="50000" decel="50000" fill="hold" grpId="1" nodeType="withEffect">
                                  <p:stCondLst>
                                    <p:cond delay="0"/>
                                  </p:stCondLst>
                                  <p:childTnLst>
                                    <p:animMotion origin="layout" path="M 0 0.18426 L 0 -3.7037E-7 " pathEditMode="relative" rAng="0" ptsTypes="AA">
                                      <p:cBhvr>
                                        <p:cTn id="14" dur="1500" fill="hold"/>
                                        <p:tgtEl>
                                          <p:spTgt spid="44"/>
                                        </p:tgtEl>
                                        <p:attrNameLst>
                                          <p:attrName>ppt_x</p:attrName>
                                          <p:attrName>ppt_y</p:attrName>
                                        </p:attrNameLst>
                                      </p:cBhvr>
                                      <p:rCtr x="0" y="-9213"/>
                                    </p:animMotion>
                                  </p:childTnLst>
                                </p:cTn>
                              </p:par>
                              <p:par>
                                <p:cTn id="15" presetID="53" presetClass="entr" presetSubtype="16" fill="hold" grpId="0" nodeType="withEffect">
                                  <p:stCondLst>
                                    <p:cond delay="0"/>
                                  </p:stCondLst>
                                  <p:childTnLst>
                                    <p:set>
                                      <p:cBhvr>
                                        <p:cTn id="16" dur="1" fill="hold">
                                          <p:stCondLst>
                                            <p:cond delay="0"/>
                                          </p:stCondLst>
                                        </p:cTn>
                                        <p:tgtEl>
                                          <p:spTgt spid="43"/>
                                        </p:tgtEl>
                                        <p:attrNameLst>
                                          <p:attrName>style.visibility</p:attrName>
                                        </p:attrNameLst>
                                      </p:cBhvr>
                                      <p:to>
                                        <p:strVal val="visible"/>
                                      </p:to>
                                    </p:set>
                                    <p:anim calcmode="lin" valueType="num">
                                      <p:cBhvr>
                                        <p:cTn id="17" dur="1500" fill="hold"/>
                                        <p:tgtEl>
                                          <p:spTgt spid="43"/>
                                        </p:tgtEl>
                                        <p:attrNameLst>
                                          <p:attrName>ppt_w</p:attrName>
                                        </p:attrNameLst>
                                      </p:cBhvr>
                                      <p:tavLst>
                                        <p:tav tm="0">
                                          <p:val>
                                            <p:fltVal val="0"/>
                                          </p:val>
                                        </p:tav>
                                        <p:tav tm="100000">
                                          <p:val>
                                            <p:strVal val="#ppt_w"/>
                                          </p:val>
                                        </p:tav>
                                      </p:tavLst>
                                    </p:anim>
                                    <p:anim calcmode="lin" valueType="num">
                                      <p:cBhvr>
                                        <p:cTn id="18" dur="1500" fill="hold"/>
                                        <p:tgtEl>
                                          <p:spTgt spid="43"/>
                                        </p:tgtEl>
                                        <p:attrNameLst>
                                          <p:attrName>ppt_h</p:attrName>
                                        </p:attrNameLst>
                                      </p:cBhvr>
                                      <p:tavLst>
                                        <p:tav tm="0">
                                          <p:val>
                                            <p:fltVal val="0"/>
                                          </p:val>
                                        </p:tav>
                                        <p:tav tm="100000">
                                          <p:val>
                                            <p:strVal val="#ppt_h"/>
                                          </p:val>
                                        </p:tav>
                                      </p:tavLst>
                                    </p:anim>
                                    <p:animEffect transition="in" filter="fade">
                                      <p:cBhvr>
                                        <p:cTn id="19" dur="1500"/>
                                        <p:tgtEl>
                                          <p:spTgt spid="43"/>
                                        </p:tgtEl>
                                      </p:cBhvr>
                                    </p:animEffect>
                                  </p:childTnLst>
                                </p:cTn>
                              </p:par>
                              <p:par>
                                <p:cTn id="20" presetID="42" presetClass="path" presetSubtype="0" accel="50000" decel="50000" fill="hold" grpId="1" nodeType="withEffect">
                                  <p:stCondLst>
                                    <p:cond delay="0"/>
                                  </p:stCondLst>
                                  <p:childTnLst>
                                    <p:animMotion origin="layout" path="M -0.09753 0.05209 L 3.95833E-6 -1.85185E-6 " pathEditMode="relative" rAng="0" ptsTypes="AA">
                                      <p:cBhvr>
                                        <p:cTn id="21" dur="1500" fill="hold"/>
                                        <p:tgtEl>
                                          <p:spTgt spid="43"/>
                                        </p:tgtEl>
                                        <p:attrNameLst>
                                          <p:attrName>ppt_x</p:attrName>
                                          <p:attrName>ppt_y</p:attrName>
                                        </p:attrNameLst>
                                      </p:cBhvr>
                                      <p:rCtr x="4870" y="-2616"/>
                                    </p:animMotion>
                                  </p:childTnLst>
                                </p:cTn>
                              </p:par>
                              <p:par>
                                <p:cTn id="22" presetID="53" presetClass="entr" presetSubtype="16" fill="hold" grpId="0" nodeType="withEffect">
                                  <p:stCondLst>
                                    <p:cond delay="0"/>
                                  </p:stCondLst>
                                  <p:childTnLst>
                                    <p:set>
                                      <p:cBhvr>
                                        <p:cTn id="23" dur="1" fill="hold">
                                          <p:stCondLst>
                                            <p:cond delay="0"/>
                                          </p:stCondLst>
                                        </p:cTn>
                                        <p:tgtEl>
                                          <p:spTgt spid="46"/>
                                        </p:tgtEl>
                                        <p:attrNameLst>
                                          <p:attrName>style.visibility</p:attrName>
                                        </p:attrNameLst>
                                      </p:cBhvr>
                                      <p:to>
                                        <p:strVal val="visible"/>
                                      </p:to>
                                    </p:set>
                                    <p:anim calcmode="lin" valueType="num">
                                      <p:cBhvr>
                                        <p:cTn id="24" dur="1500" fill="hold"/>
                                        <p:tgtEl>
                                          <p:spTgt spid="46"/>
                                        </p:tgtEl>
                                        <p:attrNameLst>
                                          <p:attrName>ppt_w</p:attrName>
                                        </p:attrNameLst>
                                      </p:cBhvr>
                                      <p:tavLst>
                                        <p:tav tm="0">
                                          <p:val>
                                            <p:fltVal val="0"/>
                                          </p:val>
                                        </p:tav>
                                        <p:tav tm="100000">
                                          <p:val>
                                            <p:strVal val="#ppt_w"/>
                                          </p:val>
                                        </p:tav>
                                      </p:tavLst>
                                    </p:anim>
                                    <p:anim calcmode="lin" valueType="num">
                                      <p:cBhvr>
                                        <p:cTn id="25" dur="1500" fill="hold"/>
                                        <p:tgtEl>
                                          <p:spTgt spid="46"/>
                                        </p:tgtEl>
                                        <p:attrNameLst>
                                          <p:attrName>ppt_h</p:attrName>
                                        </p:attrNameLst>
                                      </p:cBhvr>
                                      <p:tavLst>
                                        <p:tav tm="0">
                                          <p:val>
                                            <p:fltVal val="0"/>
                                          </p:val>
                                        </p:tav>
                                        <p:tav tm="100000">
                                          <p:val>
                                            <p:strVal val="#ppt_h"/>
                                          </p:val>
                                        </p:tav>
                                      </p:tavLst>
                                    </p:anim>
                                    <p:animEffect transition="in" filter="fade">
                                      <p:cBhvr>
                                        <p:cTn id="26" dur="1500"/>
                                        <p:tgtEl>
                                          <p:spTgt spid="46"/>
                                        </p:tgtEl>
                                      </p:cBhvr>
                                    </p:animEffect>
                                  </p:childTnLst>
                                </p:cTn>
                              </p:par>
                              <p:par>
                                <p:cTn id="27" presetID="42" presetClass="path" presetSubtype="0" accel="50000" decel="50000" fill="hold" grpId="1" nodeType="withEffect">
                                  <p:stCondLst>
                                    <p:cond delay="0"/>
                                  </p:stCondLst>
                                  <p:childTnLst>
                                    <p:animMotion origin="layout" path="M -0.06029 -0.15856 L 3.54167E-6 -4.44444E-6 " pathEditMode="relative" rAng="0" ptsTypes="AA">
                                      <p:cBhvr>
                                        <p:cTn id="28" dur="1500" fill="hold"/>
                                        <p:tgtEl>
                                          <p:spTgt spid="46"/>
                                        </p:tgtEl>
                                        <p:attrNameLst>
                                          <p:attrName>ppt_x</p:attrName>
                                          <p:attrName>ppt_y</p:attrName>
                                        </p:attrNameLst>
                                      </p:cBhvr>
                                      <p:rCtr x="3008" y="7917"/>
                                    </p:animMotion>
                                  </p:childTnLst>
                                </p:cTn>
                              </p:par>
                              <p:par>
                                <p:cTn id="29" presetID="53" presetClass="entr" presetSubtype="16" fill="hold" grpId="0" nodeType="withEffect">
                                  <p:stCondLst>
                                    <p:cond delay="0"/>
                                  </p:stCondLst>
                                  <p:childTnLst>
                                    <p:set>
                                      <p:cBhvr>
                                        <p:cTn id="30" dur="1" fill="hold">
                                          <p:stCondLst>
                                            <p:cond delay="0"/>
                                          </p:stCondLst>
                                        </p:cTn>
                                        <p:tgtEl>
                                          <p:spTgt spid="45"/>
                                        </p:tgtEl>
                                        <p:attrNameLst>
                                          <p:attrName>style.visibility</p:attrName>
                                        </p:attrNameLst>
                                      </p:cBhvr>
                                      <p:to>
                                        <p:strVal val="visible"/>
                                      </p:to>
                                    </p:set>
                                    <p:anim calcmode="lin" valueType="num">
                                      <p:cBhvr>
                                        <p:cTn id="31" dur="1500" fill="hold"/>
                                        <p:tgtEl>
                                          <p:spTgt spid="45"/>
                                        </p:tgtEl>
                                        <p:attrNameLst>
                                          <p:attrName>ppt_w</p:attrName>
                                        </p:attrNameLst>
                                      </p:cBhvr>
                                      <p:tavLst>
                                        <p:tav tm="0">
                                          <p:val>
                                            <p:fltVal val="0"/>
                                          </p:val>
                                        </p:tav>
                                        <p:tav tm="100000">
                                          <p:val>
                                            <p:strVal val="#ppt_w"/>
                                          </p:val>
                                        </p:tav>
                                      </p:tavLst>
                                    </p:anim>
                                    <p:anim calcmode="lin" valueType="num">
                                      <p:cBhvr>
                                        <p:cTn id="32" dur="1500" fill="hold"/>
                                        <p:tgtEl>
                                          <p:spTgt spid="45"/>
                                        </p:tgtEl>
                                        <p:attrNameLst>
                                          <p:attrName>ppt_h</p:attrName>
                                        </p:attrNameLst>
                                      </p:cBhvr>
                                      <p:tavLst>
                                        <p:tav tm="0">
                                          <p:val>
                                            <p:fltVal val="0"/>
                                          </p:val>
                                        </p:tav>
                                        <p:tav tm="100000">
                                          <p:val>
                                            <p:strVal val="#ppt_h"/>
                                          </p:val>
                                        </p:tav>
                                      </p:tavLst>
                                    </p:anim>
                                    <p:animEffect transition="in" filter="fade">
                                      <p:cBhvr>
                                        <p:cTn id="33" dur="1500"/>
                                        <p:tgtEl>
                                          <p:spTgt spid="45"/>
                                        </p:tgtEl>
                                      </p:cBhvr>
                                    </p:animEffect>
                                  </p:childTnLst>
                                </p:cTn>
                              </p:par>
                              <p:par>
                                <p:cTn id="34" presetID="42" presetClass="path" presetSubtype="0" accel="50000" decel="50000" fill="hold" grpId="1" nodeType="withEffect">
                                  <p:stCondLst>
                                    <p:cond delay="0"/>
                                  </p:stCondLst>
                                  <p:childTnLst>
                                    <p:animMotion origin="layout" path="M 0.06003 -0.15995 L -3.75E-6 -4.44444E-6 " pathEditMode="relative" rAng="0" ptsTypes="AA">
                                      <p:cBhvr>
                                        <p:cTn id="35" dur="1500" fill="hold"/>
                                        <p:tgtEl>
                                          <p:spTgt spid="45"/>
                                        </p:tgtEl>
                                        <p:attrNameLst>
                                          <p:attrName>ppt_x</p:attrName>
                                          <p:attrName>ppt_y</p:attrName>
                                        </p:attrNameLst>
                                      </p:cBhvr>
                                      <p:rCtr x="-3008" y="7986"/>
                                    </p:animMotion>
                                  </p:childTnLst>
                                </p:cTn>
                              </p:par>
                              <p:par>
                                <p:cTn id="36" presetID="53" presetClass="entr" presetSubtype="16" fill="hold" grpId="0" nodeType="withEffect">
                                  <p:stCondLst>
                                    <p:cond delay="0"/>
                                  </p:stCondLst>
                                  <p:childTnLst>
                                    <p:set>
                                      <p:cBhvr>
                                        <p:cTn id="37" dur="1" fill="hold">
                                          <p:stCondLst>
                                            <p:cond delay="0"/>
                                          </p:stCondLst>
                                        </p:cTn>
                                        <p:tgtEl>
                                          <p:spTgt spid="41"/>
                                        </p:tgtEl>
                                        <p:attrNameLst>
                                          <p:attrName>style.visibility</p:attrName>
                                        </p:attrNameLst>
                                      </p:cBhvr>
                                      <p:to>
                                        <p:strVal val="visible"/>
                                      </p:to>
                                    </p:set>
                                    <p:anim calcmode="lin" valueType="num">
                                      <p:cBhvr>
                                        <p:cTn id="38" dur="1500" fill="hold"/>
                                        <p:tgtEl>
                                          <p:spTgt spid="41"/>
                                        </p:tgtEl>
                                        <p:attrNameLst>
                                          <p:attrName>ppt_w</p:attrName>
                                        </p:attrNameLst>
                                      </p:cBhvr>
                                      <p:tavLst>
                                        <p:tav tm="0">
                                          <p:val>
                                            <p:fltVal val="0"/>
                                          </p:val>
                                        </p:tav>
                                        <p:tav tm="100000">
                                          <p:val>
                                            <p:strVal val="#ppt_w"/>
                                          </p:val>
                                        </p:tav>
                                      </p:tavLst>
                                    </p:anim>
                                    <p:anim calcmode="lin" valueType="num">
                                      <p:cBhvr>
                                        <p:cTn id="39" dur="1500" fill="hold"/>
                                        <p:tgtEl>
                                          <p:spTgt spid="41"/>
                                        </p:tgtEl>
                                        <p:attrNameLst>
                                          <p:attrName>ppt_h</p:attrName>
                                        </p:attrNameLst>
                                      </p:cBhvr>
                                      <p:tavLst>
                                        <p:tav tm="0">
                                          <p:val>
                                            <p:fltVal val="0"/>
                                          </p:val>
                                        </p:tav>
                                        <p:tav tm="100000">
                                          <p:val>
                                            <p:strVal val="#ppt_h"/>
                                          </p:val>
                                        </p:tav>
                                      </p:tavLst>
                                    </p:anim>
                                    <p:animEffect transition="in" filter="fade">
                                      <p:cBhvr>
                                        <p:cTn id="40" dur="1500"/>
                                        <p:tgtEl>
                                          <p:spTgt spid="41"/>
                                        </p:tgtEl>
                                      </p:cBhvr>
                                    </p:animEffect>
                                  </p:childTnLst>
                                </p:cTn>
                              </p:par>
                              <p:par>
                                <p:cTn id="41" presetID="42" presetClass="path" presetSubtype="0" accel="50000" decel="50000" fill="hold" grpId="1" nodeType="withEffect">
                                  <p:stCondLst>
                                    <p:cond delay="0"/>
                                  </p:stCondLst>
                                  <p:childTnLst>
                                    <p:animMotion origin="layout" path="M 0.09727 0.05394 L -4.16667E-6 -1.48148E-6 " pathEditMode="relative" rAng="0" ptsTypes="AA">
                                      <p:cBhvr>
                                        <p:cTn id="42" dur="1500" fill="hold"/>
                                        <p:tgtEl>
                                          <p:spTgt spid="41"/>
                                        </p:tgtEl>
                                        <p:attrNameLst>
                                          <p:attrName>ppt_x</p:attrName>
                                          <p:attrName>ppt_y</p:attrName>
                                        </p:attrNameLst>
                                      </p:cBhvr>
                                      <p:rCtr x="-4870" y="-2708"/>
                                    </p:animMotion>
                                  </p:childTnLst>
                                </p:cTn>
                              </p:par>
                              <p:par>
                                <p:cTn id="43" presetID="53" presetClass="entr" presetSubtype="16" fill="hold" nodeType="withEffect">
                                  <p:stCondLst>
                                    <p:cond delay="0"/>
                                  </p:stCondLst>
                                  <p:childTnLst>
                                    <p:set>
                                      <p:cBhvr>
                                        <p:cTn id="44" dur="1" fill="hold">
                                          <p:stCondLst>
                                            <p:cond delay="0"/>
                                          </p:stCondLst>
                                        </p:cTn>
                                        <p:tgtEl>
                                          <p:spTgt spid="7"/>
                                        </p:tgtEl>
                                        <p:attrNameLst>
                                          <p:attrName>style.visibility</p:attrName>
                                        </p:attrNameLst>
                                      </p:cBhvr>
                                      <p:to>
                                        <p:strVal val="visible"/>
                                      </p:to>
                                    </p:set>
                                    <p:anim calcmode="lin" valueType="num">
                                      <p:cBhvr>
                                        <p:cTn id="45" dur="1500" fill="hold"/>
                                        <p:tgtEl>
                                          <p:spTgt spid="7"/>
                                        </p:tgtEl>
                                        <p:attrNameLst>
                                          <p:attrName>ppt_w</p:attrName>
                                        </p:attrNameLst>
                                      </p:cBhvr>
                                      <p:tavLst>
                                        <p:tav tm="0">
                                          <p:val>
                                            <p:fltVal val="0"/>
                                          </p:val>
                                        </p:tav>
                                        <p:tav tm="100000">
                                          <p:val>
                                            <p:strVal val="#ppt_w"/>
                                          </p:val>
                                        </p:tav>
                                      </p:tavLst>
                                    </p:anim>
                                    <p:anim calcmode="lin" valueType="num">
                                      <p:cBhvr>
                                        <p:cTn id="46" dur="1500" fill="hold"/>
                                        <p:tgtEl>
                                          <p:spTgt spid="7"/>
                                        </p:tgtEl>
                                        <p:attrNameLst>
                                          <p:attrName>ppt_h</p:attrName>
                                        </p:attrNameLst>
                                      </p:cBhvr>
                                      <p:tavLst>
                                        <p:tav tm="0">
                                          <p:val>
                                            <p:fltVal val="0"/>
                                          </p:val>
                                        </p:tav>
                                        <p:tav tm="100000">
                                          <p:val>
                                            <p:strVal val="#ppt_h"/>
                                          </p:val>
                                        </p:tav>
                                      </p:tavLst>
                                    </p:anim>
                                    <p:animEffect transition="in" filter="fade">
                                      <p:cBhvr>
                                        <p:cTn id="47" dur="1500"/>
                                        <p:tgtEl>
                                          <p:spTgt spid="7"/>
                                        </p:tgtEl>
                                      </p:cBhvr>
                                    </p:animEffect>
                                  </p:childTnLst>
                                </p:cTn>
                              </p:par>
                              <p:par>
                                <p:cTn id="48" presetID="10" presetClass="entr" presetSubtype="0" fill="hold" grpId="0" nodeType="withEffect">
                                  <p:stCondLst>
                                    <p:cond delay="1500"/>
                                  </p:stCondLst>
                                  <p:childTnLst>
                                    <p:set>
                                      <p:cBhvr>
                                        <p:cTn id="49" dur="1" fill="hold">
                                          <p:stCondLst>
                                            <p:cond delay="0"/>
                                          </p:stCondLst>
                                        </p:cTn>
                                        <p:tgtEl>
                                          <p:spTgt spid="95"/>
                                        </p:tgtEl>
                                        <p:attrNameLst>
                                          <p:attrName>style.visibility</p:attrName>
                                        </p:attrNameLst>
                                      </p:cBhvr>
                                      <p:to>
                                        <p:strVal val="visible"/>
                                      </p:to>
                                    </p:set>
                                    <p:animEffect transition="in" filter="fade">
                                      <p:cBhvr>
                                        <p:cTn id="50" dur="1000"/>
                                        <p:tgtEl>
                                          <p:spTgt spid="95"/>
                                        </p:tgtEl>
                                      </p:cBhvr>
                                    </p:animEffect>
                                  </p:childTnLst>
                                </p:cTn>
                              </p:par>
                              <p:par>
                                <p:cTn id="51" presetID="10" presetClass="entr" presetSubtype="0" fill="hold" grpId="0" nodeType="withEffect">
                                  <p:stCondLst>
                                    <p:cond delay="1500"/>
                                  </p:stCondLst>
                                  <p:childTnLst>
                                    <p:set>
                                      <p:cBhvr>
                                        <p:cTn id="52" dur="1" fill="hold">
                                          <p:stCondLst>
                                            <p:cond delay="0"/>
                                          </p:stCondLst>
                                        </p:cTn>
                                        <p:tgtEl>
                                          <p:spTgt spid="90"/>
                                        </p:tgtEl>
                                        <p:attrNameLst>
                                          <p:attrName>style.visibility</p:attrName>
                                        </p:attrNameLst>
                                      </p:cBhvr>
                                      <p:to>
                                        <p:strVal val="visible"/>
                                      </p:to>
                                    </p:set>
                                    <p:animEffect transition="in" filter="fade">
                                      <p:cBhvr>
                                        <p:cTn id="53" dur="1000"/>
                                        <p:tgtEl>
                                          <p:spTgt spid="90"/>
                                        </p:tgtEl>
                                      </p:cBhvr>
                                    </p:animEffect>
                                  </p:childTnLst>
                                </p:cTn>
                              </p:par>
                              <p:par>
                                <p:cTn id="54" presetID="10" presetClass="entr" presetSubtype="0" fill="hold" grpId="0" nodeType="withEffect">
                                  <p:stCondLst>
                                    <p:cond delay="1500"/>
                                  </p:stCondLst>
                                  <p:childTnLst>
                                    <p:set>
                                      <p:cBhvr>
                                        <p:cTn id="55" dur="1" fill="hold">
                                          <p:stCondLst>
                                            <p:cond delay="0"/>
                                          </p:stCondLst>
                                        </p:cTn>
                                        <p:tgtEl>
                                          <p:spTgt spid="93"/>
                                        </p:tgtEl>
                                        <p:attrNameLst>
                                          <p:attrName>style.visibility</p:attrName>
                                        </p:attrNameLst>
                                      </p:cBhvr>
                                      <p:to>
                                        <p:strVal val="visible"/>
                                      </p:to>
                                    </p:set>
                                    <p:animEffect transition="in" filter="fade">
                                      <p:cBhvr>
                                        <p:cTn id="56" dur="1000"/>
                                        <p:tgtEl>
                                          <p:spTgt spid="93"/>
                                        </p:tgtEl>
                                      </p:cBhvr>
                                    </p:animEffect>
                                  </p:childTnLst>
                                </p:cTn>
                              </p:par>
                              <p:par>
                                <p:cTn id="57" presetID="10" presetClass="entr" presetSubtype="0" fill="hold" grpId="0" nodeType="withEffect">
                                  <p:stCondLst>
                                    <p:cond delay="1500"/>
                                  </p:stCondLst>
                                  <p:childTnLst>
                                    <p:set>
                                      <p:cBhvr>
                                        <p:cTn id="58" dur="1" fill="hold">
                                          <p:stCondLst>
                                            <p:cond delay="0"/>
                                          </p:stCondLst>
                                        </p:cTn>
                                        <p:tgtEl>
                                          <p:spTgt spid="91"/>
                                        </p:tgtEl>
                                        <p:attrNameLst>
                                          <p:attrName>style.visibility</p:attrName>
                                        </p:attrNameLst>
                                      </p:cBhvr>
                                      <p:to>
                                        <p:strVal val="visible"/>
                                      </p:to>
                                    </p:set>
                                    <p:animEffect transition="in" filter="fade">
                                      <p:cBhvr>
                                        <p:cTn id="59" dur="1000"/>
                                        <p:tgtEl>
                                          <p:spTgt spid="91"/>
                                        </p:tgtEl>
                                      </p:cBhvr>
                                    </p:animEffect>
                                  </p:childTnLst>
                                </p:cTn>
                              </p:par>
                              <p:par>
                                <p:cTn id="60" presetID="10" presetClass="entr" presetSubtype="0" fill="hold" grpId="0" nodeType="withEffect">
                                  <p:stCondLst>
                                    <p:cond delay="1500"/>
                                  </p:stCondLst>
                                  <p:childTnLst>
                                    <p:set>
                                      <p:cBhvr>
                                        <p:cTn id="61" dur="1" fill="hold">
                                          <p:stCondLst>
                                            <p:cond delay="0"/>
                                          </p:stCondLst>
                                        </p:cTn>
                                        <p:tgtEl>
                                          <p:spTgt spid="94"/>
                                        </p:tgtEl>
                                        <p:attrNameLst>
                                          <p:attrName>style.visibility</p:attrName>
                                        </p:attrNameLst>
                                      </p:cBhvr>
                                      <p:to>
                                        <p:strVal val="visible"/>
                                      </p:to>
                                    </p:set>
                                    <p:animEffect transition="in" filter="fade">
                                      <p:cBhvr>
                                        <p:cTn id="62" dur="1000"/>
                                        <p:tgtEl>
                                          <p:spTgt spid="94"/>
                                        </p:tgtEl>
                                      </p:cBhvr>
                                    </p:animEffect>
                                  </p:childTnLst>
                                </p:cTn>
                              </p:par>
                              <p:par>
                                <p:cTn id="63" presetID="22" presetClass="entr" presetSubtype="8" fill="hold" grpId="0" nodeType="withEffect">
                                  <p:stCondLst>
                                    <p:cond delay="1500"/>
                                  </p:stCondLst>
                                  <p:childTnLst>
                                    <p:set>
                                      <p:cBhvr>
                                        <p:cTn id="64" dur="1" fill="hold">
                                          <p:stCondLst>
                                            <p:cond delay="0"/>
                                          </p:stCondLst>
                                        </p:cTn>
                                        <p:tgtEl>
                                          <p:spTgt spid="12"/>
                                        </p:tgtEl>
                                        <p:attrNameLst>
                                          <p:attrName>style.visibility</p:attrName>
                                        </p:attrNameLst>
                                      </p:cBhvr>
                                      <p:to>
                                        <p:strVal val="visible"/>
                                      </p:to>
                                    </p:set>
                                    <p:animEffect transition="in" filter="wipe(left)">
                                      <p:cBhvr>
                                        <p:cTn id="65" dur="1000"/>
                                        <p:tgtEl>
                                          <p:spTgt spid="12"/>
                                        </p:tgtEl>
                                      </p:cBhvr>
                                    </p:animEffect>
                                  </p:childTnLst>
                                </p:cTn>
                              </p:par>
                              <p:par>
                                <p:cTn id="66" presetID="22" presetClass="entr" presetSubtype="2" fill="hold" grpId="0" nodeType="withEffect">
                                  <p:stCondLst>
                                    <p:cond delay="1500"/>
                                  </p:stCondLst>
                                  <p:childTnLst>
                                    <p:set>
                                      <p:cBhvr>
                                        <p:cTn id="67" dur="1" fill="hold">
                                          <p:stCondLst>
                                            <p:cond delay="0"/>
                                          </p:stCondLst>
                                        </p:cTn>
                                        <p:tgtEl>
                                          <p:spTgt spid="96"/>
                                        </p:tgtEl>
                                        <p:attrNameLst>
                                          <p:attrName>style.visibility</p:attrName>
                                        </p:attrNameLst>
                                      </p:cBhvr>
                                      <p:to>
                                        <p:strVal val="visible"/>
                                      </p:to>
                                    </p:set>
                                    <p:animEffect transition="in" filter="wipe(right)">
                                      <p:cBhvr>
                                        <p:cTn id="68" dur="1000"/>
                                        <p:tgtEl>
                                          <p:spTgt spid="96"/>
                                        </p:tgtEl>
                                      </p:cBhvr>
                                    </p:animEffect>
                                  </p:childTnLst>
                                </p:cTn>
                              </p:par>
                              <p:par>
                                <p:cTn id="69" presetID="22" presetClass="entr" presetSubtype="2" fill="hold" nodeType="withEffect">
                                  <p:stCondLst>
                                    <p:cond delay="1500"/>
                                  </p:stCondLst>
                                  <p:childTnLst>
                                    <p:set>
                                      <p:cBhvr>
                                        <p:cTn id="70" dur="1" fill="hold">
                                          <p:stCondLst>
                                            <p:cond delay="0"/>
                                          </p:stCondLst>
                                        </p:cTn>
                                        <p:tgtEl>
                                          <p:spTgt spid="76"/>
                                        </p:tgtEl>
                                        <p:attrNameLst>
                                          <p:attrName>style.visibility</p:attrName>
                                        </p:attrNameLst>
                                      </p:cBhvr>
                                      <p:to>
                                        <p:strVal val="visible"/>
                                      </p:to>
                                    </p:set>
                                    <p:animEffect transition="in" filter="wipe(right)">
                                      <p:cBhvr>
                                        <p:cTn id="71" dur="1000"/>
                                        <p:tgtEl>
                                          <p:spTgt spid="76"/>
                                        </p:tgtEl>
                                      </p:cBhvr>
                                    </p:animEffect>
                                  </p:childTnLst>
                                </p:cTn>
                              </p:par>
                              <p:par>
                                <p:cTn id="72" presetID="22" presetClass="entr" presetSubtype="1" fill="hold" nodeType="withEffect">
                                  <p:stCondLst>
                                    <p:cond delay="1500"/>
                                  </p:stCondLst>
                                  <p:childTnLst>
                                    <p:set>
                                      <p:cBhvr>
                                        <p:cTn id="73" dur="1" fill="hold">
                                          <p:stCondLst>
                                            <p:cond delay="0"/>
                                          </p:stCondLst>
                                        </p:cTn>
                                        <p:tgtEl>
                                          <p:spTgt spid="77"/>
                                        </p:tgtEl>
                                        <p:attrNameLst>
                                          <p:attrName>style.visibility</p:attrName>
                                        </p:attrNameLst>
                                      </p:cBhvr>
                                      <p:to>
                                        <p:strVal val="visible"/>
                                      </p:to>
                                    </p:set>
                                    <p:animEffect transition="in" filter="wipe(up)">
                                      <p:cBhvr>
                                        <p:cTn id="74" dur="1000"/>
                                        <p:tgtEl>
                                          <p:spTgt spid="77"/>
                                        </p:tgtEl>
                                      </p:cBhvr>
                                    </p:animEffect>
                                  </p:childTnLst>
                                </p:cTn>
                              </p:par>
                              <p:par>
                                <p:cTn id="75" presetID="22" presetClass="entr" presetSubtype="8" fill="hold" nodeType="withEffect">
                                  <p:stCondLst>
                                    <p:cond delay="1500"/>
                                  </p:stCondLst>
                                  <p:childTnLst>
                                    <p:set>
                                      <p:cBhvr>
                                        <p:cTn id="76" dur="1" fill="hold">
                                          <p:stCondLst>
                                            <p:cond delay="0"/>
                                          </p:stCondLst>
                                        </p:cTn>
                                        <p:tgtEl>
                                          <p:spTgt spid="75"/>
                                        </p:tgtEl>
                                        <p:attrNameLst>
                                          <p:attrName>style.visibility</p:attrName>
                                        </p:attrNameLst>
                                      </p:cBhvr>
                                      <p:to>
                                        <p:strVal val="visible"/>
                                      </p:to>
                                    </p:set>
                                    <p:animEffect transition="in" filter="wipe(left)">
                                      <p:cBhvr>
                                        <p:cTn id="77" dur="1000"/>
                                        <p:tgtEl>
                                          <p:spTgt spid="75"/>
                                        </p:tgtEl>
                                      </p:cBhvr>
                                    </p:animEffect>
                                  </p:childTnLst>
                                </p:cTn>
                              </p:par>
                              <p:par>
                                <p:cTn id="78" presetID="12" presetClass="entr" presetSubtype="2" fill="hold" grpId="0" nodeType="withEffect">
                                  <p:stCondLst>
                                    <p:cond delay="2000"/>
                                  </p:stCondLst>
                                  <p:childTnLst>
                                    <p:set>
                                      <p:cBhvr>
                                        <p:cTn id="79" dur="1" fill="hold">
                                          <p:stCondLst>
                                            <p:cond delay="0"/>
                                          </p:stCondLst>
                                        </p:cTn>
                                        <p:tgtEl>
                                          <p:spTgt spid="106"/>
                                        </p:tgtEl>
                                        <p:attrNameLst>
                                          <p:attrName>style.visibility</p:attrName>
                                        </p:attrNameLst>
                                      </p:cBhvr>
                                      <p:to>
                                        <p:strVal val="visible"/>
                                      </p:to>
                                    </p:set>
                                    <p:anim calcmode="lin" valueType="num">
                                      <p:cBhvr additive="base">
                                        <p:cTn id="80" dur="1000"/>
                                        <p:tgtEl>
                                          <p:spTgt spid="106"/>
                                        </p:tgtEl>
                                        <p:attrNameLst>
                                          <p:attrName>ppt_x</p:attrName>
                                        </p:attrNameLst>
                                      </p:cBhvr>
                                      <p:tavLst>
                                        <p:tav tm="0">
                                          <p:val>
                                            <p:strVal val="#ppt_x+#ppt_w*1.125000"/>
                                          </p:val>
                                        </p:tav>
                                        <p:tav tm="100000">
                                          <p:val>
                                            <p:strVal val="#ppt_x"/>
                                          </p:val>
                                        </p:tav>
                                      </p:tavLst>
                                    </p:anim>
                                    <p:animEffect transition="in" filter="wipe(left)">
                                      <p:cBhvr>
                                        <p:cTn id="81" dur="1000"/>
                                        <p:tgtEl>
                                          <p:spTgt spid="106"/>
                                        </p:tgtEl>
                                      </p:cBhvr>
                                    </p:animEffect>
                                  </p:childTnLst>
                                </p:cTn>
                              </p:par>
                              <p:par>
                                <p:cTn id="82" presetID="12" presetClass="entr" presetSubtype="1" fill="hold" grpId="0" nodeType="withEffect">
                                  <p:stCondLst>
                                    <p:cond delay="2000"/>
                                  </p:stCondLst>
                                  <p:childTnLst>
                                    <p:set>
                                      <p:cBhvr>
                                        <p:cTn id="83" dur="1" fill="hold">
                                          <p:stCondLst>
                                            <p:cond delay="0"/>
                                          </p:stCondLst>
                                        </p:cTn>
                                        <p:tgtEl>
                                          <p:spTgt spid="111"/>
                                        </p:tgtEl>
                                        <p:attrNameLst>
                                          <p:attrName>style.visibility</p:attrName>
                                        </p:attrNameLst>
                                      </p:cBhvr>
                                      <p:to>
                                        <p:strVal val="visible"/>
                                      </p:to>
                                    </p:set>
                                    <p:anim calcmode="lin" valueType="num">
                                      <p:cBhvr additive="base">
                                        <p:cTn id="84" dur="1000"/>
                                        <p:tgtEl>
                                          <p:spTgt spid="111"/>
                                        </p:tgtEl>
                                        <p:attrNameLst>
                                          <p:attrName>ppt_y</p:attrName>
                                        </p:attrNameLst>
                                      </p:cBhvr>
                                      <p:tavLst>
                                        <p:tav tm="0">
                                          <p:val>
                                            <p:strVal val="#ppt_y-#ppt_h*1.125000"/>
                                          </p:val>
                                        </p:tav>
                                        <p:tav tm="100000">
                                          <p:val>
                                            <p:strVal val="#ppt_y"/>
                                          </p:val>
                                        </p:tav>
                                      </p:tavLst>
                                    </p:anim>
                                    <p:animEffect transition="in" filter="wipe(down)">
                                      <p:cBhvr>
                                        <p:cTn id="85" dur="1000"/>
                                        <p:tgtEl>
                                          <p:spTgt spid="111"/>
                                        </p:tgtEl>
                                      </p:cBhvr>
                                    </p:animEffect>
                                  </p:childTnLst>
                                </p:cTn>
                              </p:par>
                              <p:par>
                                <p:cTn id="86" presetID="12" presetClass="entr" presetSubtype="8" fill="hold" grpId="0" nodeType="withEffect">
                                  <p:stCondLst>
                                    <p:cond delay="2000"/>
                                  </p:stCondLst>
                                  <p:childTnLst>
                                    <p:set>
                                      <p:cBhvr>
                                        <p:cTn id="87" dur="1" fill="hold">
                                          <p:stCondLst>
                                            <p:cond delay="0"/>
                                          </p:stCondLst>
                                        </p:cTn>
                                        <p:tgtEl>
                                          <p:spTgt spid="101"/>
                                        </p:tgtEl>
                                        <p:attrNameLst>
                                          <p:attrName>style.visibility</p:attrName>
                                        </p:attrNameLst>
                                      </p:cBhvr>
                                      <p:to>
                                        <p:strVal val="visible"/>
                                      </p:to>
                                    </p:set>
                                    <p:anim calcmode="lin" valueType="num">
                                      <p:cBhvr additive="base">
                                        <p:cTn id="88" dur="1000"/>
                                        <p:tgtEl>
                                          <p:spTgt spid="101"/>
                                        </p:tgtEl>
                                        <p:attrNameLst>
                                          <p:attrName>ppt_x</p:attrName>
                                        </p:attrNameLst>
                                      </p:cBhvr>
                                      <p:tavLst>
                                        <p:tav tm="0">
                                          <p:val>
                                            <p:strVal val="#ppt_x-#ppt_w*1.125000"/>
                                          </p:val>
                                        </p:tav>
                                        <p:tav tm="100000">
                                          <p:val>
                                            <p:strVal val="#ppt_x"/>
                                          </p:val>
                                        </p:tav>
                                      </p:tavLst>
                                    </p:anim>
                                    <p:animEffect transition="in" filter="wipe(right)">
                                      <p:cBhvr>
                                        <p:cTn id="89" dur="1000"/>
                                        <p:tgtEl>
                                          <p:spTgt spid="101"/>
                                        </p:tgtEl>
                                      </p:cBhvr>
                                    </p:animEffect>
                                  </p:childTnLst>
                                </p:cTn>
                              </p:par>
                              <p:par>
                                <p:cTn id="90" presetID="12" presetClass="entr" presetSubtype="8" fill="hold" grpId="0" nodeType="withEffect">
                                  <p:stCondLst>
                                    <p:cond delay="2000"/>
                                  </p:stCondLst>
                                  <p:childTnLst>
                                    <p:set>
                                      <p:cBhvr>
                                        <p:cTn id="91" dur="1" fill="hold">
                                          <p:stCondLst>
                                            <p:cond delay="0"/>
                                          </p:stCondLst>
                                        </p:cTn>
                                        <p:tgtEl>
                                          <p:spTgt spid="98"/>
                                        </p:tgtEl>
                                        <p:attrNameLst>
                                          <p:attrName>style.visibility</p:attrName>
                                        </p:attrNameLst>
                                      </p:cBhvr>
                                      <p:to>
                                        <p:strVal val="visible"/>
                                      </p:to>
                                    </p:set>
                                    <p:anim calcmode="lin" valueType="num">
                                      <p:cBhvr additive="base">
                                        <p:cTn id="92" dur="1000"/>
                                        <p:tgtEl>
                                          <p:spTgt spid="98"/>
                                        </p:tgtEl>
                                        <p:attrNameLst>
                                          <p:attrName>ppt_x</p:attrName>
                                        </p:attrNameLst>
                                      </p:cBhvr>
                                      <p:tavLst>
                                        <p:tav tm="0">
                                          <p:val>
                                            <p:strVal val="#ppt_x-#ppt_w*1.125000"/>
                                          </p:val>
                                        </p:tav>
                                        <p:tav tm="100000">
                                          <p:val>
                                            <p:strVal val="#ppt_x"/>
                                          </p:val>
                                        </p:tav>
                                      </p:tavLst>
                                    </p:anim>
                                    <p:animEffect transition="in" filter="wipe(right)">
                                      <p:cBhvr>
                                        <p:cTn id="93" dur="1000"/>
                                        <p:tgtEl>
                                          <p:spTgt spid="98"/>
                                        </p:tgtEl>
                                      </p:cBhvr>
                                    </p:animEffect>
                                  </p:childTnLst>
                                </p:cTn>
                              </p:par>
                              <p:par>
                                <p:cTn id="94" presetID="12" presetClass="entr" presetSubtype="2" fill="hold" grpId="0" nodeType="withEffect">
                                  <p:stCondLst>
                                    <p:cond delay="2000"/>
                                  </p:stCondLst>
                                  <p:childTnLst>
                                    <p:set>
                                      <p:cBhvr>
                                        <p:cTn id="95" dur="1" fill="hold">
                                          <p:stCondLst>
                                            <p:cond delay="0"/>
                                          </p:stCondLst>
                                        </p:cTn>
                                        <p:tgtEl>
                                          <p:spTgt spid="108"/>
                                        </p:tgtEl>
                                        <p:attrNameLst>
                                          <p:attrName>style.visibility</p:attrName>
                                        </p:attrNameLst>
                                      </p:cBhvr>
                                      <p:to>
                                        <p:strVal val="visible"/>
                                      </p:to>
                                    </p:set>
                                    <p:anim calcmode="lin" valueType="num">
                                      <p:cBhvr additive="base">
                                        <p:cTn id="96" dur="1000"/>
                                        <p:tgtEl>
                                          <p:spTgt spid="108"/>
                                        </p:tgtEl>
                                        <p:attrNameLst>
                                          <p:attrName>ppt_x</p:attrName>
                                        </p:attrNameLst>
                                      </p:cBhvr>
                                      <p:tavLst>
                                        <p:tav tm="0">
                                          <p:val>
                                            <p:strVal val="#ppt_x+#ppt_w*1.125000"/>
                                          </p:val>
                                        </p:tav>
                                        <p:tav tm="100000">
                                          <p:val>
                                            <p:strVal val="#ppt_x"/>
                                          </p:val>
                                        </p:tav>
                                      </p:tavLst>
                                    </p:anim>
                                    <p:animEffect transition="in" filter="wipe(left)">
                                      <p:cBhvr>
                                        <p:cTn id="97" dur="1000"/>
                                        <p:tgtEl>
                                          <p:spTgt spid="108"/>
                                        </p:tgtEl>
                                      </p:cBhvr>
                                    </p:animEffect>
                                  </p:childTnLst>
                                </p:cTn>
                              </p:par>
                              <p:par>
                                <p:cTn id="98" presetID="12" presetClass="entr" presetSubtype="1" fill="hold" grpId="0" nodeType="withEffect">
                                  <p:stCondLst>
                                    <p:cond delay="2750"/>
                                  </p:stCondLst>
                                  <p:childTnLst>
                                    <p:set>
                                      <p:cBhvr>
                                        <p:cTn id="99" dur="1" fill="hold">
                                          <p:stCondLst>
                                            <p:cond delay="0"/>
                                          </p:stCondLst>
                                        </p:cTn>
                                        <p:tgtEl>
                                          <p:spTgt spid="107"/>
                                        </p:tgtEl>
                                        <p:attrNameLst>
                                          <p:attrName>style.visibility</p:attrName>
                                        </p:attrNameLst>
                                      </p:cBhvr>
                                      <p:to>
                                        <p:strVal val="visible"/>
                                      </p:to>
                                    </p:set>
                                    <p:anim calcmode="lin" valueType="num">
                                      <p:cBhvr additive="base">
                                        <p:cTn id="100" dur="1000"/>
                                        <p:tgtEl>
                                          <p:spTgt spid="107"/>
                                        </p:tgtEl>
                                        <p:attrNameLst>
                                          <p:attrName>ppt_y</p:attrName>
                                        </p:attrNameLst>
                                      </p:cBhvr>
                                      <p:tavLst>
                                        <p:tav tm="0">
                                          <p:val>
                                            <p:strVal val="#ppt_y-#ppt_h*1.125000"/>
                                          </p:val>
                                        </p:tav>
                                        <p:tav tm="100000">
                                          <p:val>
                                            <p:strVal val="#ppt_y"/>
                                          </p:val>
                                        </p:tav>
                                      </p:tavLst>
                                    </p:anim>
                                    <p:animEffect transition="in" filter="wipe(down)">
                                      <p:cBhvr>
                                        <p:cTn id="101" dur="1000"/>
                                        <p:tgtEl>
                                          <p:spTgt spid="107"/>
                                        </p:tgtEl>
                                      </p:cBhvr>
                                    </p:animEffect>
                                  </p:childTnLst>
                                </p:cTn>
                              </p:par>
                              <p:par>
                                <p:cTn id="102" presetID="12" presetClass="entr" presetSubtype="1" fill="hold" grpId="0" nodeType="withEffect">
                                  <p:stCondLst>
                                    <p:cond delay="2750"/>
                                  </p:stCondLst>
                                  <p:childTnLst>
                                    <p:set>
                                      <p:cBhvr>
                                        <p:cTn id="103" dur="1" fill="hold">
                                          <p:stCondLst>
                                            <p:cond delay="0"/>
                                          </p:stCondLst>
                                        </p:cTn>
                                        <p:tgtEl>
                                          <p:spTgt spid="109"/>
                                        </p:tgtEl>
                                        <p:attrNameLst>
                                          <p:attrName>style.visibility</p:attrName>
                                        </p:attrNameLst>
                                      </p:cBhvr>
                                      <p:to>
                                        <p:strVal val="visible"/>
                                      </p:to>
                                    </p:set>
                                    <p:anim calcmode="lin" valueType="num">
                                      <p:cBhvr additive="base">
                                        <p:cTn id="104" dur="1000"/>
                                        <p:tgtEl>
                                          <p:spTgt spid="109"/>
                                        </p:tgtEl>
                                        <p:attrNameLst>
                                          <p:attrName>ppt_y</p:attrName>
                                        </p:attrNameLst>
                                      </p:cBhvr>
                                      <p:tavLst>
                                        <p:tav tm="0">
                                          <p:val>
                                            <p:strVal val="#ppt_y-#ppt_h*1.125000"/>
                                          </p:val>
                                        </p:tav>
                                        <p:tav tm="100000">
                                          <p:val>
                                            <p:strVal val="#ppt_y"/>
                                          </p:val>
                                        </p:tav>
                                      </p:tavLst>
                                    </p:anim>
                                    <p:animEffect transition="in" filter="wipe(down)">
                                      <p:cBhvr>
                                        <p:cTn id="105" dur="1000"/>
                                        <p:tgtEl>
                                          <p:spTgt spid="109"/>
                                        </p:tgtEl>
                                      </p:cBhvr>
                                    </p:animEffect>
                                  </p:childTnLst>
                                </p:cTn>
                              </p:par>
                              <p:par>
                                <p:cTn id="106" presetID="12" presetClass="entr" presetSubtype="1" fill="hold" grpId="0" nodeType="withEffect">
                                  <p:stCondLst>
                                    <p:cond delay="2750"/>
                                  </p:stCondLst>
                                  <p:childTnLst>
                                    <p:set>
                                      <p:cBhvr>
                                        <p:cTn id="107" dur="1" fill="hold">
                                          <p:stCondLst>
                                            <p:cond delay="0"/>
                                          </p:stCondLst>
                                        </p:cTn>
                                        <p:tgtEl>
                                          <p:spTgt spid="99"/>
                                        </p:tgtEl>
                                        <p:attrNameLst>
                                          <p:attrName>style.visibility</p:attrName>
                                        </p:attrNameLst>
                                      </p:cBhvr>
                                      <p:to>
                                        <p:strVal val="visible"/>
                                      </p:to>
                                    </p:set>
                                    <p:anim calcmode="lin" valueType="num">
                                      <p:cBhvr additive="base">
                                        <p:cTn id="108" dur="1000"/>
                                        <p:tgtEl>
                                          <p:spTgt spid="99"/>
                                        </p:tgtEl>
                                        <p:attrNameLst>
                                          <p:attrName>ppt_y</p:attrName>
                                        </p:attrNameLst>
                                      </p:cBhvr>
                                      <p:tavLst>
                                        <p:tav tm="0">
                                          <p:val>
                                            <p:strVal val="#ppt_y-#ppt_h*1.125000"/>
                                          </p:val>
                                        </p:tav>
                                        <p:tav tm="100000">
                                          <p:val>
                                            <p:strVal val="#ppt_y"/>
                                          </p:val>
                                        </p:tav>
                                      </p:tavLst>
                                    </p:anim>
                                    <p:animEffect transition="in" filter="wipe(down)">
                                      <p:cBhvr>
                                        <p:cTn id="109" dur="1000"/>
                                        <p:tgtEl>
                                          <p:spTgt spid="99"/>
                                        </p:tgtEl>
                                      </p:cBhvr>
                                    </p:animEffect>
                                  </p:childTnLst>
                                </p:cTn>
                              </p:par>
                              <p:par>
                                <p:cTn id="110" presetID="12" presetClass="entr" presetSubtype="1" fill="hold" grpId="0" nodeType="withEffect">
                                  <p:stCondLst>
                                    <p:cond delay="2750"/>
                                  </p:stCondLst>
                                  <p:childTnLst>
                                    <p:set>
                                      <p:cBhvr>
                                        <p:cTn id="111" dur="1" fill="hold">
                                          <p:stCondLst>
                                            <p:cond delay="0"/>
                                          </p:stCondLst>
                                        </p:cTn>
                                        <p:tgtEl>
                                          <p:spTgt spid="102"/>
                                        </p:tgtEl>
                                        <p:attrNameLst>
                                          <p:attrName>style.visibility</p:attrName>
                                        </p:attrNameLst>
                                      </p:cBhvr>
                                      <p:to>
                                        <p:strVal val="visible"/>
                                      </p:to>
                                    </p:set>
                                    <p:anim calcmode="lin" valueType="num">
                                      <p:cBhvr additive="base">
                                        <p:cTn id="112" dur="1000"/>
                                        <p:tgtEl>
                                          <p:spTgt spid="102"/>
                                        </p:tgtEl>
                                        <p:attrNameLst>
                                          <p:attrName>ppt_y</p:attrName>
                                        </p:attrNameLst>
                                      </p:cBhvr>
                                      <p:tavLst>
                                        <p:tav tm="0">
                                          <p:val>
                                            <p:strVal val="#ppt_y-#ppt_h*1.125000"/>
                                          </p:val>
                                        </p:tav>
                                        <p:tav tm="100000">
                                          <p:val>
                                            <p:strVal val="#ppt_y"/>
                                          </p:val>
                                        </p:tav>
                                      </p:tavLst>
                                    </p:anim>
                                    <p:animEffect transition="in" filter="wipe(down)">
                                      <p:cBhvr>
                                        <p:cTn id="113" dur="1000"/>
                                        <p:tgtEl>
                                          <p:spTgt spid="102"/>
                                        </p:tgtEl>
                                      </p:cBhvr>
                                    </p:animEffect>
                                  </p:childTnLst>
                                </p:cTn>
                              </p:par>
                              <p:par>
                                <p:cTn id="114" presetID="12" presetClass="entr" presetSubtype="1" fill="hold" grpId="0" nodeType="withEffect">
                                  <p:stCondLst>
                                    <p:cond delay="2750"/>
                                  </p:stCondLst>
                                  <p:childTnLst>
                                    <p:set>
                                      <p:cBhvr>
                                        <p:cTn id="115" dur="1" fill="hold">
                                          <p:stCondLst>
                                            <p:cond delay="0"/>
                                          </p:stCondLst>
                                        </p:cTn>
                                        <p:tgtEl>
                                          <p:spTgt spid="112"/>
                                        </p:tgtEl>
                                        <p:attrNameLst>
                                          <p:attrName>style.visibility</p:attrName>
                                        </p:attrNameLst>
                                      </p:cBhvr>
                                      <p:to>
                                        <p:strVal val="visible"/>
                                      </p:to>
                                    </p:set>
                                    <p:anim calcmode="lin" valueType="num">
                                      <p:cBhvr additive="base">
                                        <p:cTn id="116" dur="1000"/>
                                        <p:tgtEl>
                                          <p:spTgt spid="112"/>
                                        </p:tgtEl>
                                        <p:attrNameLst>
                                          <p:attrName>ppt_y</p:attrName>
                                        </p:attrNameLst>
                                      </p:cBhvr>
                                      <p:tavLst>
                                        <p:tav tm="0">
                                          <p:val>
                                            <p:strVal val="#ppt_y-#ppt_h*1.125000"/>
                                          </p:val>
                                        </p:tav>
                                        <p:tav tm="100000">
                                          <p:val>
                                            <p:strVal val="#ppt_y"/>
                                          </p:val>
                                        </p:tav>
                                      </p:tavLst>
                                    </p:anim>
                                    <p:animEffect transition="in" filter="wipe(down)">
                                      <p:cBhvr>
                                        <p:cTn id="117" dur="10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1" grpId="1" animBg="1"/>
      <p:bldP spid="45" grpId="0" animBg="1"/>
      <p:bldP spid="45" grpId="1" animBg="1"/>
      <p:bldP spid="46" grpId="0" animBg="1"/>
      <p:bldP spid="46" grpId="1" animBg="1"/>
      <p:bldP spid="43" grpId="0" animBg="1"/>
      <p:bldP spid="43" grpId="1" animBg="1"/>
      <p:bldP spid="44" grpId="0" animBg="1"/>
      <p:bldP spid="44" grpId="1" animBg="1"/>
      <p:bldP spid="91" grpId="0"/>
      <p:bldP spid="90" grpId="0"/>
      <p:bldP spid="93" grpId="0"/>
      <p:bldP spid="94" grpId="0"/>
      <p:bldP spid="95" grpId="0"/>
      <p:bldP spid="47" grpId="0" animBg="1"/>
      <p:bldP spid="12" grpId="0" animBg="1"/>
      <p:bldP spid="96" grpId="0" animBg="1"/>
      <p:bldP spid="98" grpId="0"/>
      <p:bldP spid="99" grpId="0"/>
      <p:bldP spid="101" grpId="0"/>
      <p:bldP spid="102" grpId="0"/>
      <p:bldP spid="108" grpId="0"/>
      <p:bldP spid="109" grpId="0"/>
      <p:bldP spid="106" grpId="0"/>
      <p:bldP spid="107" grpId="0"/>
      <p:bldP spid="111" grpId="0"/>
      <p:bldP spid="11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36BD7350-60BD-40DF-BA6B-F549A22426A2}"/>
              </a:ext>
            </a:extLst>
          </p:cNvPr>
          <p:cNvGrpSpPr/>
          <p:nvPr/>
        </p:nvGrpSpPr>
        <p:grpSpPr>
          <a:xfrm>
            <a:off x="647700" y="483108"/>
            <a:ext cx="10678307" cy="5891785"/>
            <a:chOff x="647700" y="632472"/>
            <a:chExt cx="10678307" cy="5891785"/>
          </a:xfrm>
        </p:grpSpPr>
        <p:grpSp>
          <p:nvGrpSpPr>
            <p:cNvPr id="9" name="Group 8">
              <a:extLst>
                <a:ext uri="{FF2B5EF4-FFF2-40B4-BE49-F238E27FC236}">
                  <a16:creationId xmlns:a16="http://schemas.microsoft.com/office/drawing/2014/main" id="{639A206E-6DF9-4A7D-82E8-ECF4A2711226}"/>
                </a:ext>
              </a:extLst>
            </p:cNvPr>
            <p:cNvGrpSpPr/>
            <p:nvPr/>
          </p:nvGrpSpPr>
          <p:grpSpPr>
            <a:xfrm>
              <a:off x="8582806" y="3853484"/>
              <a:ext cx="2743201" cy="788847"/>
              <a:chOff x="8430406" y="3764584"/>
              <a:chExt cx="2743201" cy="788847"/>
            </a:xfrm>
          </p:grpSpPr>
          <p:sp>
            <p:nvSpPr>
              <p:cNvPr id="70" name="Rectangle 69">
                <a:extLst>
                  <a:ext uri="{FF2B5EF4-FFF2-40B4-BE49-F238E27FC236}">
                    <a16:creationId xmlns:a16="http://schemas.microsoft.com/office/drawing/2014/main" id="{EF320344-D803-41BA-812E-005A4C081735}"/>
                  </a:ext>
                </a:extLst>
              </p:cNvPr>
              <p:cNvSpPr/>
              <p:nvPr/>
            </p:nvSpPr>
            <p:spPr>
              <a:xfrm>
                <a:off x="8430407" y="3764584"/>
                <a:ext cx="2743200" cy="246221"/>
              </a:xfrm>
              <a:prstGeom prst="rect">
                <a:avLst/>
              </a:prstGeom>
            </p:spPr>
            <p:txBody>
              <a:bodyPr wrap="square" lIns="0" tIns="0" rIns="0" bIns="0" anchor="ctr">
                <a:spAutoFit/>
              </a:bodyPr>
              <a:lstStyle/>
              <a:p>
                <a:r>
                  <a:rPr lang="en-US" sz="1600" b="1" dirty="0">
                    <a:solidFill>
                      <a:schemeClr val="accent2">
                        <a:lumMod val="50000"/>
                        <a:lumOff val="50000"/>
                      </a:schemeClr>
                    </a:solidFill>
                    <a:latin typeface="Montserrat" panose="00000500000000000000" pitchFamily="50" charset="0"/>
                  </a:rPr>
                  <a:t>Social Media</a:t>
                </a:r>
              </a:p>
            </p:txBody>
          </p:sp>
          <p:sp>
            <p:nvSpPr>
              <p:cNvPr id="71" name="Rectangle 70">
                <a:extLst>
                  <a:ext uri="{FF2B5EF4-FFF2-40B4-BE49-F238E27FC236}">
                    <a16:creationId xmlns:a16="http://schemas.microsoft.com/office/drawing/2014/main" id="{40F8BBB4-E60B-4BF7-B1AD-560F66ABF10D}"/>
                  </a:ext>
                </a:extLst>
              </p:cNvPr>
              <p:cNvSpPr/>
              <p:nvPr/>
            </p:nvSpPr>
            <p:spPr>
              <a:xfrm>
                <a:off x="8430406" y="4116324"/>
                <a:ext cx="2743201" cy="437107"/>
              </a:xfrm>
              <a:prstGeom prst="rect">
                <a:avLst/>
              </a:prstGeom>
            </p:spPr>
            <p:txBody>
              <a:bodyPr wrap="square" lIns="0" tIns="0" rIns="0" bIns="0">
                <a:spAutoFit/>
              </a:bodyPr>
              <a:lstStyle/>
              <a:p>
                <a:pPr>
                  <a:lnSpc>
                    <a:spcPts val="1800"/>
                  </a:lnSpc>
                </a:pPr>
                <a:r>
                  <a:rPr lang="en-US" sz="1100" dirty="0">
                    <a:latin typeface="Montserrat" panose="00000500000000000000" pitchFamily="50" charset="0"/>
                  </a:rPr>
                  <a:t>A Venn diagram shows the similarities &amp; differences between two sets of data. </a:t>
                </a:r>
              </a:p>
            </p:txBody>
          </p:sp>
        </p:grpSp>
        <p:grpSp>
          <p:nvGrpSpPr>
            <p:cNvPr id="10" name="Group 9">
              <a:extLst>
                <a:ext uri="{FF2B5EF4-FFF2-40B4-BE49-F238E27FC236}">
                  <a16:creationId xmlns:a16="http://schemas.microsoft.com/office/drawing/2014/main" id="{311E9777-7D12-4ABA-9346-1403CC3A8F31}"/>
                </a:ext>
              </a:extLst>
            </p:cNvPr>
            <p:cNvGrpSpPr/>
            <p:nvPr/>
          </p:nvGrpSpPr>
          <p:grpSpPr>
            <a:xfrm>
              <a:off x="647700" y="3853484"/>
              <a:ext cx="2961494" cy="788847"/>
              <a:chOff x="800100" y="3764584"/>
              <a:chExt cx="2961494" cy="788847"/>
            </a:xfrm>
          </p:grpSpPr>
          <p:sp>
            <p:nvSpPr>
              <p:cNvPr id="72" name="Rectangle 71">
                <a:extLst>
                  <a:ext uri="{FF2B5EF4-FFF2-40B4-BE49-F238E27FC236}">
                    <a16:creationId xmlns:a16="http://schemas.microsoft.com/office/drawing/2014/main" id="{F9818C42-0E74-40EF-AAAE-75530ADA8D82}"/>
                  </a:ext>
                </a:extLst>
              </p:cNvPr>
              <p:cNvSpPr/>
              <p:nvPr/>
            </p:nvSpPr>
            <p:spPr>
              <a:xfrm>
                <a:off x="1018394" y="3764584"/>
                <a:ext cx="2743200" cy="246221"/>
              </a:xfrm>
              <a:prstGeom prst="rect">
                <a:avLst/>
              </a:prstGeom>
            </p:spPr>
            <p:txBody>
              <a:bodyPr wrap="square" lIns="0" tIns="0" rIns="0" bIns="0" anchor="ctr">
                <a:spAutoFit/>
              </a:bodyPr>
              <a:lstStyle/>
              <a:p>
                <a:pPr algn="r"/>
                <a:r>
                  <a:rPr lang="en-US" sz="1600" b="1" dirty="0">
                    <a:solidFill>
                      <a:schemeClr val="tx2">
                        <a:lumMod val="60000"/>
                        <a:lumOff val="40000"/>
                      </a:schemeClr>
                    </a:solidFill>
                    <a:latin typeface="Montserrat" panose="00000500000000000000" pitchFamily="50" charset="0"/>
                  </a:rPr>
                  <a:t>Analysis</a:t>
                </a:r>
              </a:p>
            </p:txBody>
          </p:sp>
          <p:sp>
            <p:nvSpPr>
              <p:cNvPr id="73" name="Rectangle 72">
                <a:extLst>
                  <a:ext uri="{FF2B5EF4-FFF2-40B4-BE49-F238E27FC236}">
                    <a16:creationId xmlns:a16="http://schemas.microsoft.com/office/drawing/2014/main" id="{7C7E82A0-F15F-4D2C-9AEF-B5DD6AF48021}"/>
                  </a:ext>
                </a:extLst>
              </p:cNvPr>
              <p:cNvSpPr/>
              <p:nvPr/>
            </p:nvSpPr>
            <p:spPr>
              <a:xfrm>
                <a:off x="800100" y="4116324"/>
                <a:ext cx="2961494" cy="437107"/>
              </a:xfrm>
              <a:prstGeom prst="rect">
                <a:avLst/>
              </a:prstGeom>
            </p:spPr>
            <p:txBody>
              <a:bodyPr wrap="square" lIns="0" tIns="0" rIns="0" bIns="0">
                <a:spAutoFit/>
              </a:bodyPr>
              <a:lstStyle/>
              <a:p>
                <a:pPr algn="r">
                  <a:lnSpc>
                    <a:spcPts val="1800"/>
                  </a:lnSpc>
                </a:pPr>
                <a:r>
                  <a:rPr lang="en-US" sz="1100" dirty="0">
                    <a:latin typeface="Montserrat" panose="00000500000000000000" pitchFamily="50" charset="0"/>
                  </a:rPr>
                  <a:t>The overlapping area shows where the two sets have something in common.</a:t>
                </a:r>
              </a:p>
            </p:txBody>
          </p:sp>
        </p:grpSp>
        <p:grpSp>
          <p:nvGrpSpPr>
            <p:cNvPr id="5" name="Group 4">
              <a:extLst>
                <a:ext uri="{FF2B5EF4-FFF2-40B4-BE49-F238E27FC236}">
                  <a16:creationId xmlns:a16="http://schemas.microsoft.com/office/drawing/2014/main" id="{E06EAB25-B39D-43D0-8E36-28BAC7D2C220}"/>
                </a:ext>
              </a:extLst>
            </p:cNvPr>
            <p:cNvGrpSpPr/>
            <p:nvPr/>
          </p:nvGrpSpPr>
          <p:grpSpPr>
            <a:xfrm>
              <a:off x="1447800" y="632472"/>
              <a:ext cx="2952993" cy="788847"/>
              <a:chOff x="1701800" y="708672"/>
              <a:chExt cx="2952993" cy="788847"/>
            </a:xfrm>
          </p:grpSpPr>
          <p:sp>
            <p:nvSpPr>
              <p:cNvPr id="74" name="Rectangle 73">
                <a:extLst>
                  <a:ext uri="{FF2B5EF4-FFF2-40B4-BE49-F238E27FC236}">
                    <a16:creationId xmlns:a16="http://schemas.microsoft.com/office/drawing/2014/main" id="{3B2F520C-E9CB-4430-B119-8DE39D018B00}"/>
                  </a:ext>
                </a:extLst>
              </p:cNvPr>
              <p:cNvSpPr/>
              <p:nvPr/>
            </p:nvSpPr>
            <p:spPr>
              <a:xfrm>
                <a:off x="1908453" y="708672"/>
                <a:ext cx="2746340" cy="246221"/>
              </a:xfrm>
              <a:prstGeom prst="rect">
                <a:avLst/>
              </a:prstGeom>
            </p:spPr>
            <p:txBody>
              <a:bodyPr wrap="square" lIns="0" tIns="0" rIns="0" bIns="0" anchor="ctr">
                <a:spAutoFit/>
              </a:bodyPr>
              <a:lstStyle/>
              <a:p>
                <a:pPr algn="r"/>
                <a:r>
                  <a:rPr lang="en-US" sz="1600" b="1" dirty="0">
                    <a:solidFill>
                      <a:schemeClr val="accent1"/>
                    </a:solidFill>
                    <a:latin typeface="Montserrat" panose="00000500000000000000" pitchFamily="50" charset="0"/>
                  </a:rPr>
                  <a:t>Delivery</a:t>
                </a:r>
              </a:p>
            </p:txBody>
          </p:sp>
          <p:sp>
            <p:nvSpPr>
              <p:cNvPr id="75" name="Rectangle 74">
                <a:extLst>
                  <a:ext uri="{FF2B5EF4-FFF2-40B4-BE49-F238E27FC236}">
                    <a16:creationId xmlns:a16="http://schemas.microsoft.com/office/drawing/2014/main" id="{501208CF-6885-4AD5-AD8C-97EE14AB2063}"/>
                  </a:ext>
                </a:extLst>
              </p:cNvPr>
              <p:cNvSpPr/>
              <p:nvPr/>
            </p:nvSpPr>
            <p:spPr>
              <a:xfrm>
                <a:off x="1701800" y="1060412"/>
                <a:ext cx="2952993" cy="437107"/>
              </a:xfrm>
              <a:prstGeom prst="rect">
                <a:avLst/>
              </a:prstGeom>
            </p:spPr>
            <p:txBody>
              <a:bodyPr wrap="square" lIns="0" tIns="0" rIns="0" bIns="0">
                <a:spAutoFit/>
              </a:bodyPr>
              <a:lstStyle/>
              <a:p>
                <a:pPr algn="r">
                  <a:lnSpc>
                    <a:spcPts val="1800"/>
                  </a:lnSpc>
                </a:pPr>
                <a:r>
                  <a:rPr lang="en-US" sz="1100" dirty="0">
                    <a:latin typeface="Montserrat" panose="00000500000000000000" pitchFamily="50" charset="0"/>
                  </a:rPr>
                  <a:t>A Venn diagram shows the similarities and differences between two sets of data. </a:t>
                </a:r>
              </a:p>
            </p:txBody>
          </p:sp>
        </p:grpSp>
        <p:grpSp>
          <p:nvGrpSpPr>
            <p:cNvPr id="8" name="Group 7">
              <a:extLst>
                <a:ext uri="{FF2B5EF4-FFF2-40B4-BE49-F238E27FC236}">
                  <a16:creationId xmlns:a16="http://schemas.microsoft.com/office/drawing/2014/main" id="{64AB9DA8-5B22-4900-B963-44A72CE59630}"/>
                </a:ext>
              </a:extLst>
            </p:cNvPr>
            <p:cNvGrpSpPr/>
            <p:nvPr/>
          </p:nvGrpSpPr>
          <p:grpSpPr>
            <a:xfrm>
              <a:off x="7781648" y="632472"/>
              <a:ext cx="2743200" cy="788847"/>
              <a:chOff x="7540348" y="708672"/>
              <a:chExt cx="2743200" cy="788847"/>
            </a:xfrm>
          </p:grpSpPr>
          <p:sp>
            <p:nvSpPr>
              <p:cNvPr id="76" name="Rectangle 75">
                <a:extLst>
                  <a:ext uri="{FF2B5EF4-FFF2-40B4-BE49-F238E27FC236}">
                    <a16:creationId xmlns:a16="http://schemas.microsoft.com/office/drawing/2014/main" id="{4327DA6A-94D0-4F82-B827-EE2177456DD6}"/>
                  </a:ext>
                </a:extLst>
              </p:cNvPr>
              <p:cNvSpPr/>
              <p:nvPr/>
            </p:nvSpPr>
            <p:spPr>
              <a:xfrm>
                <a:off x="7540348" y="708672"/>
                <a:ext cx="2743200" cy="246221"/>
              </a:xfrm>
              <a:prstGeom prst="rect">
                <a:avLst/>
              </a:prstGeom>
            </p:spPr>
            <p:txBody>
              <a:bodyPr wrap="square" lIns="0" tIns="0" rIns="0" bIns="0" anchor="ctr">
                <a:spAutoFit/>
              </a:bodyPr>
              <a:lstStyle/>
              <a:p>
                <a:r>
                  <a:rPr lang="en-US" sz="1600" b="1" dirty="0">
                    <a:solidFill>
                      <a:schemeClr val="accent3"/>
                    </a:solidFill>
                    <a:latin typeface="Montserrat" panose="00000500000000000000" pitchFamily="50" charset="0"/>
                  </a:rPr>
                  <a:t>Planning</a:t>
                </a:r>
              </a:p>
            </p:txBody>
          </p:sp>
          <p:sp>
            <p:nvSpPr>
              <p:cNvPr id="77" name="Rectangle 76">
                <a:extLst>
                  <a:ext uri="{FF2B5EF4-FFF2-40B4-BE49-F238E27FC236}">
                    <a16:creationId xmlns:a16="http://schemas.microsoft.com/office/drawing/2014/main" id="{614D85FA-57B7-4F9F-AED7-349BF9EC6599}"/>
                  </a:ext>
                </a:extLst>
              </p:cNvPr>
              <p:cNvSpPr/>
              <p:nvPr/>
            </p:nvSpPr>
            <p:spPr>
              <a:xfrm>
                <a:off x="7540348" y="1060412"/>
                <a:ext cx="2743200" cy="437107"/>
              </a:xfrm>
              <a:prstGeom prst="rect">
                <a:avLst/>
              </a:prstGeom>
            </p:spPr>
            <p:txBody>
              <a:bodyPr wrap="square" lIns="0" tIns="0" rIns="0" bIns="0">
                <a:spAutoFit/>
              </a:bodyPr>
              <a:lstStyle/>
              <a:p>
                <a:pPr>
                  <a:lnSpc>
                    <a:spcPts val="1800"/>
                  </a:lnSpc>
                </a:pPr>
                <a:r>
                  <a:rPr lang="en-US" sz="1100" dirty="0">
                    <a:latin typeface="Montserrat" panose="00000500000000000000" pitchFamily="50" charset="0"/>
                  </a:rPr>
                  <a:t>The overlapping area shows where the two sets have something in common.</a:t>
                </a:r>
              </a:p>
            </p:txBody>
          </p:sp>
        </p:grpSp>
        <p:grpSp>
          <p:nvGrpSpPr>
            <p:cNvPr id="11" name="Group 10">
              <a:extLst>
                <a:ext uri="{FF2B5EF4-FFF2-40B4-BE49-F238E27FC236}">
                  <a16:creationId xmlns:a16="http://schemas.microsoft.com/office/drawing/2014/main" id="{E4FC2E13-6A17-42CE-9350-EC7EDC586714}"/>
                </a:ext>
              </a:extLst>
            </p:cNvPr>
            <p:cNvGrpSpPr/>
            <p:nvPr/>
          </p:nvGrpSpPr>
          <p:grpSpPr>
            <a:xfrm>
              <a:off x="4651652" y="5735410"/>
              <a:ext cx="2888696" cy="788847"/>
              <a:chOff x="4651652" y="5621110"/>
              <a:chExt cx="2888696" cy="788847"/>
            </a:xfrm>
          </p:grpSpPr>
          <p:sp>
            <p:nvSpPr>
              <p:cNvPr id="78" name="Rectangle 77">
                <a:extLst>
                  <a:ext uri="{FF2B5EF4-FFF2-40B4-BE49-F238E27FC236}">
                    <a16:creationId xmlns:a16="http://schemas.microsoft.com/office/drawing/2014/main" id="{70CCD5C3-6057-4E54-A342-4E9255DA2AD6}"/>
                  </a:ext>
                </a:extLst>
              </p:cNvPr>
              <p:cNvSpPr/>
              <p:nvPr/>
            </p:nvSpPr>
            <p:spPr>
              <a:xfrm>
                <a:off x="4724400" y="5621110"/>
                <a:ext cx="2743200" cy="246221"/>
              </a:xfrm>
              <a:prstGeom prst="rect">
                <a:avLst/>
              </a:prstGeom>
            </p:spPr>
            <p:txBody>
              <a:bodyPr wrap="square" lIns="0" tIns="0" rIns="0" bIns="0" anchor="ctr">
                <a:spAutoFit/>
              </a:bodyPr>
              <a:lstStyle/>
              <a:p>
                <a:pPr algn="ctr"/>
                <a:r>
                  <a:rPr lang="en-US" sz="1600" b="1" dirty="0">
                    <a:solidFill>
                      <a:schemeClr val="accent4"/>
                    </a:solidFill>
                    <a:latin typeface="Montserrat" panose="00000500000000000000" pitchFamily="50" charset="0"/>
                  </a:rPr>
                  <a:t>Brainstorm</a:t>
                </a:r>
              </a:p>
            </p:txBody>
          </p:sp>
          <p:sp>
            <p:nvSpPr>
              <p:cNvPr id="79" name="Rectangle 78">
                <a:extLst>
                  <a:ext uri="{FF2B5EF4-FFF2-40B4-BE49-F238E27FC236}">
                    <a16:creationId xmlns:a16="http://schemas.microsoft.com/office/drawing/2014/main" id="{F86798A4-39D4-4913-AEFD-A994C5F66AAA}"/>
                  </a:ext>
                </a:extLst>
              </p:cNvPr>
              <p:cNvSpPr/>
              <p:nvPr/>
            </p:nvSpPr>
            <p:spPr>
              <a:xfrm>
                <a:off x="4651652" y="5972850"/>
                <a:ext cx="2888696" cy="437107"/>
              </a:xfrm>
              <a:prstGeom prst="rect">
                <a:avLst/>
              </a:prstGeom>
            </p:spPr>
            <p:txBody>
              <a:bodyPr wrap="square" lIns="0" tIns="0" rIns="0" bIns="0">
                <a:spAutoFit/>
              </a:bodyPr>
              <a:lstStyle/>
              <a:p>
                <a:pPr algn="ctr">
                  <a:lnSpc>
                    <a:spcPts val="1800"/>
                  </a:lnSpc>
                </a:pPr>
                <a:r>
                  <a:rPr lang="en-US" sz="1100" dirty="0">
                    <a:latin typeface="Montserrat" panose="00000500000000000000" pitchFamily="50" charset="0"/>
                  </a:rPr>
                  <a:t>The overlapping area shows where the two sets have something in common.</a:t>
                </a:r>
              </a:p>
            </p:txBody>
          </p:sp>
        </p:grpSp>
        <p:sp>
          <p:nvSpPr>
            <p:cNvPr id="94" name="Freeform: Shape 93">
              <a:extLst>
                <a:ext uri="{FF2B5EF4-FFF2-40B4-BE49-F238E27FC236}">
                  <a16:creationId xmlns:a16="http://schemas.microsoft.com/office/drawing/2014/main" id="{39C50319-C5FC-4706-AA61-3844C5069697}"/>
                </a:ext>
              </a:extLst>
            </p:cNvPr>
            <p:cNvSpPr/>
            <p:nvPr/>
          </p:nvSpPr>
          <p:spPr>
            <a:xfrm>
              <a:off x="5454565" y="2790022"/>
              <a:ext cx="1287178" cy="1221468"/>
            </a:xfrm>
            <a:custGeom>
              <a:avLst/>
              <a:gdLst>
                <a:gd name="connsiteX0" fmla="*/ 1221683 w 1511377"/>
                <a:gd name="connsiteY0" fmla="*/ 0 h 1434223"/>
                <a:gd name="connsiteX1" fmla="*/ 1220286 w 1511377"/>
                <a:gd name="connsiteY1" fmla="*/ 10307 h 1434223"/>
                <a:gd name="connsiteX2" fmla="*/ 1273724 w 1511377"/>
                <a:gd name="connsiteY2" fmla="*/ 473151 h 1434223"/>
                <a:gd name="connsiteX3" fmla="*/ 1502546 w 1511377"/>
                <a:gd name="connsiteY3" fmla="*/ 879010 h 1434223"/>
                <a:gd name="connsiteX4" fmla="*/ 1511377 w 1511377"/>
                <a:gd name="connsiteY4" fmla="*/ 888244 h 1434223"/>
                <a:gd name="connsiteX5" fmla="*/ 1388939 w 1511377"/>
                <a:gd name="connsiteY5" fmla="*/ 919898 h 1434223"/>
                <a:gd name="connsiteX6" fmla="*/ 1075662 w 1511377"/>
                <a:gd name="connsiteY6" fmla="*/ 1082303 h 1434223"/>
                <a:gd name="connsiteX7" fmla="*/ 760376 w 1511377"/>
                <a:gd name="connsiteY7" fmla="*/ 1425342 h 1434223"/>
                <a:gd name="connsiteX8" fmla="*/ 755598 w 1511377"/>
                <a:gd name="connsiteY8" fmla="*/ 1434223 h 1434223"/>
                <a:gd name="connsiteX9" fmla="*/ 750787 w 1511377"/>
                <a:gd name="connsiteY9" fmla="*/ 1425280 h 1434223"/>
                <a:gd name="connsiteX10" fmla="*/ 435501 w 1511377"/>
                <a:gd name="connsiteY10" fmla="*/ 1082240 h 1434223"/>
                <a:gd name="connsiteX11" fmla="*/ 122226 w 1511377"/>
                <a:gd name="connsiteY11" fmla="*/ 919835 h 1434223"/>
                <a:gd name="connsiteX12" fmla="*/ 0 w 1511377"/>
                <a:gd name="connsiteY12" fmla="*/ 888236 h 1434223"/>
                <a:gd name="connsiteX13" fmla="*/ 8721 w 1511377"/>
                <a:gd name="connsiteY13" fmla="*/ 879116 h 1434223"/>
                <a:gd name="connsiteX14" fmla="*/ 237542 w 1511377"/>
                <a:gd name="connsiteY14" fmla="*/ 473257 h 1434223"/>
                <a:gd name="connsiteX15" fmla="*/ 290980 w 1511377"/>
                <a:gd name="connsiteY15" fmla="*/ 10412 h 1434223"/>
                <a:gd name="connsiteX16" fmla="*/ 289610 w 1511377"/>
                <a:gd name="connsiteY16" fmla="*/ 306 h 1434223"/>
                <a:gd name="connsiteX17" fmla="*/ 298626 w 1511377"/>
                <a:gd name="connsiteY17" fmla="*/ 4649 h 1434223"/>
                <a:gd name="connsiteX18" fmla="*/ 755330 w 1511377"/>
                <a:gd name="connsiteY18" fmla="*/ 96853 h 1434223"/>
                <a:gd name="connsiteX19" fmla="*/ 1212033 w 1511377"/>
                <a:gd name="connsiteY19" fmla="*/ 4649 h 1434223"/>
                <a:gd name="connsiteX20" fmla="*/ 1221683 w 1511377"/>
                <a:gd name="connsiteY20" fmla="*/ 0 h 143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11377" h="1434223">
                  <a:moveTo>
                    <a:pt x="1221683" y="0"/>
                  </a:moveTo>
                  <a:lnTo>
                    <a:pt x="1220286" y="10307"/>
                  </a:lnTo>
                  <a:cubicBezTo>
                    <a:pt x="1207196" y="162157"/>
                    <a:pt x="1223663" y="319080"/>
                    <a:pt x="1273724" y="473151"/>
                  </a:cubicBezTo>
                  <a:cubicBezTo>
                    <a:pt x="1323785" y="627222"/>
                    <a:pt x="1402701" y="763855"/>
                    <a:pt x="1502546" y="879010"/>
                  </a:cubicBezTo>
                  <a:lnTo>
                    <a:pt x="1511377" y="888244"/>
                  </a:lnTo>
                  <a:lnTo>
                    <a:pt x="1388939" y="919898"/>
                  </a:lnTo>
                  <a:cubicBezTo>
                    <a:pt x="1279619" y="956948"/>
                    <a:pt x="1173958" y="1010888"/>
                    <a:pt x="1075662" y="1082303"/>
                  </a:cubicBezTo>
                  <a:cubicBezTo>
                    <a:pt x="944601" y="1177524"/>
                    <a:pt x="839042" y="1294800"/>
                    <a:pt x="760376" y="1425342"/>
                  </a:cubicBezTo>
                  <a:lnTo>
                    <a:pt x="755598" y="1434223"/>
                  </a:lnTo>
                  <a:lnTo>
                    <a:pt x="750787" y="1425280"/>
                  </a:lnTo>
                  <a:cubicBezTo>
                    <a:pt x="672121" y="1294737"/>
                    <a:pt x="566562" y="1177462"/>
                    <a:pt x="435501" y="1082240"/>
                  </a:cubicBezTo>
                  <a:cubicBezTo>
                    <a:pt x="337205" y="1010825"/>
                    <a:pt x="231545" y="956885"/>
                    <a:pt x="122226" y="919835"/>
                  </a:cubicBezTo>
                  <a:lnTo>
                    <a:pt x="0" y="888236"/>
                  </a:lnTo>
                  <a:lnTo>
                    <a:pt x="8721" y="879116"/>
                  </a:lnTo>
                  <a:cubicBezTo>
                    <a:pt x="108565" y="763961"/>
                    <a:pt x="187481" y="627328"/>
                    <a:pt x="237542" y="473257"/>
                  </a:cubicBezTo>
                  <a:cubicBezTo>
                    <a:pt x="287603" y="319186"/>
                    <a:pt x="304069" y="162262"/>
                    <a:pt x="290980" y="10412"/>
                  </a:cubicBezTo>
                  <a:lnTo>
                    <a:pt x="289610" y="306"/>
                  </a:lnTo>
                  <a:lnTo>
                    <a:pt x="298626" y="4649"/>
                  </a:lnTo>
                  <a:cubicBezTo>
                    <a:pt x="438998" y="64021"/>
                    <a:pt x="593330" y="96853"/>
                    <a:pt x="755330" y="96853"/>
                  </a:cubicBezTo>
                  <a:cubicBezTo>
                    <a:pt x="917329" y="96853"/>
                    <a:pt x="1071660" y="64021"/>
                    <a:pt x="1212033" y="4649"/>
                  </a:cubicBezTo>
                  <a:lnTo>
                    <a:pt x="1221683" y="0"/>
                  </a:lnTo>
                  <a:close/>
                </a:path>
              </a:pathLst>
            </a:custGeom>
            <a:solidFill>
              <a:schemeClr val="tx2"/>
            </a:solidFill>
            <a:ln w="25400" cap="flat">
              <a:noFill/>
              <a:prstDash val="solid"/>
              <a:miter lim="800000"/>
            </a:ln>
          </p:spPr>
          <p:txBody>
            <a:bodyPr wrap="square" bIns="182880" rtlCol="0" anchor="ctr">
              <a:noAutofit/>
            </a:bodyPr>
            <a:lstStyle/>
            <a:p>
              <a:pPr algn="ctr"/>
              <a:endParaRPr lang="en-US" sz="1200" b="1" dirty="0">
                <a:solidFill>
                  <a:schemeClr val="bg1"/>
                </a:solidFill>
                <a:latin typeface="Montserrat" panose="00000500000000000000" pitchFamily="50" charset="0"/>
              </a:endParaRPr>
            </a:p>
          </p:txBody>
        </p:sp>
        <p:grpSp>
          <p:nvGrpSpPr>
            <p:cNvPr id="6" name="Group 5">
              <a:extLst>
                <a:ext uri="{FF2B5EF4-FFF2-40B4-BE49-F238E27FC236}">
                  <a16:creationId xmlns:a16="http://schemas.microsoft.com/office/drawing/2014/main" id="{0005A135-BA83-4897-9793-E1099940BF61}"/>
                </a:ext>
              </a:extLst>
            </p:cNvPr>
            <p:cNvGrpSpPr/>
            <p:nvPr/>
          </p:nvGrpSpPr>
          <p:grpSpPr>
            <a:xfrm>
              <a:off x="4494358" y="1975885"/>
              <a:ext cx="3203116" cy="3049126"/>
              <a:chOff x="4494358" y="2204485"/>
              <a:chExt cx="3203116" cy="3049126"/>
            </a:xfrm>
          </p:grpSpPr>
          <p:sp>
            <p:nvSpPr>
              <p:cNvPr id="61" name="Freeform: Shape 60">
                <a:extLst>
                  <a:ext uri="{FF2B5EF4-FFF2-40B4-BE49-F238E27FC236}">
                    <a16:creationId xmlns:a16="http://schemas.microsoft.com/office/drawing/2014/main" id="{74729786-334F-41CA-B99E-509EEE1F14B3}"/>
                  </a:ext>
                </a:extLst>
              </p:cNvPr>
              <p:cNvSpPr/>
              <p:nvPr/>
            </p:nvSpPr>
            <p:spPr>
              <a:xfrm>
                <a:off x="5105088" y="2204485"/>
                <a:ext cx="595552" cy="819561"/>
              </a:xfrm>
              <a:custGeom>
                <a:avLst/>
                <a:gdLst>
                  <a:gd name="connsiteX0" fmla="*/ 0 w 701997"/>
                  <a:gd name="connsiteY0" fmla="*/ 0 h 966043"/>
                  <a:gd name="connsiteX1" fmla="*/ 8839 w 701997"/>
                  <a:gd name="connsiteY1" fmla="*/ 3373 h 966043"/>
                  <a:gd name="connsiteX2" fmla="*/ 688072 w 701997"/>
                  <a:gd name="connsiteY2" fmla="*/ 863338 h 966043"/>
                  <a:gd name="connsiteX3" fmla="*/ 701997 w 701997"/>
                  <a:gd name="connsiteY3" fmla="*/ 966043 h 966043"/>
                  <a:gd name="connsiteX4" fmla="*/ 608449 w 701997"/>
                  <a:gd name="connsiteY4" fmla="*/ 920978 h 966043"/>
                  <a:gd name="connsiteX5" fmla="*/ 467 w 701997"/>
                  <a:gd name="connsiteY5" fmla="*/ 9245 h 966043"/>
                  <a:gd name="connsiteX6" fmla="*/ 0 w 701997"/>
                  <a:gd name="connsiteY6" fmla="*/ 0 h 966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1997" h="966043">
                    <a:moveTo>
                      <a:pt x="0" y="0"/>
                    </a:moveTo>
                    <a:lnTo>
                      <a:pt x="8839" y="3373"/>
                    </a:lnTo>
                    <a:cubicBezTo>
                      <a:pt x="371587" y="163357"/>
                      <a:pt x="619035" y="491297"/>
                      <a:pt x="688072" y="863338"/>
                    </a:cubicBezTo>
                    <a:lnTo>
                      <a:pt x="701997" y="966043"/>
                    </a:lnTo>
                    <a:lnTo>
                      <a:pt x="608449" y="920978"/>
                    </a:lnTo>
                    <a:cubicBezTo>
                      <a:pt x="275949" y="740353"/>
                      <a:pt x="40523" y="403677"/>
                      <a:pt x="467" y="9245"/>
                    </a:cubicBezTo>
                    <a:lnTo>
                      <a:pt x="0" y="0"/>
                    </a:lnTo>
                    <a:close/>
                  </a:path>
                </a:pathLst>
              </a:custGeom>
              <a:gradFill>
                <a:gsLst>
                  <a:gs pos="100000">
                    <a:schemeClr val="accent1">
                      <a:alpha val="50000"/>
                    </a:schemeClr>
                  </a:gs>
                  <a:gs pos="0">
                    <a:schemeClr val="accent1"/>
                  </a:gs>
                </a:gsLst>
                <a:lin ang="16200000" scaled="1"/>
              </a:gradFill>
              <a:ln w="3943" cap="flat">
                <a:noFill/>
                <a:prstDash val="solid"/>
                <a:round/>
              </a:ln>
            </p:spPr>
            <p:txBody>
              <a:bodyPr wrap="square" rtlCol="0" anchor="ctr">
                <a:noAutofit/>
              </a:bodyPr>
              <a:lstStyle/>
              <a:p>
                <a:endParaRPr lang="en-US" dirty="0"/>
              </a:p>
            </p:txBody>
          </p:sp>
          <p:sp>
            <p:nvSpPr>
              <p:cNvPr id="69" name="Freeform: Shape 68">
                <a:extLst>
                  <a:ext uri="{FF2B5EF4-FFF2-40B4-BE49-F238E27FC236}">
                    <a16:creationId xmlns:a16="http://schemas.microsoft.com/office/drawing/2014/main" id="{AE3FC522-C9CB-4ED0-BD61-D4EEE5B9E0DE}"/>
                  </a:ext>
                </a:extLst>
              </p:cNvPr>
              <p:cNvSpPr/>
              <p:nvPr/>
            </p:nvSpPr>
            <p:spPr>
              <a:xfrm>
                <a:off x="6491382" y="2204592"/>
                <a:ext cx="595007" cy="819193"/>
              </a:xfrm>
              <a:custGeom>
                <a:avLst/>
                <a:gdLst>
                  <a:gd name="connsiteX0" fmla="*/ 701354 w 701354"/>
                  <a:gd name="connsiteY0" fmla="*/ 0 h 965610"/>
                  <a:gd name="connsiteX1" fmla="*/ 700894 w 701354"/>
                  <a:gd name="connsiteY1" fmla="*/ 9118 h 965610"/>
                  <a:gd name="connsiteX2" fmla="*/ 92913 w 701354"/>
                  <a:gd name="connsiteY2" fmla="*/ 920851 h 965610"/>
                  <a:gd name="connsiteX3" fmla="*/ 0 w 701354"/>
                  <a:gd name="connsiteY3" fmla="*/ 965610 h 965610"/>
                  <a:gd name="connsiteX4" fmla="*/ 13898 w 701354"/>
                  <a:gd name="connsiteY4" fmla="*/ 863106 h 965610"/>
                  <a:gd name="connsiteX5" fmla="*/ 693131 w 701354"/>
                  <a:gd name="connsiteY5" fmla="*/ 3139 h 965610"/>
                  <a:gd name="connsiteX6" fmla="*/ 701354 w 701354"/>
                  <a:gd name="connsiteY6" fmla="*/ 0 h 965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1354" h="965610">
                    <a:moveTo>
                      <a:pt x="701354" y="0"/>
                    </a:moveTo>
                    <a:lnTo>
                      <a:pt x="700894" y="9118"/>
                    </a:lnTo>
                    <a:cubicBezTo>
                      <a:pt x="660838" y="403550"/>
                      <a:pt x="425412" y="740226"/>
                      <a:pt x="92913" y="920851"/>
                    </a:cubicBezTo>
                    <a:lnTo>
                      <a:pt x="0" y="965610"/>
                    </a:lnTo>
                    <a:lnTo>
                      <a:pt x="13898" y="863106"/>
                    </a:lnTo>
                    <a:cubicBezTo>
                      <a:pt x="82935" y="491064"/>
                      <a:pt x="330383" y="163122"/>
                      <a:pt x="693131" y="3139"/>
                    </a:cubicBezTo>
                    <a:lnTo>
                      <a:pt x="701354" y="0"/>
                    </a:lnTo>
                    <a:close/>
                  </a:path>
                </a:pathLst>
              </a:custGeom>
              <a:gradFill>
                <a:gsLst>
                  <a:gs pos="100000">
                    <a:schemeClr val="accent3"/>
                  </a:gs>
                  <a:gs pos="0">
                    <a:schemeClr val="accent3">
                      <a:alpha val="50000"/>
                    </a:schemeClr>
                  </a:gs>
                </a:gsLst>
                <a:lin ang="9600000" scaled="0"/>
              </a:gradFill>
              <a:ln w="3943" cap="flat">
                <a:noFill/>
                <a:prstDash val="solid"/>
                <a:round/>
              </a:ln>
            </p:spPr>
            <p:txBody>
              <a:bodyPr wrap="square" rtlCol="0" anchor="ctr">
                <a:noAutofit/>
              </a:bodyPr>
              <a:lstStyle/>
              <a:p>
                <a:endParaRPr lang="en-US" dirty="0"/>
              </a:p>
            </p:txBody>
          </p:sp>
          <p:sp>
            <p:nvSpPr>
              <p:cNvPr id="80" name="Freeform: Shape 79">
                <a:extLst>
                  <a:ext uri="{FF2B5EF4-FFF2-40B4-BE49-F238E27FC236}">
                    <a16:creationId xmlns:a16="http://schemas.microsoft.com/office/drawing/2014/main" id="{CB61C3BE-1026-4A4A-AEFD-8BE3C0B0CC7C}"/>
                  </a:ext>
                </a:extLst>
              </p:cNvPr>
              <p:cNvSpPr/>
              <p:nvPr/>
            </p:nvSpPr>
            <p:spPr>
              <a:xfrm>
                <a:off x="4494358" y="3751751"/>
                <a:ext cx="960585" cy="361601"/>
              </a:xfrm>
              <a:custGeom>
                <a:avLst/>
                <a:gdLst>
                  <a:gd name="connsiteX0" fmla="*/ 919273 w 1132273"/>
                  <a:gd name="connsiteY0" fmla="*/ 687 h 426231"/>
                  <a:gd name="connsiteX1" fmla="*/ 1088241 w 1132273"/>
                  <a:gd name="connsiteY1" fmla="*/ 18776 h 426231"/>
                  <a:gd name="connsiteX2" fmla="*/ 1132273 w 1132273"/>
                  <a:gd name="connsiteY2" fmla="*/ 30160 h 426231"/>
                  <a:gd name="connsiteX3" fmla="*/ 1062312 w 1132273"/>
                  <a:gd name="connsiteY3" fmla="*/ 103315 h 426231"/>
                  <a:gd name="connsiteX4" fmla="*/ 7328 w 1132273"/>
                  <a:gd name="connsiteY4" fmla="*/ 399799 h 426231"/>
                  <a:gd name="connsiteX5" fmla="*/ 0 w 1132273"/>
                  <a:gd name="connsiteY5" fmla="*/ 397821 h 426231"/>
                  <a:gd name="connsiteX6" fmla="*/ 24361 w 1132273"/>
                  <a:gd name="connsiteY6" fmla="*/ 368384 h 426231"/>
                  <a:gd name="connsiteX7" fmla="*/ 919273 w 1132273"/>
                  <a:gd name="connsiteY7" fmla="*/ 687 h 426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2273" h="426231">
                    <a:moveTo>
                      <a:pt x="919273" y="687"/>
                    </a:moveTo>
                    <a:cubicBezTo>
                      <a:pt x="975738" y="2617"/>
                      <a:pt x="1032215" y="8622"/>
                      <a:pt x="1088241" y="18776"/>
                    </a:cubicBezTo>
                    <a:lnTo>
                      <a:pt x="1132273" y="30160"/>
                    </a:lnTo>
                    <a:lnTo>
                      <a:pt x="1062312" y="103315"/>
                    </a:lnTo>
                    <a:cubicBezTo>
                      <a:pt x="787779" y="363724"/>
                      <a:pt x="394832" y="483588"/>
                      <a:pt x="7328" y="399799"/>
                    </a:cubicBezTo>
                    <a:lnTo>
                      <a:pt x="0" y="397821"/>
                    </a:lnTo>
                    <a:lnTo>
                      <a:pt x="24361" y="368384"/>
                    </a:lnTo>
                    <a:cubicBezTo>
                      <a:pt x="260932" y="116852"/>
                      <a:pt x="589896" y="-10571"/>
                      <a:pt x="919273" y="687"/>
                    </a:cubicBezTo>
                    <a:close/>
                  </a:path>
                </a:pathLst>
              </a:custGeom>
              <a:gradFill>
                <a:gsLst>
                  <a:gs pos="100000">
                    <a:schemeClr val="tx2">
                      <a:lumMod val="70000"/>
                      <a:lumOff val="30000"/>
                      <a:alpha val="50000"/>
                    </a:schemeClr>
                  </a:gs>
                  <a:gs pos="0">
                    <a:schemeClr val="tx2">
                      <a:lumMod val="70000"/>
                      <a:lumOff val="30000"/>
                    </a:schemeClr>
                  </a:gs>
                </a:gsLst>
                <a:lin ang="12000000" scaled="0"/>
              </a:gradFill>
              <a:ln w="3943" cap="flat">
                <a:noFill/>
                <a:prstDash val="solid"/>
                <a:round/>
              </a:ln>
            </p:spPr>
            <p:txBody>
              <a:bodyPr wrap="square" rtlCol="0" anchor="ctr">
                <a:noAutofit/>
              </a:bodyPr>
              <a:lstStyle/>
              <a:p>
                <a:endParaRPr lang="en-US" dirty="0"/>
              </a:p>
            </p:txBody>
          </p:sp>
          <p:sp>
            <p:nvSpPr>
              <p:cNvPr id="81" name="Freeform: Shape 80">
                <a:extLst>
                  <a:ext uri="{FF2B5EF4-FFF2-40B4-BE49-F238E27FC236}">
                    <a16:creationId xmlns:a16="http://schemas.microsoft.com/office/drawing/2014/main" id="{BDD55CC6-8C9F-45C9-A3EE-55305191DF12}"/>
                  </a:ext>
                </a:extLst>
              </p:cNvPr>
              <p:cNvSpPr/>
              <p:nvPr/>
            </p:nvSpPr>
            <p:spPr>
              <a:xfrm>
                <a:off x="6737150" y="3751804"/>
                <a:ext cx="960324" cy="361459"/>
              </a:xfrm>
              <a:custGeom>
                <a:avLst/>
                <a:gdLst>
                  <a:gd name="connsiteX0" fmla="*/ 212788 w 1131965"/>
                  <a:gd name="connsiteY0" fmla="*/ 687 h 426063"/>
                  <a:gd name="connsiteX1" fmla="*/ 1107699 w 1131965"/>
                  <a:gd name="connsiteY1" fmla="*/ 368384 h 426063"/>
                  <a:gd name="connsiteX2" fmla="*/ 1131965 w 1131965"/>
                  <a:gd name="connsiteY2" fmla="*/ 397706 h 426063"/>
                  <a:gd name="connsiteX3" fmla="*/ 1124835 w 1131965"/>
                  <a:gd name="connsiteY3" fmla="*/ 399631 h 426063"/>
                  <a:gd name="connsiteX4" fmla="*/ 69852 w 1131965"/>
                  <a:gd name="connsiteY4" fmla="*/ 103147 h 426063"/>
                  <a:gd name="connsiteX5" fmla="*/ 0 w 1131965"/>
                  <a:gd name="connsiteY5" fmla="*/ 30105 h 426063"/>
                  <a:gd name="connsiteX6" fmla="*/ 43821 w 1131965"/>
                  <a:gd name="connsiteY6" fmla="*/ 18776 h 426063"/>
                  <a:gd name="connsiteX7" fmla="*/ 212788 w 1131965"/>
                  <a:gd name="connsiteY7" fmla="*/ 687 h 426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1965" h="426063">
                    <a:moveTo>
                      <a:pt x="212788" y="687"/>
                    </a:moveTo>
                    <a:cubicBezTo>
                      <a:pt x="542165" y="-10571"/>
                      <a:pt x="871128" y="116852"/>
                      <a:pt x="1107699" y="368384"/>
                    </a:cubicBezTo>
                    <a:lnTo>
                      <a:pt x="1131965" y="397706"/>
                    </a:lnTo>
                    <a:lnTo>
                      <a:pt x="1124835" y="399631"/>
                    </a:lnTo>
                    <a:cubicBezTo>
                      <a:pt x="737332" y="483421"/>
                      <a:pt x="344385" y="363557"/>
                      <a:pt x="69852" y="103147"/>
                    </a:cubicBezTo>
                    <a:lnTo>
                      <a:pt x="0" y="30105"/>
                    </a:lnTo>
                    <a:lnTo>
                      <a:pt x="43821" y="18776"/>
                    </a:lnTo>
                    <a:cubicBezTo>
                      <a:pt x="99847" y="8622"/>
                      <a:pt x="156324" y="2617"/>
                      <a:pt x="212788" y="687"/>
                    </a:cubicBezTo>
                    <a:close/>
                  </a:path>
                </a:pathLst>
              </a:custGeom>
              <a:gradFill>
                <a:gsLst>
                  <a:gs pos="100000">
                    <a:schemeClr val="accent2">
                      <a:lumMod val="75000"/>
                      <a:lumOff val="25000"/>
                    </a:schemeClr>
                  </a:gs>
                  <a:gs pos="0">
                    <a:schemeClr val="accent2">
                      <a:lumMod val="50000"/>
                      <a:lumOff val="50000"/>
                      <a:alpha val="50000"/>
                    </a:schemeClr>
                  </a:gs>
                </a:gsLst>
                <a:lin ang="13800000" scaled="0"/>
              </a:gradFill>
              <a:ln w="3943" cap="flat">
                <a:noFill/>
                <a:prstDash val="solid"/>
                <a:round/>
              </a:ln>
            </p:spPr>
            <p:txBody>
              <a:bodyPr wrap="square" rtlCol="0" anchor="ctr">
                <a:noAutofit/>
              </a:bodyPr>
              <a:lstStyle/>
              <a:p>
                <a:endParaRPr lang="en-US" dirty="0"/>
              </a:p>
            </p:txBody>
          </p:sp>
          <p:sp>
            <p:nvSpPr>
              <p:cNvPr id="82" name="Freeform: Shape 81">
                <a:extLst>
                  <a:ext uri="{FF2B5EF4-FFF2-40B4-BE49-F238E27FC236}">
                    <a16:creationId xmlns:a16="http://schemas.microsoft.com/office/drawing/2014/main" id="{74CF9099-C135-4738-A3D8-F23895685857}"/>
                  </a:ext>
                </a:extLst>
              </p:cNvPr>
              <p:cNvSpPr/>
              <p:nvPr/>
            </p:nvSpPr>
            <p:spPr>
              <a:xfrm>
                <a:off x="5957114" y="4240535"/>
                <a:ext cx="277685" cy="1013076"/>
              </a:xfrm>
              <a:custGeom>
                <a:avLst/>
                <a:gdLst>
                  <a:gd name="connsiteX0" fmla="*/ 163675 w 327316"/>
                  <a:gd name="connsiteY0" fmla="*/ 0 h 1194146"/>
                  <a:gd name="connsiteX1" fmla="*/ 212799 w 327316"/>
                  <a:gd name="connsiteY1" fmla="*/ 91314 h 1194146"/>
                  <a:gd name="connsiteX2" fmla="*/ 168765 w 327316"/>
                  <a:gd name="connsiteY2" fmla="*/ 1186284 h 1194146"/>
                  <a:gd name="connsiteX3" fmla="*/ 163638 w 327316"/>
                  <a:gd name="connsiteY3" fmla="*/ 1194146 h 1194146"/>
                  <a:gd name="connsiteX4" fmla="*/ 158552 w 327316"/>
                  <a:gd name="connsiteY4" fmla="*/ 1186347 h 1194146"/>
                  <a:gd name="connsiteX5" fmla="*/ 114518 w 327316"/>
                  <a:gd name="connsiteY5" fmla="*/ 91376 h 1194146"/>
                  <a:gd name="connsiteX6" fmla="*/ 163675 w 327316"/>
                  <a:gd name="connsiteY6" fmla="*/ 0 h 1194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316" h="1194146">
                    <a:moveTo>
                      <a:pt x="163675" y="0"/>
                    </a:moveTo>
                    <a:lnTo>
                      <a:pt x="212799" y="91314"/>
                    </a:lnTo>
                    <a:cubicBezTo>
                      <a:pt x="375628" y="432881"/>
                      <a:pt x="368199" y="843638"/>
                      <a:pt x="168765" y="1186284"/>
                    </a:cubicBezTo>
                    <a:lnTo>
                      <a:pt x="163638" y="1194146"/>
                    </a:lnTo>
                    <a:lnTo>
                      <a:pt x="158552" y="1186347"/>
                    </a:lnTo>
                    <a:cubicBezTo>
                      <a:pt x="-40882" y="843700"/>
                      <a:pt x="-48311" y="432944"/>
                      <a:pt x="114518" y="91376"/>
                    </a:cubicBezTo>
                    <a:lnTo>
                      <a:pt x="163675" y="0"/>
                    </a:lnTo>
                    <a:close/>
                  </a:path>
                </a:pathLst>
              </a:custGeom>
              <a:gradFill>
                <a:gsLst>
                  <a:gs pos="100000">
                    <a:schemeClr val="accent4">
                      <a:alpha val="50000"/>
                    </a:schemeClr>
                  </a:gs>
                  <a:gs pos="0">
                    <a:schemeClr val="accent4">
                      <a:lumMod val="75000"/>
                    </a:schemeClr>
                  </a:gs>
                </a:gsLst>
                <a:lin ang="7800000" scaled="0"/>
              </a:gradFill>
              <a:ln w="3943" cap="flat">
                <a:noFill/>
                <a:prstDash val="solid"/>
                <a:round/>
              </a:ln>
            </p:spPr>
            <p:txBody>
              <a:bodyPr wrap="square" rtlCol="0" anchor="ctr">
                <a:noAutofit/>
              </a:bodyPr>
              <a:lstStyle/>
              <a:p>
                <a:endParaRPr lang="en-US" dirty="0"/>
              </a:p>
            </p:txBody>
          </p:sp>
        </p:grpSp>
        <p:sp>
          <p:nvSpPr>
            <p:cNvPr id="41" name="Freeform: Shape 40">
              <a:extLst>
                <a:ext uri="{FF2B5EF4-FFF2-40B4-BE49-F238E27FC236}">
                  <a16:creationId xmlns:a16="http://schemas.microsoft.com/office/drawing/2014/main" id="{E88DC8BB-B7DD-4322-8878-3A23A54352AA}"/>
                </a:ext>
              </a:extLst>
            </p:cNvPr>
            <p:cNvSpPr/>
            <p:nvPr/>
          </p:nvSpPr>
          <p:spPr>
            <a:xfrm>
              <a:off x="5100346" y="886610"/>
              <a:ext cx="1990793" cy="1990794"/>
            </a:xfrm>
            <a:custGeom>
              <a:avLst/>
              <a:gdLst>
                <a:gd name="connsiteX0" fmla="*/ 1018130 w 2036257"/>
                <a:gd name="connsiteY0" fmla="*/ 0 h 2036258"/>
                <a:gd name="connsiteX1" fmla="*/ 2036257 w 2036257"/>
                <a:gd name="connsiteY1" fmla="*/ 1018127 h 2036258"/>
                <a:gd name="connsiteX2" fmla="*/ 1018130 w 2036257"/>
                <a:gd name="connsiteY2" fmla="*/ 2036258 h 2036258"/>
                <a:gd name="connsiteX3" fmla="*/ 0 w 2036257"/>
                <a:gd name="connsiteY3" fmla="*/ 1018127 h 2036258"/>
                <a:gd name="connsiteX4" fmla="*/ 1018130 w 2036257"/>
                <a:gd name="connsiteY4" fmla="*/ 0 h 2036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6257" h="2036258">
                  <a:moveTo>
                    <a:pt x="1018130" y="0"/>
                  </a:moveTo>
                  <a:cubicBezTo>
                    <a:pt x="1580425" y="0"/>
                    <a:pt x="2036257" y="455832"/>
                    <a:pt x="2036257" y="1018127"/>
                  </a:cubicBezTo>
                  <a:cubicBezTo>
                    <a:pt x="2036257" y="1580426"/>
                    <a:pt x="1580425" y="2036258"/>
                    <a:pt x="1018130" y="2036258"/>
                  </a:cubicBezTo>
                  <a:cubicBezTo>
                    <a:pt x="455832" y="2036258"/>
                    <a:pt x="0" y="1580426"/>
                    <a:pt x="0" y="1018127"/>
                  </a:cubicBezTo>
                  <a:cubicBezTo>
                    <a:pt x="0" y="455832"/>
                    <a:pt x="455832" y="0"/>
                    <a:pt x="1018130" y="0"/>
                  </a:cubicBezTo>
                  <a:close/>
                </a:path>
              </a:pathLst>
            </a:custGeom>
            <a:noFill/>
            <a:ln w="12700" cap="flat">
              <a:solidFill>
                <a:schemeClr val="tx2">
                  <a:lumMod val="60000"/>
                  <a:lumOff val="40000"/>
                </a:schemeClr>
              </a:solidFill>
              <a:prstDash val="solid"/>
              <a:round/>
            </a:ln>
          </p:spPr>
          <p:txBody>
            <a:bodyPr wrap="square" rtlCol="0" anchor="ctr">
              <a:noAutofit/>
            </a:bodyPr>
            <a:lstStyle/>
            <a:p>
              <a:endParaRPr lang="en-US"/>
            </a:p>
          </p:txBody>
        </p:sp>
        <p:sp>
          <p:nvSpPr>
            <p:cNvPr id="42" name="Freeform: Shape 41">
              <a:extLst>
                <a:ext uri="{FF2B5EF4-FFF2-40B4-BE49-F238E27FC236}">
                  <a16:creationId xmlns:a16="http://schemas.microsoft.com/office/drawing/2014/main" id="{401B827E-B88C-4B3C-B601-B5F0313A9B88}"/>
                </a:ext>
              </a:extLst>
            </p:cNvPr>
            <p:cNvSpPr/>
            <p:nvPr/>
          </p:nvSpPr>
          <p:spPr>
            <a:xfrm>
              <a:off x="3714123" y="1893472"/>
              <a:ext cx="1991332" cy="1991331"/>
            </a:xfrm>
            <a:custGeom>
              <a:avLst/>
              <a:gdLst>
                <a:gd name="connsiteX0" fmla="*/ 1030936 w 2036806"/>
                <a:gd name="connsiteY0" fmla="*/ 81 h 2036808"/>
                <a:gd name="connsiteX1" fmla="*/ 1333022 w 2036806"/>
                <a:gd name="connsiteY1" fmla="*/ 50107 h 2036808"/>
                <a:gd name="connsiteX2" fmla="*/ 1986701 w 2036806"/>
                <a:gd name="connsiteY2" fmla="*/ 1333025 h 2036808"/>
                <a:gd name="connsiteX3" fmla="*/ 703785 w 2036806"/>
                <a:gd name="connsiteY3" fmla="*/ 1986704 h 2036808"/>
                <a:gd name="connsiteX4" fmla="*/ 50106 w 2036806"/>
                <a:gd name="connsiteY4" fmla="*/ 703786 h 2036808"/>
                <a:gd name="connsiteX5" fmla="*/ 1030936 w 2036806"/>
                <a:gd name="connsiteY5" fmla="*/ 81 h 2036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6806" h="2036808">
                  <a:moveTo>
                    <a:pt x="1030936" y="81"/>
                  </a:moveTo>
                  <a:cubicBezTo>
                    <a:pt x="1131089" y="1345"/>
                    <a:pt x="1232752" y="17527"/>
                    <a:pt x="1333022" y="50107"/>
                  </a:cubicBezTo>
                  <a:cubicBezTo>
                    <a:pt x="1867797" y="223868"/>
                    <a:pt x="2160461" y="798247"/>
                    <a:pt x="1986701" y="1333025"/>
                  </a:cubicBezTo>
                  <a:cubicBezTo>
                    <a:pt x="1812941" y="1867802"/>
                    <a:pt x="1238559" y="2160461"/>
                    <a:pt x="703785" y="1986704"/>
                  </a:cubicBezTo>
                  <a:cubicBezTo>
                    <a:pt x="169010" y="1812943"/>
                    <a:pt x="-123654" y="1238561"/>
                    <a:pt x="50106" y="703786"/>
                  </a:cubicBezTo>
                  <a:cubicBezTo>
                    <a:pt x="191286" y="269279"/>
                    <a:pt x="596939" y="-5393"/>
                    <a:pt x="1030936" y="81"/>
                  </a:cubicBezTo>
                  <a:close/>
                </a:path>
              </a:pathLst>
            </a:custGeom>
            <a:noFill/>
            <a:ln w="12700" cap="flat">
              <a:solidFill>
                <a:schemeClr val="tx2">
                  <a:lumMod val="60000"/>
                  <a:lumOff val="40000"/>
                </a:schemeClr>
              </a:solidFill>
              <a:prstDash val="solid"/>
              <a:round/>
            </a:ln>
          </p:spPr>
          <p:txBody>
            <a:bodyPr wrap="square" rtlCol="0" anchor="ctr">
              <a:noAutofit/>
            </a:bodyPr>
            <a:lstStyle/>
            <a:p>
              <a:endParaRPr lang="en-US"/>
            </a:p>
          </p:txBody>
        </p:sp>
        <p:sp>
          <p:nvSpPr>
            <p:cNvPr id="43" name="Freeform: Shape 42">
              <a:extLst>
                <a:ext uri="{FF2B5EF4-FFF2-40B4-BE49-F238E27FC236}">
                  <a16:creationId xmlns:a16="http://schemas.microsoft.com/office/drawing/2014/main" id="{057AF7B1-9DA4-4F37-8F6C-5F87CB27F0CD}"/>
                </a:ext>
              </a:extLst>
            </p:cNvPr>
            <p:cNvSpPr/>
            <p:nvPr/>
          </p:nvSpPr>
          <p:spPr>
            <a:xfrm>
              <a:off x="4243863" y="3523202"/>
              <a:ext cx="1990936" cy="1990937"/>
            </a:xfrm>
            <a:custGeom>
              <a:avLst/>
              <a:gdLst>
                <a:gd name="connsiteX0" fmla="*/ 1053908 w 2036401"/>
                <a:gd name="connsiteY0" fmla="*/ 596 h 2036402"/>
                <a:gd name="connsiteX1" fmla="*/ 1616641 w 2036401"/>
                <a:gd name="connsiteY1" fmla="*/ 194517 h 2036402"/>
                <a:gd name="connsiteX2" fmla="*/ 1841885 w 2036401"/>
                <a:gd name="connsiteY2" fmla="*/ 1616641 h 2036402"/>
                <a:gd name="connsiteX3" fmla="*/ 419761 w 2036401"/>
                <a:gd name="connsiteY3" fmla="*/ 1841885 h 2036402"/>
                <a:gd name="connsiteX4" fmla="*/ 194517 w 2036401"/>
                <a:gd name="connsiteY4" fmla="*/ 419761 h 2036402"/>
                <a:gd name="connsiteX5" fmla="*/ 1053908 w 2036401"/>
                <a:gd name="connsiteY5" fmla="*/ 596 h 203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6401" h="2036402">
                  <a:moveTo>
                    <a:pt x="1053908" y="596"/>
                  </a:moveTo>
                  <a:cubicBezTo>
                    <a:pt x="1249896" y="7294"/>
                    <a:pt x="1446051" y="70576"/>
                    <a:pt x="1616641" y="194517"/>
                  </a:cubicBezTo>
                  <a:cubicBezTo>
                    <a:pt x="2071550" y="525027"/>
                    <a:pt x="2172394" y="1161735"/>
                    <a:pt x="1841885" y="1616641"/>
                  </a:cubicBezTo>
                  <a:cubicBezTo>
                    <a:pt x="1511375" y="2071551"/>
                    <a:pt x="874671" y="2172395"/>
                    <a:pt x="419761" y="1841885"/>
                  </a:cubicBezTo>
                  <a:cubicBezTo>
                    <a:pt x="-35148" y="1511375"/>
                    <a:pt x="-135992" y="874671"/>
                    <a:pt x="194517" y="419761"/>
                  </a:cubicBezTo>
                  <a:cubicBezTo>
                    <a:pt x="401086" y="135445"/>
                    <a:pt x="727263" y="-10568"/>
                    <a:pt x="1053908" y="596"/>
                  </a:cubicBezTo>
                  <a:close/>
                </a:path>
              </a:pathLst>
            </a:custGeom>
            <a:noFill/>
            <a:ln w="12700" cap="flat">
              <a:solidFill>
                <a:schemeClr val="tx2">
                  <a:lumMod val="60000"/>
                  <a:lumOff val="40000"/>
                </a:schemeClr>
              </a:solidFill>
              <a:prstDash val="solid"/>
              <a:round/>
            </a:ln>
          </p:spPr>
          <p:txBody>
            <a:bodyPr wrap="square" rtlCol="0" anchor="ctr">
              <a:noAutofit/>
            </a:bodyPr>
            <a:lstStyle/>
            <a:p>
              <a:endParaRPr lang="en-US"/>
            </a:p>
          </p:txBody>
        </p:sp>
        <p:sp>
          <p:nvSpPr>
            <p:cNvPr id="49" name="Freeform: Shape 48">
              <a:extLst>
                <a:ext uri="{FF2B5EF4-FFF2-40B4-BE49-F238E27FC236}">
                  <a16:creationId xmlns:a16="http://schemas.microsoft.com/office/drawing/2014/main" id="{E82D4F2B-8EC4-468F-8466-8BEACDA4573C}"/>
                </a:ext>
              </a:extLst>
            </p:cNvPr>
            <p:cNvSpPr/>
            <p:nvPr/>
          </p:nvSpPr>
          <p:spPr>
            <a:xfrm>
              <a:off x="5957114" y="3523255"/>
              <a:ext cx="1990936" cy="1990935"/>
            </a:xfrm>
            <a:custGeom>
              <a:avLst/>
              <a:gdLst>
                <a:gd name="connsiteX0" fmla="*/ 982495 w 2036402"/>
                <a:gd name="connsiteY0" fmla="*/ 596 h 2036402"/>
                <a:gd name="connsiteX1" fmla="*/ 1841885 w 2036402"/>
                <a:gd name="connsiteY1" fmla="*/ 419761 h 2036402"/>
                <a:gd name="connsiteX2" fmla="*/ 1616641 w 2036402"/>
                <a:gd name="connsiteY2" fmla="*/ 1841885 h 2036402"/>
                <a:gd name="connsiteX3" fmla="*/ 194517 w 2036402"/>
                <a:gd name="connsiteY3" fmla="*/ 1616644 h 2036402"/>
                <a:gd name="connsiteX4" fmla="*/ 419761 w 2036402"/>
                <a:gd name="connsiteY4" fmla="*/ 194517 h 2036402"/>
                <a:gd name="connsiteX5" fmla="*/ 982495 w 2036402"/>
                <a:gd name="connsiteY5" fmla="*/ 596 h 203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6402" h="2036402">
                  <a:moveTo>
                    <a:pt x="982495" y="596"/>
                  </a:moveTo>
                  <a:cubicBezTo>
                    <a:pt x="1309140" y="-10568"/>
                    <a:pt x="1635316" y="135445"/>
                    <a:pt x="1841885" y="419761"/>
                  </a:cubicBezTo>
                  <a:cubicBezTo>
                    <a:pt x="2172395" y="874671"/>
                    <a:pt x="2071551" y="1511375"/>
                    <a:pt x="1616641" y="1841885"/>
                  </a:cubicBezTo>
                  <a:cubicBezTo>
                    <a:pt x="1161735" y="2172395"/>
                    <a:pt x="525027" y="2071551"/>
                    <a:pt x="194517" y="1616644"/>
                  </a:cubicBezTo>
                  <a:cubicBezTo>
                    <a:pt x="-135992" y="1161735"/>
                    <a:pt x="-35148" y="525027"/>
                    <a:pt x="419761" y="194517"/>
                  </a:cubicBezTo>
                  <a:cubicBezTo>
                    <a:pt x="590352" y="70576"/>
                    <a:pt x="786508" y="7294"/>
                    <a:pt x="982495" y="596"/>
                  </a:cubicBezTo>
                  <a:close/>
                </a:path>
              </a:pathLst>
            </a:custGeom>
            <a:noFill/>
            <a:ln w="12700" cap="flat">
              <a:solidFill>
                <a:schemeClr val="tx2">
                  <a:lumMod val="60000"/>
                  <a:lumOff val="40000"/>
                </a:schemeClr>
              </a:solidFill>
              <a:prstDash val="solid"/>
              <a:round/>
            </a:ln>
          </p:spPr>
          <p:txBody>
            <a:bodyPr wrap="square" rtlCol="0" anchor="ctr">
              <a:noAutofit/>
            </a:bodyPr>
            <a:lstStyle/>
            <a:p>
              <a:endParaRPr lang="en-US"/>
            </a:p>
          </p:txBody>
        </p:sp>
        <p:sp>
          <p:nvSpPr>
            <p:cNvPr id="52" name="Freeform: Shape 51">
              <a:extLst>
                <a:ext uri="{FF2B5EF4-FFF2-40B4-BE49-F238E27FC236}">
                  <a16:creationId xmlns:a16="http://schemas.microsoft.com/office/drawing/2014/main" id="{6B17ED0E-1D19-46AA-8CB1-FFEBF9D5B39F}"/>
                </a:ext>
              </a:extLst>
            </p:cNvPr>
            <p:cNvSpPr/>
            <p:nvPr/>
          </p:nvSpPr>
          <p:spPr>
            <a:xfrm>
              <a:off x="6486545" y="1893383"/>
              <a:ext cx="1991332" cy="1991331"/>
            </a:xfrm>
            <a:custGeom>
              <a:avLst/>
              <a:gdLst>
                <a:gd name="connsiteX0" fmla="*/ 1005872 w 2036807"/>
                <a:gd name="connsiteY0" fmla="*/ 81 h 2036807"/>
                <a:gd name="connsiteX1" fmla="*/ 1986702 w 2036807"/>
                <a:gd name="connsiteY1" fmla="*/ 703784 h 2036807"/>
                <a:gd name="connsiteX2" fmla="*/ 1333023 w 2036807"/>
                <a:gd name="connsiteY2" fmla="*/ 1986702 h 2036807"/>
                <a:gd name="connsiteX3" fmla="*/ 50107 w 2036807"/>
                <a:gd name="connsiteY3" fmla="*/ 1333023 h 2036807"/>
                <a:gd name="connsiteX4" fmla="*/ 703786 w 2036807"/>
                <a:gd name="connsiteY4" fmla="*/ 50105 h 2036807"/>
                <a:gd name="connsiteX5" fmla="*/ 1005872 w 2036807"/>
                <a:gd name="connsiteY5" fmla="*/ 81 h 203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6807" h="2036807">
                  <a:moveTo>
                    <a:pt x="1005872" y="81"/>
                  </a:moveTo>
                  <a:cubicBezTo>
                    <a:pt x="1439869" y="-5392"/>
                    <a:pt x="1845522" y="269280"/>
                    <a:pt x="1986702" y="703784"/>
                  </a:cubicBezTo>
                  <a:cubicBezTo>
                    <a:pt x="2160462" y="1238562"/>
                    <a:pt x="1867798" y="1812941"/>
                    <a:pt x="1333023" y="1986702"/>
                  </a:cubicBezTo>
                  <a:cubicBezTo>
                    <a:pt x="798249" y="2160462"/>
                    <a:pt x="223867" y="1867800"/>
                    <a:pt x="50107" y="1333023"/>
                  </a:cubicBezTo>
                  <a:cubicBezTo>
                    <a:pt x="-123654" y="798248"/>
                    <a:pt x="169011" y="223866"/>
                    <a:pt x="703786" y="50105"/>
                  </a:cubicBezTo>
                  <a:cubicBezTo>
                    <a:pt x="804056" y="17526"/>
                    <a:pt x="905719" y="1344"/>
                    <a:pt x="1005872" y="81"/>
                  </a:cubicBezTo>
                  <a:close/>
                </a:path>
              </a:pathLst>
            </a:custGeom>
            <a:noFill/>
            <a:ln w="12700" cap="flat">
              <a:solidFill>
                <a:schemeClr val="tx2">
                  <a:lumMod val="60000"/>
                  <a:lumOff val="40000"/>
                </a:schemeClr>
              </a:solidFill>
              <a:prstDash val="solid"/>
              <a:round/>
            </a:ln>
          </p:spPr>
          <p:txBody>
            <a:bodyPr wrap="square" rtlCol="0" anchor="ctr">
              <a:noAutofit/>
            </a:bodyPr>
            <a:lstStyle/>
            <a:p>
              <a:endParaRPr lang="en-US"/>
            </a:p>
          </p:txBody>
        </p:sp>
        <p:grpSp>
          <p:nvGrpSpPr>
            <p:cNvPr id="16" name="Group 15">
              <a:extLst>
                <a:ext uri="{FF2B5EF4-FFF2-40B4-BE49-F238E27FC236}">
                  <a16:creationId xmlns:a16="http://schemas.microsoft.com/office/drawing/2014/main" id="{2962AB68-CFB8-4B36-8CA1-4E80A901F9E0}"/>
                </a:ext>
              </a:extLst>
            </p:cNvPr>
            <p:cNvGrpSpPr/>
            <p:nvPr/>
          </p:nvGrpSpPr>
          <p:grpSpPr>
            <a:xfrm>
              <a:off x="4872244" y="4133689"/>
              <a:ext cx="734175" cy="769962"/>
              <a:chOff x="5048894" y="3571036"/>
              <a:chExt cx="734175" cy="769962"/>
            </a:xfrm>
          </p:grpSpPr>
          <p:sp>
            <p:nvSpPr>
              <p:cNvPr id="50" name="Rectangle 32">
                <a:extLst>
                  <a:ext uri="{FF2B5EF4-FFF2-40B4-BE49-F238E27FC236}">
                    <a16:creationId xmlns:a16="http://schemas.microsoft.com/office/drawing/2014/main" id="{773A2DD9-72CB-4973-B563-2D720815C842}"/>
                  </a:ext>
                </a:extLst>
              </p:cNvPr>
              <p:cNvSpPr>
                <a:spLocks noChangeArrowheads="1"/>
              </p:cNvSpPr>
              <p:nvPr/>
            </p:nvSpPr>
            <p:spPr bwMode="auto">
              <a:xfrm>
                <a:off x="5048894" y="4094777"/>
                <a:ext cx="734175"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algn="ctr" defTabSz="914172" eaLnBrk="0" fontAlgn="base" hangingPunct="0">
                  <a:spcBef>
                    <a:spcPct val="0"/>
                  </a:spcBef>
                  <a:spcAft>
                    <a:spcPct val="0"/>
                  </a:spcAft>
                </a:pPr>
                <a:r>
                  <a:rPr lang="en-US" altLang="en-US" sz="1600" spc="-75" dirty="0">
                    <a:solidFill>
                      <a:schemeClr val="tx2">
                        <a:lumMod val="60000"/>
                        <a:lumOff val="40000"/>
                      </a:schemeClr>
                    </a:solidFill>
                    <a:latin typeface="Montserrat" panose="00000500000000000000" pitchFamily="50" charset="0"/>
                  </a:rPr>
                  <a:t>Analyze</a:t>
                </a:r>
              </a:p>
            </p:txBody>
          </p:sp>
          <p:sp>
            <p:nvSpPr>
              <p:cNvPr id="83" name="Freeform: Shape 82">
                <a:extLst>
                  <a:ext uri="{FF2B5EF4-FFF2-40B4-BE49-F238E27FC236}">
                    <a16:creationId xmlns:a16="http://schemas.microsoft.com/office/drawing/2014/main" id="{D1F6061F-4B95-4FC3-BB32-7FE82E6157F5}"/>
                  </a:ext>
                </a:extLst>
              </p:cNvPr>
              <p:cNvSpPr/>
              <p:nvPr/>
            </p:nvSpPr>
            <p:spPr>
              <a:xfrm>
                <a:off x="5196135" y="3571036"/>
                <a:ext cx="439692" cy="439692"/>
              </a:xfrm>
              <a:custGeom>
                <a:avLst/>
                <a:gdLst>
                  <a:gd name="connsiteX0" fmla="*/ 2188333 w 2184766"/>
                  <a:gd name="connsiteY0" fmla="*/ 899200 h 2184766"/>
                  <a:gd name="connsiteX1" fmla="*/ 1932376 w 2184766"/>
                  <a:gd name="connsiteY1" fmla="*/ 900707 h 2184766"/>
                  <a:gd name="connsiteX2" fmla="*/ 1911784 w 2184766"/>
                  <a:gd name="connsiteY2" fmla="*/ 885577 h 2184766"/>
                  <a:gd name="connsiteX3" fmla="*/ 1745290 w 2184766"/>
                  <a:gd name="connsiteY3" fmla="*/ 774518 h 2184766"/>
                  <a:gd name="connsiteX4" fmla="*/ 1674473 w 2184766"/>
                  <a:gd name="connsiteY4" fmla="*/ 786446 h 2184766"/>
                  <a:gd name="connsiteX5" fmla="*/ 1644338 w 2184766"/>
                  <a:gd name="connsiteY5" fmla="*/ 780921 h 2184766"/>
                  <a:gd name="connsiteX6" fmla="*/ 1537298 w 2184766"/>
                  <a:gd name="connsiteY6" fmla="*/ 673755 h 2184766"/>
                  <a:gd name="connsiteX7" fmla="*/ 1531773 w 2184766"/>
                  <a:gd name="connsiteY7" fmla="*/ 647324 h 2184766"/>
                  <a:gd name="connsiteX8" fmla="*/ 1402319 w 2184766"/>
                  <a:gd name="connsiteY8" fmla="*/ 396076 h 2184766"/>
                  <a:gd name="connsiteX9" fmla="*/ 1168901 w 2184766"/>
                  <a:gd name="connsiteY9" fmla="*/ 557673 h 2184766"/>
                  <a:gd name="connsiteX10" fmla="*/ 1181018 w 2184766"/>
                  <a:gd name="connsiteY10" fmla="*/ 649396 h 2184766"/>
                  <a:gd name="connsiteX11" fmla="*/ 1176183 w 2184766"/>
                  <a:gd name="connsiteY11" fmla="*/ 672248 h 2184766"/>
                  <a:gd name="connsiteX12" fmla="*/ 1064496 w 2184766"/>
                  <a:gd name="connsiteY12" fmla="*/ 783872 h 2184766"/>
                  <a:gd name="connsiteX13" fmla="*/ 1041518 w 2184766"/>
                  <a:gd name="connsiteY13" fmla="*/ 788078 h 2184766"/>
                  <a:gd name="connsiteX14" fmla="*/ 902585 w 2184766"/>
                  <a:gd name="connsiteY14" fmla="*/ 788141 h 2184766"/>
                  <a:gd name="connsiteX15" fmla="*/ 873455 w 2184766"/>
                  <a:gd name="connsiteY15" fmla="*/ 777971 h 2184766"/>
                  <a:gd name="connsiteX16" fmla="*/ 616933 w 2184766"/>
                  <a:gd name="connsiteY16" fmla="*/ 521512 h 2184766"/>
                  <a:gd name="connsiteX17" fmla="*/ 587552 w 2184766"/>
                  <a:gd name="connsiteY17" fmla="*/ 526534 h 2184766"/>
                  <a:gd name="connsiteX18" fmla="*/ 559049 w 2184766"/>
                  <a:gd name="connsiteY18" fmla="*/ 606831 h 2184766"/>
                  <a:gd name="connsiteX19" fmla="*/ 569534 w 2184766"/>
                  <a:gd name="connsiteY19" fmla="*/ 648329 h 2184766"/>
                  <a:gd name="connsiteX20" fmla="*/ 784369 w 2184766"/>
                  <a:gd name="connsiteY20" fmla="*/ 862034 h 2184766"/>
                  <a:gd name="connsiteX21" fmla="*/ 793661 w 2184766"/>
                  <a:gd name="connsiteY21" fmla="*/ 902653 h 2184766"/>
                  <a:gd name="connsiteX22" fmla="*/ 952244 w 2184766"/>
                  <a:gd name="connsiteY22" fmla="*/ 1150637 h 2184766"/>
                  <a:gd name="connsiteX23" fmla="*/ 1154586 w 2184766"/>
                  <a:gd name="connsiteY23" fmla="*/ 1010447 h 2184766"/>
                  <a:gd name="connsiteX24" fmla="*/ 1149313 w 2184766"/>
                  <a:gd name="connsiteY24" fmla="*/ 899640 h 2184766"/>
                  <a:gd name="connsiteX25" fmla="*/ 1157223 w 2184766"/>
                  <a:gd name="connsiteY25" fmla="*/ 864420 h 2184766"/>
                  <a:gd name="connsiteX26" fmla="*/ 1259870 w 2184766"/>
                  <a:gd name="connsiteY26" fmla="*/ 761899 h 2184766"/>
                  <a:gd name="connsiteX27" fmla="*/ 1289879 w 2184766"/>
                  <a:gd name="connsiteY27" fmla="*/ 755621 h 2184766"/>
                  <a:gd name="connsiteX28" fmla="*/ 1422849 w 2184766"/>
                  <a:gd name="connsiteY28" fmla="*/ 755370 h 2184766"/>
                  <a:gd name="connsiteX29" fmla="*/ 1452670 w 2184766"/>
                  <a:gd name="connsiteY29" fmla="*/ 762401 h 2184766"/>
                  <a:gd name="connsiteX30" fmla="*/ 1556822 w 2184766"/>
                  <a:gd name="connsiteY30" fmla="*/ 866429 h 2184766"/>
                  <a:gd name="connsiteX31" fmla="*/ 1563226 w 2184766"/>
                  <a:gd name="connsiteY31" fmla="*/ 898258 h 2184766"/>
                  <a:gd name="connsiteX32" fmla="*/ 1666751 w 2184766"/>
                  <a:gd name="connsiteY32" fmla="*/ 1137201 h 2184766"/>
                  <a:gd name="connsiteX33" fmla="*/ 1908959 w 2184766"/>
                  <a:gd name="connsiteY33" fmla="*/ 1046170 h 2184766"/>
                  <a:gd name="connsiteX34" fmla="*/ 1941291 w 2184766"/>
                  <a:gd name="connsiteY34" fmla="*/ 1025389 h 2184766"/>
                  <a:gd name="connsiteX35" fmla="*/ 2146144 w 2184766"/>
                  <a:gd name="connsiteY35" fmla="*/ 1025515 h 2184766"/>
                  <a:gd name="connsiteX36" fmla="*/ 2162781 w 2184766"/>
                  <a:gd name="connsiteY36" fmla="*/ 1046609 h 2184766"/>
                  <a:gd name="connsiteX37" fmla="*/ 1899479 w 2184766"/>
                  <a:gd name="connsiteY37" fmla="*/ 1466674 h 2184766"/>
                  <a:gd name="connsiteX38" fmla="*/ 1498123 w 2184766"/>
                  <a:gd name="connsiteY38" fmla="*/ 1657465 h 2184766"/>
                  <a:gd name="connsiteX39" fmla="*/ 1222390 w 2184766"/>
                  <a:gd name="connsiteY39" fmla="*/ 1658657 h 2184766"/>
                  <a:gd name="connsiteX40" fmla="*/ 768486 w 2184766"/>
                  <a:gd name="connsiteY40" fmla="*/ 1426558 h 2184766"/>
                  <a:gd name="connsiteX41" fmla="*/ 530924 w 2184766"/>
                  <a:gd name="connsiteY41" fmla="*/ 957335 h 2184766"/>
                  <a:gd name="connsiteX42" fmla="*/ 542601 w 2184766"/>
                  <a:gd name="connsiteY42" fmla="*/ 650526 h 2184766"/>
                  <a:gd name="connsiteX43" fmla="*/ 532933 w 2184766"/>
                  <a:gd name="connsiteY43" fmla="*/ 618006 h 2184766"/>
                  <a:gd name="connsiteX44" fmla="*/ 425829 w 2184766"/>
                  <a:gd name="connsiteY44" fmla="*/ 510839 h 2184766"/>
                  <a:gd name="connsiteX45" fmla="*/ 397892 w 2184766"/>
                  <a:gd name="connsiteY45" fmla="*/ 505252 h 2184766"/>
                  <a:gd name="connsiteX46" fmla="*/ 158258 w 2184766"/>
                  <a:gd name="connsiteY46" fmla="*/ 408569 h 2184766"/>
                  <a:gd name="connsiteX47" fmla="*/ 125800 w 2184766"/>
                  <a:gd name="connsiteY47" fmla="*/ 388166 h 2184766"/>
                  <a:gd name="connsiteX48" fmla="*/ 21271 w 2184766"/>
                  <a:gd name="connsiteY48" fmla="*/ 388668 h 2184766"/>
                  <a:gd name="connsiteX49" fmla="*/ 1432 w 2184766"/>
                  <a:gd name="connsiteY49" fmla="*/ 368641 h 2184766"/>
                  <a:gd name="connsiteX50" fmla="*/ 1432 w 2184766"/>
                  <a:gd name="connsiteY50" fmla="*/ 276918 h 2184766"/>
                  <a:gd name="connsiteX51" fmla="*/ 21836 w 2184766"/>
                  <a:gd name="connsiteY51" fmla="*/ 257456 h 2184766"/>
                  <a:gd name="connsiteX52" fmla="*/ 128500 w 2184766"/>
                  <a:gd name="connsiteY52" fmla="*/ 257833 h 2184766"/>
                  <a:gd name="connsiteX53" fmla="*/ 156563 w 2184766"/>
                  <a:gd name="connsiteY53" fmla="*/ 240882 h 2184766"/>
                  <a:gd name="connsiteX54" fmla="*/ 486098 w 2184766"/>
                  <a:gd name="connsiteY54" fmla="*/ 206165 h 2184766"/>
                  <a:gd name="connsiteX55" fmla="*/ 514412 w 2184766"/>
                  <a:gd name="connsiteY55" fmla="*/ 387726 h 2184766"/>
                  <a:gd name="connsiteX56" fmla="*/ 521381 w 2184766"/>
                  <a:gd name="connsiteY56" fmla="*/ 419117 h 2184766"/>
                  <a:gd name="connsiteX57" fmla="*/ 581651 w 2184766"/>
                  <a:gd name="connsiteY57" fmla="*/ 479512 h 2184766"/>
                  <a:gd name="connsiteX58" fmla="*/ 604942 w 2184766"/>
                  <a:gd name="connsiteY58" fmla="*/ 474929 h 2184766"/>
                  <a:gd name="connsiteX59" fmla="*/ 778970 w 2184766"/>
                  <a:gd name="connsiteY59" fmla="*/ 234290 h 2184766"/>
                  <a:gd name="connsiteX60" fmla="*/ 1200668 w 2184766"/>
                  <a:gd name="connsiteY60" fmla="*/ 15563 h 2184766"/>
                  <a:gd name="connsiteX61" fmla="*/ 1753702 w 2184766"/>
                  <a:gd name="connsiteY61" fmla="*/ 102514 h 2184766"/>
                  <a:gd name="connsiteX62" fmla="*/ 2168055 w 2184766"/>
                  <a:gd name="connsiteY62" fmla="*/ 643306 h 2184766"/>
                  <a:gd name="connsiteX63" fmla="*/ 2188270 w 2184766"/>
                  <a:gd name="connsiteY63" fmla="*/ 754240 h 2184766"/>
                  <a:gd name="connsiteX64" fmla="*/ 2188333 w 2184766"/>
                  <a:gd name="connsiteY64" fmla="*/ 899200 h 2184766"/>
                  <a:gd name="connsiteX65" fmla="*/ 233532 w 2184766"/>
                  <a:gd name="connsiteY65" fmla="*/ 2188212 h 2184766"/>
                  <a:gd name="connsiteX66" fmla="*/ 337936 w 2184766"/>
                  <a:gd name="connsiteY66" fmla="*/ 2128947 h 2184766"/>
                  <a:gd name="connsiteX67" fmla="*/ 816199 w 2184766"/>
                  <a:gd name="connsiteY67" fmla="*/ 1651061 h 2184766"/>
                  <a:gd name="connsiteX68" fmla="*/ 813750 w 2184766"/>
                  <a:gd name="connsiteY68" fmla="*/ 1623249 h 2184766"/>
                  <a:gd name="connsiteX69" fmla="*/ 567902 w 2184766"/>
                  <a:gd name="connsiteY69" fmla="*/ 1377337 h 2184766"/>
                  <a:gd name="connsiteX70" fmla="*/ 540090 w 2184766"/>
                  <a:gd name="connsiteY70" fmla="*/ 1375266 h 2184766"/>
                  <a:gd name="connsiteX71" fmla="*/ 62580 w 2184766"/>
                  <a:gd name="connsiteY71" fmla="*/ 1853905 h 2184766"/>
                  <a:gd name="connsiteX72" fmla="*/ 51594 w 2184766"/>
                  <a:gd name="connsiteY72" fmla="*/ 2126813 h 2184766"/>
                  <a:gd name="connsiteX73" fmla="*/ 156751 w 2184766"/>
                  <a:gd name="connsiteY73" fmla="*/ 2188275 h 2184766"/>
                  <a:gd name="connsiteX74" fmla="*/ 233532 w 2184766"/>
                  <a:gd name="connsiteY74" fmla="*/ 2188212 h 2184766"/>
                  <a:gd name="connsiteX75" fmla="*/ 1421467 w 2184766"/>
                  <a:gd name="connsiteY75" fmla="*/ 579835 h 2184766"/>
                  <a:gd name="connsiteX76" fmla="*/ 1358373 w 2184766"/>
                  <a:gd name="connsiteY76" fmla="*/ 513727 h 2184766"/>
                  <a:gd name="connsiteX77" fmla="*/ 1290632 w 2184766"/>
                  <a:gd name="connsiteY77" fmla="*/ 577324 h 2184766"/>
                  <a:gd name="connsiteX78" fmla="*/ 1354794 w 2184766"/>
                  <a:gd name="connsiteY78" fmla="*/ 644499 h 2184766"/>
                  <a:gd name="connsiteX79" fmla="*/ 1421467 w 2184766"/>
                  <a:gd name="connsiteY79" fmla="*/ 579835 h 2184766"/>
                  <a:gd name="connsiteX80" fmla="*/ 972209 w 2184766"/>
                  <a:gd name="connsiteY80" fmla="*/ 897819 h 2184766"/>
                  <a:gd name="connsiteX81" fmla="*/ 906478 w 2184766"/>
                  <a:gd name="connsiteY81" fmla="*/ 961353 h 2184766"/>
                  <a:gd name="connsiteX82" fmla="*/ 970514 w 2184766"/>
                  <a:gd name="connsiteY82" fmla="*/ 1028654 h 2184766"/>
                  <a:gd name="connsiteX83" fmla="*/ 1037313 w 2184766"/>
                  <a:gd name="connsiteY83" fmla="*/ 964053 h 2184766"/>
                  <a:gd name="connsiteX84" fmla="*/ 972209 w 2184766"/>
                  <a:gd name="connsiteY84" fmla="*/ 897819 h 2184766"/>
                  <a:gd name="connsiteX85" fmla="*/ 1740330 w 2184766"/>
                  <a:gd name="connsiteY85" fmla="*/ 897819 h 2184766"/>
                  <a:gd name="connsiteX86" fmla="*/ 1674787 w 2184766"/>
                  <a:gd name="connsiteY86" fmla="*/ 961541 h 2184766"/>
                  <a:gd name="connsiteX87" fmla="*/ 1739012 w 2184766"/>
                  <a:gd name="connsiteY87" fmla="*/ 1028654 h 2184766"/>
                  <a:gd name="connsiteX88" fmla="*/ 1805622 w 2184766"/>
                  <a:gd name="connsiteY88" fmla="*/ 963864 h 2184766"/>
                  <a:gd name="connsiteX89" fmla="*/ 1740330 w 2184766"/>
                  <a:gd name="connsiteY89" fmla="*/ 897819 h 218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184766" h="2184766">
                    <a:moveTo>
                      <a:pt x="2188333" y="899200"/>
                    </a:moveTo>
                    <a:cubicBezTo>
                      <a:pt x="2103014" y="899640"/>
                      <a:pt x="2017695" y="900016"/>
                      <a:pt x="1932376" y="900707"/>
                    </a:cubicBezTo>
                    <a:cubicBezTo>
                      <a:pt x="1921139" y="900770"/>
                      <a:pt x="1916116" y="894554"/>
                      <a:pt x="1911784" y="885577"/>
                    </a:cubicBezTo>
                    <a:cubicBezTo>
                      <a:pt x="1878133" y="815890"/>
                      <a:pt x="1822071" y="779101"/>
                      <a:pt x="1745290" y="774518"/>
                    </a:cubicBezTo>
                    <a:cubicBezTo>
                      <a:pt x="1721182" y="773074"/>
                      <a:pt x="1696823" y="776213"/>
                      <a:pt x="1674473" y="786446"/>
                    </a:cubicBezTo>
                    <a:cubicBezTo>
                      <a:pt x="1662293" y="792034"/>
                      <a:pt x="1653818" y="790590"/>
                      <a:pt x="1644338" y="780921"/>
                    </a:cubicBezTo>
                    <a:cubicBezTo>
                      <a:pt x="1609056" y="744760"/>
                      <a:pt x="1573271" y="709163"/>
                      <a:pt x="1537298" y="673755"/>
                    </a:cubicBezTo>
                    <a:cubicBezTo>
                      <a:pt x="1529073" y="665656"/>
                      <a:pt x="1527818" y="658436"/>
                      <a:pt x="1531773" y="647324"/>
                    </a:cubicBezTo>
                    <a:cubicBezTo>
                      <a:pt x="1571137" y="537019"/>
                      <a:pt x="1514822" y="428220"/>
                      <a:pt x="1402319" y="396076"/>
                    </a:cubicBezTo>
                    <a:cubicBezTo>
                      <a:pt x="1295718" y="365627"/>
                      <a:pt x="1177627" y="447870"/>
                      <a:pt x="1168901" y="557673"/>
                    </a:cubicBezTo>
                    <a:cubicBezTo>
                      <a:pt x="1166389" y="589503"/>
                      <a:pt x="1168147" y="620015"/>
                      <a:pt x="1181018" y="649396"/>
                    </a:cubicBezTo>
                    <a:cubicBezTo>
                      <a:pt x="1185036" y="658562"/>
                      <a:pt x="1183152" y="665342"/>
                      <a:pt x="1176183" y="672248"/>
                    </a:cubicBezTo>
                    <a:cubicBezTo>
                      <a:pt x="1138766" y="709289"/>
                      <a:pt x="1101537" y="746518"/>
                      <a:pt x="1064496" y="783872"/>
                    </a:cubicBezTo>
                    <a:cubicBezTo>
                      <a:pt x="1057402" y="791029"/>
                      <a:pt x="1050559" y="791720"/>
                      <a:pt x="1041518" y="788078"/>
                    </a:cubicBezTo>
                    <a:cubicBezTo>
                      <a:pt x="995249" y="769495"/>
                      <a:pt x="948666" y="769119"/>
                      <a:pt x="902585" y="788141"/>
                    </a:cubicBezTo>
                    <a:cubicBezTo>
                      <a:pt x="888397" y="793980"/>
                      <a:pt x="881554" y="786132"/>
                      <a:pt x="873455" y="777971"/>
                    </a:cubicBezTo>
                    <a:cubicBezTo>
                      <a:pt x="787948" y="692463"/>
                      <a:pt x="702440" y="606956"/>
                      <a:pt x="616933" y="521512"/>
                    </a:cubicBezTo>
                    <a:cubicBezTo>
                      <a:pt x="597660" y="502238"/>
                      <a:pt x="597911" y="502364"/>
                      <a:pt x="587552" y="526534"/>
                    </a:cubicBezTo>
                    <a:cubicBezTo>
                      <a:pt x="576314" y="552714"/>
                      <a:pt x="568090" y="579898"/>
                      <a:pt x="559049" y="606831"/>
                    </a:cubicBezTo>
                    <a:cubicBezTo>
                      <a:pt x="553336" y="623907"/>
                      <a:pt x="556664" y="635584"/>
                      <a:pt x="569534" y="648329"/>
                    </a:cubicBezTo>
                    <a:cubicBezTo>
                      <a:pt x="641480" y="719208"/>
                      <a:pt x="712297" y="791217"/>
                      <a:pt x="784369" y="862034"/>
                    </a:cubicBezTo>
                    <a:cubicBezTo>
                      <a:pt x="797365" y="874778"/>
                      <a:pt x="799813" y="885074"/>
                      <a:pt x="793661" y="902653"/>
                    </a:cubicBezTo>
                    <a:cubicBezTo>
                      <a:pt x="753355" y="1018044"/>
                      <a:pt x="834280" y="1139022"/>
                      <a:pt x="952244" y="1150637"/>
                    </a:cubicBezTo>
                    <a:cubicBezTo>
                      <a:pt x="1049617" y="1160242"/>
                      <a:pt x="1133179" y="1096206"/>
                      <a:pt x="1154586" y="1010447"/>
                    </a:cubicBezTo>
                    <a:cubicBezTo>
                      <a:pt x="1163879" y="973218"/>
                      <a:pt x="1164255" y="935550"/>
                      <a:pt x="1149313" y="899640"/>
                    </a:cubicBezTo>
                    <a:cubicBezTo>
                      <a:pt x="1142972" y="884447"/>
                      <a:pt x="1146048" y="875218"/>
                      <a:pt x="1157223" y="864420"/>
                    </a:cubicBezTo>
                    <a:cubicBezTo>
                      <a:pt x="1192004" y="830832"/>
                      <a:pt x="1226094" y="796491"/>
                      <a:pt x="1259870" y="761899"/>
                    </a:cubicBezTo>
                    <a:cubicBezTo>
                      <a:pt x="1269098" y="752419"/>
                      <a:pt x="1277134" y="750661"/>
                      <a:pt x="1289879" y="755621"/>
                    </a:cubicBezTo>
                    <a:cubicBezTo>
                      <a:pt x="1333951" y="772760"/>
                      <a:pt x="1378839" y="772948"/>
                      <a:pt x="1422849" y="755370"/>
                    </a:cubicBezTo>
                    <a:cubicBezTo>
                      <a:pt x="1435970" y="750159"/>
                      <a:pt x="1443692" y="753235"/>
                      <a:pt x="1452670" y="762401"/>
                    </a:cubicBezTo>
                    <a:cubicBezTo>
                      <a:pt x="1487010" y="797433"/>
                      <a:pt x="1521603" y="832276"/>
                      <a:pt x="1556822" y="866429"/>
                    </a:cubicBezTo>
                    <a:cubicBezTo>
                      <a:pt x="1567056" y="876348"/>
                      <a:pt x="1568185" y="884823"/>
                      <a:pt x="1563226" y="898258"/>
                    </a:cubicBezTo>
                    <a:cubicBezTo>
                      <a:pt x="1527943" y="992932"/>
                      <a:pt x="1573334" y="1096708"/>
                      <a:pt x="1666751" y="1137201"/>
                    </a:cubicBezTo>
                    <a:cubicBezTo>
                      <a:pt x="1757720" y="1176628"/>
                      <a:pt x="1864824" y="1136888"/>
                      <a:pt x="1908959" y="1046170"/>
                    </a:cubicBezTo>
                    <a:cubicBezTo>
                      <a:pt x="1916179" y="1031291"/>
                      <a:pt x="1924465" y="1025201"/>
                      <a:pt x="1941291" y="1025389"/>
                    </a:cubicBezTo>
                    <a:cubicBezTo>
                      <a:pt x="2009533" y="1026268"/>
                      <a:pt x="2077839" y="1026143"/>
                      <a:pt x="2146144" y="1025515"/>
                    </a:cubicBezTo>
                    <a:cubicBezTo>
                      <a:pt x="2162844" y="1025389"/>
                      <a:pt x="2167238" y="1030035"/>
                      <a:pt x="2162781" y="1046609"/>
                    </a:cubicBezTo>
                    <a:cubicBezTo>
                      <a:pt x="2117830" y="1213543"/>
                      <a:pt x="2029811" y="1353481"/>
                      <a:pt x="1899479" y="1466674"/>
                    </a:cubicBezTo>
                    <a:cubicBezTo>
                      <a:pt x="1783460" y="1567437"/>
                      <a:pt x="1649172" y="1630846"/>
                      <a:pt x="1498123" y="1657465"/>
                    </a:cubicBezTo>
                    <a:cubicBezTo>
                      <a:pt x="1406525" y="1673599"/>
                      <a:pt x="1314489" y="1673913"/>
                      <a:pt x="1222390" y="1658657"/>
                    </a:cubicBezTo>
                    <a:cubicBezTo>
                      <a:pt x="1046290" y="1629527"/>
                      <a:pt x="894361" y="1551868"/>
                      <a:pt x="768486" y="1426558"/>
                    </a:cubicBezTo>
                    <a:cubicBezTo>
                      <a:pt x="638216" y="1296915"/>
                      <a:pt x="558171" y="1140152"/>
                      <a:pt x="530924" y="957335"/>
                    </a:cubicBezTo>
                    <a:cubicBezTo>
                      <a:pt x="515542" y="854249"/>
                      <a:pt x="518933" y="751979"/>
                      <a:pt x="542601" y="650526"/>
                    </a:cubicBezTo>
                    <a:cubicBezTo>
                      <a:pt x="545615" y="637468"/>
                      <a:pt x="542727" y="627611"/>
                      <a:pt x="532933" y="618006"/>
                    </a:cubicBezTo>
                    <a:cubicBezTo>
                      <a:pt x="496771" y="582723"/>
                      <a:pt x="461049" y="547001"/>
                      <a:pt x="425829" y="510839"/>
                    </a:cubicBezTo>
                    <a:cubicBezTo>
                      <a:pt x="417040" y="501799"/>
                      <a:pt x="409694" y="500920"/>
                      <a:pt x="397892" y="505252"/>
                    </a:cubicBezTo>
                    <a:cubicBezTo>
                      <a:pt x="304097" y="539341"/>
                      <a:pt x="202079" y="498283"/>
                      <a:pt x="158258" y="408569"/>
                    </a:cubicBezTo>
                    <a:cubicBezTo>
                      <a:pt x="150913" y="393502"/>
                      <a:pt x="142500" y="387601"/>
                      <a:pt x="125800" y="388166"/>
                    </a:cubicBezTo>
                    <a:cubicBezTo>
                      <a:pt x="90957" y="389359"/>
                      <a:pt x="56114" y="388040"/>
                      <a:pt x="21271" y="388668"/>
                    </a:cubicBezTo>
                    <a:cubicBezTo>
                      <a:pt x="6454" y="388982"/>
                      <a:pt x="1118" y="383206"/>
                      <a:pt x="1432" y="368641"/>
                    </a:cubicBezTo>
                    <a:cubicBezTo>
                      <a:pt x="2122" y="338067"/>
                      <a:pt x="2185" y="307430"/>
                      <a:pt x="1432" y="276918"/>
                    </a:cubicBezTo>
                    <a:cubicBezTo>
                      <a:pt x="1055" y="261725"/>
                      <a:pt x="7584" y="257205"/>
                      <a:pt x="21836" y="257456"/>
                    </a:cubicBezTo>
                    <a:cubicBezTo>
                      <a:pt x="57369" y="258021"/>
                      <a:pt x="92966" y="257142"/>
                      <a:pt x="128500" y="257833"/>
                    </a:cubicBezTo>
                    <a:cubicBezTo>
                      <a:pt x="142249" y="258084"/>
                      <a:pt x="150097" y="253815"/>
                      <a:pt x="156563" y="240882"/>
                    </a:cubicBezTo>
                    <a:cubicBezTo>
                      <a:pt x="223299" y="107285"/>
                      <a:pt x="394313" y="88765"/>
                      <a:pt x="486098" y="206165"/>
                    </a:cubicBezTo>
                    <a:cubicBezTo>
                      <a:pt x="528413" y="260282"/>
                      <a:pt x="536637" y="322685"/>
                      <a:pt x="514412" y="387726"/>
                    </a:cubicBezTo>
                    <a:cubicBezTo>
                      <a:pt x="509704" y="401601"/>
                      <a:pt x="511148" y="409574"/>
                      <a:pt x="521381" y="419117"/>
                    </a:cubicBezTo>
                    <a:cubicBezTo>
                      <a:pt x="542162" y="438516"/>
                      <a:pt x="562377" y="458606"/>
                      <a:pt x="581651" y="479512"/>
                    </a:cubicBezTo>
                    <a:cubicBezTo>
                      <a:pt x="593516" y="492382"/>
                      <a:pt x="598350" y="488803"/>
                      <a:pt x="604942" y="474929"/>
                    </a:cubicBezTo>
                    <a:cubicBezTo>
                      <a:pt x="648135" y="384022"/>
                      <a:pt x="706333" y="304102"/>
                      <a:pt x="778970" y="234290"/>
                    </a:cubicBezTo>
                    <a:cubicBezTo>
                      <a:pt x="898065" y="119778"/>
                      <a:pt x="1038568" y="46200"/>
                      <a:pt x="1200668" y="15563"/>
                    </a:cubicBezTo>
                    <a:cubicBezTo>
                      <a:pt x="1394974" y="-21164"/>
                      <a:pt x="1581181" y="6836"/>
                      <a:pt x="1753702" y="102514"/>
                    </a:cubicBezTo>
                    <a:cubicBezTo>
                      <a:pt x="1969165" y="221923"/>
                      <a:pt x="2107534" y="403484"/>
                      <a:pt x="2168055" y="643306"/>
                    </a:cubicBezTo>
                    <a:cubicBezTo>
                      <a:pt x="2177283" y="679907"/>
                      <a:pt x="2179669" y="717576"/>
                      <a:pt x="2188270" y="754240"/>
                    </a:cubicBezTo>
                    <a:cubicBezTo>
                      <a:pt x="2188333" y="802455"/>
                      <a:pt x="2188333" y="850859"/>
                      <a:pt x="2188333" y="899200"/>
                    </a:cubicBezTo>
                    <a:close/>
                    <a:moveTo>
                      <a:pt x="233532" y="2188212"/>
                    </a:moveTo>
                    <a:cubicBezTo>
                      <a:pt x="272958" y="2176598"/>
                      <a:pt x="308555" y="2158329"/>
                      <a:pt x="337936" y="2128947"/>
                    </a:cubicBezTo>
                    <a:cubicBezTo>
                      <a:pt x="497273" y="1969547"/>
                      <a:pt x="656548" y="1810147"/>
                      <a:pt x="816199" y="1651061"/>
                    </a:cubicBezTo>
                    <a:cubicBezTo>
                      <a:pt x="827814" y="1639509"/>
                      <a:pt x="827499" y="1632729"/>
                      <a:pt x="813750" y="1623249"/>
                    </a:cubicBezTo>
                    <a:cubicBezTo>
                      <a:pt x="716692" y="1556513"/>
                      <a:pt x="634637" y="1474459"/>
                      <a:pt x="567902" y="1377337"/>
                    </a:cubicBezTo>
                    <a:cubicBezTo>
                      <a:pt x="558234" y="1363275"/>
                      <a:pt x="551390" y="1363902"/>
                      <a:pt x="540090" y="1375266"/>
                    </a:cubicBezTo>
                    <a:cubicBezTo>
                      <a:pt x="380941" y="1534854"/>
                      <a:pt x="220725" y="1693312"/>
                      <a:pt x="62580" y="1853905"/>
                    </a:cubicBezTo>
                    <a:cubicBezTo>
                      <a:pt x="-17591" y="1935269"/>
                      <a:pt x="-20165" y="2041996"/>
                      <a:pt x="51594" y="2126813"/>
                    </a:cubicBezTo>
                    <a:cubicBezTo>
                      <a:pt x="79280" y="2159521"/>
                      <a:pt x="117011" y="2175782"/>
                      <a:pt x="156751" y="2188275"/>
                    </a:cubicBezTo>
                    <a:cubicBezTo>
                      <a:pt x="182303" y="2188212"/>
                      <a:pt x="207917" y="2188212"/>
                      <a:pt x="233532" y="2188212"/>
                    </a:cubicBezTo>
                    <a:close/>
                    <a:moveTo>
                      <a:pt x="1421467" y="579835"/>
                    </a:moveTo>
                    <a:cubicBezTo>
                      <a:pt x="1421718" y="542355"/>
                      <a:pt x="1395037" y="514418"/>
                      <a:pt x="1358373" y="513727"/>
                    </a:cubicBezTo>
                    <a:cubicBezTo>
                      <a:pt x="1319700" y="512974"/>
                      <a:pt x="1291197" y="539718"/>
                      <a:pt x="1290632" y="577324"/>
                    </a:cubicBezTo>
                    <a:cubicBezTo>
                      <a:pt x="1290067" y="615871"/>
                      <a:pt x="1317063" y="644122"/>
                      <a:pt x="1354794" y="644499"/>
                    </a:cubicBezTo>
                    <a:cubicBezTo>
                      <a:pt x="1393216" y="644876"/>
                      <a:pt x="1421216" y="617755"/>
                      <a:pt x="1421467" y="579835"/>
                    </a:cubicBezTo>
                    <a:close/>
                    <a:moveTo>
                      <a:pt x="972209" y="897819"/>
                    </a:moveTo>
                    <a:cubicBezTo>
                      <a:pt x="934855" y="897756"/>
                      <a:pt x="907105" y="924563"/>
                      <a:pt x="906478" y="961353"/>
                    </a:cubicBezTo>
                    <a:cubicBezTo>
                      <a:pt x="905850" y="999900"/>
                      <a:pt x="932783" y="1028214"/>
                      <a:pt x="970514" y="1028654"/>
                    </a:cubicBezTo>
                    <a:cubicBezTo>
                      <a:pt x="1008998" y="1029093"/>
                      <a:pt x="1036998" y="1001972"/>
                      <a:pt x="1037313" y="964053"/>
                    </a:cubicBezTo>
                    <a:cubicBezTo>
                      <a:pt x="1037563" y="925694"/>
                      <a:pt x="1010254" y="897882"/>
                      <a:pt x="972209" y="897819"/>
                    </a:cubicBezTo>
                    <a:close/>
                    <a:moveTo>
                      <a:pt x="1740330" y="897819"/>
                    </a:moveTo>
                    <a:cubicBezTo>
                      <a:pt x="1702976" y="897756"/>
                      <a:pt x="1675352" y="924689"/>
                      <a:pt x="1674787" y="961541"/>
                    </a:cubicBezTo>
                    <a:cubicBezTo>
                      <a:pt x="1674222" y="1000089"/>
                      <a:pt x="1701218" y="1028277"/>
                      <a:pt x="1739012" y="1028654"/>
                    </a:cubicBezTo>
                    <a:cubicBezTo>
                      <a:pt x="1777434" y="1029030"/>
                      <a:pt x="1805434" y="1001846"/>
                      <a:pt x="1805622" y="963864"/>
                    </a:cubicBezTo>
                    <a:cubicBezTo>
                      <a:pt x="1805811" y="925568"/>
                      <a:pt x="1778438" y="897819"/>
                      <a:pt x="1740330" y="897819"/>
                    </a:cubicBezTo>
                    <a:close/>
                  </a:path>
                </a:pathLst>
              </a:custGeom>
              <a:solidFill>
                <a:schemeClr val="tx2">
                  <a:lumMod val="60000"/>
                  <a:lumOff val="40000"/>
                </a:schemeClr>
              </a:solidFill>
              <a:ln w="6278" cap="flat">
                <a:noFill/>
                <a:prstDash val="solid"/>
                <a:miter/>
              </a:ln>
            </p:spPr>
            <p:txBody>
              <a:bodyPr rtlCol="0" anchor="ctr"/>
              <a:lstStyle/>
              <a:p>
                <a:endParaRPr lang="en-US"/>
              </a:p>
            </p:txBody>
          </p:sp>
        </p:grpSp>
        <p:grpSp>
          <p:nvGrpSpPr>
            <p:cNvPr id="14" name="Group 13">
              <a:extLst>
                <a:ext uri="{FF2B5EF4-FFF2-40B4-BE49-F238E27FC236}">
                  <a16:creationId xmlns:a16="http://schemas.microsoft.com/office/drawing/2014/main" id="{C7C922D3-9A86-438B-BE36-C3518CEA5FA2}"/>
                </a:ext>
              </a:extLst>
            </p:cNvPr>
            <p:cNvGrpSpPr/>
            <p:nvPr/>
          </p:nvGrpSpPr>
          <p:grpSpPr>
            <a:xfrm>
              <a:off x="7269813" y="2529842"/>
              <a:ext cx="424796" cy="718412"/>
              <a:chOff x="6983991" y="2328917"/>
              <a:chExt cx="424796" cy="718412"/>
            </a:xfrm>
          </p:grpSpPr>
          <p:sp>
            <p:nvSpPr>
              <p:cNvPr id="59" name="Rectangle 32">
                <a:extLst>
                  <a:ext uri="{FF2B5EF4-FFF2-40B4-BE49-F238E27FC236}">
                    <a16:creationId xmlns:a16="http://schemas.microsoft.com/office/drawing/2014/main" id="{F87F49E1-3D29-46F6-B006-1D4BF4C3F837}"/>
                  </a:ext>
                </a:extLst>
              </p:cNvPr>
              <p:cNvSpPr>
                <a:spLocks noChangeArrowheads="1"/>
              </p:cNvSpPr>
              <p:nvPr/>
            </p:nvSpPr>
            <p:spPr bwMode="auto">
              <a:xfrm>
                <a:off x="6983991" y="2801108"/>
                <a:ext cx="424796"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algn="ctr" defTabSz="914172" eaLnBrk="0" fontAlgn="base" hangingPunct="0">
                  <a:spcBef>
                    <a:spcPct val="0"/>
                  </a:spcBef>
                  <a:spcAft>
                    <a:spcPct val="0"/>
                  </a:spcAft>
                </a:pPr>
                <a:r>
                  <a:rPr lang="en-US" altLang="en-US" sz="1600" spc="-75" dirty="0">
                    <a:solidFill>
                      <a:schemeClr val="tx2">
                        <a:lumMod val="60000"/>
                        <a:lumOff val="40000"/>
                      </a:schemeClr>
                    </a:solidFill>
                    <a:latin typeface="Montserrat" panose="00000500000000000000" pitchFamily="50" charset="0"/>
                  </a:rPr>
                  <a:t>Plan</a:t>
                </a:r>
              </a:p>
            </p:txBody>
          </p:sp>
          <p:sp>
            <p:nvSpPr>
              <p:cNvPr id="84" name="Freeform: Shape 83">
                <a:extLst>
                  <a:ext uri="{FF2B5EF4-FFF2-40B4-BE49-F238E27FC236}">
                    <a16:creationId xmlns:a16="http://schemas.microsoft.com/office/drawing/2014/main" id="{33830268-D6DB-4414-BE5D-F54B72A434D8}"/>
                  </a:ext>
                </a:extLst>
              </p:cNvPr>
              <p:cNvSpPr/>
              <p:nvPr/>
            </p:nvSpPr>
            <p:spPr>
              <a:xfrm>
                <a:off x="7005121" y="2328917"/>
                <a:ext cx="382536" cy="382536"/>
              </a:xfrm>
              <a:custGeom>
                <a:avLst/>
                <a:gdLst>
                  <a:gd name="connsiteX0" fmla="*/ 1058420 w 2260102"/>
                  <a:gd name="connsiteY0" fmla="*/ 753746 h 2260102"/>
                  <a:gd name="connsiteX1" fmla="*/ 2077726 w 2260102"/>
                  <a:gd name="connsiteY1" fmla="*/ 753746 h 2260102"/>
                  <a:gd name="connsiteX2" fmla="*/ 2113009 w 2260102"/>
                  <a:gd name="connsiteY2" fmla="*/ 787961 h 2260102"/>
                  <a:gd name="connsiteX3" fmla="*/ 2112883 w 2260102"/>
                  <a:gd name="connsiteY3" fmla="*/ 1143425 h 2260102"/>
                  <a:gd name="connsiteX4" fmla="*/ 2109555 w 2260102"/>
                  <a:gd name="connsiteY4" fmla="*/ 1167972 h 2260102"/>
                  <a:gd name="connsiteX5" fmla="*/ 2087143 w 2260102"/>
                  <a:gd name="connsiteY5" fmla="*/ 1158995 h 2260102"/>
                  <a:gd name="connsiteX6" fmla="*/ 1736325 w 2260102"/>
                  <a:gd name="connsiteY6" fmla="*/ 1059425 h 2260102"/>
                  <a:gd name="connsiteX7" fmla="*/ 1066895 w 2260102"/>
                  <a:gd name="connsiteY7" fmla="*/ 1640459 h 2260102"/>
                  <a:gd name="connsiteX8" fmla="*/ 1161945 w 2260102"/>
                  <a:gd name="connsiteY8" fmla="*/ 2090973 h 2260102"/>
                  <a:gd name="connsiteX9" fmla="*/ 1150518 w 2260102"/>
                  <a:gd name="connsiteY9" fmla="*/ 2113323 h 2260102"/>
                  <a:gd name="connsiteX10" fmla="*/ 211257 w 2260102"/>
                  <a:gd name="connsiteY10" fmla="*/ 2112570 h 2260102"/>
                  <a:gd name="connsiteX11" fmla="*/ 942 w 2260102"/>
                  <a:gd name="connsiteY11" fmla="*/ 1902820 h 2260102"/>
                  <a:gd name="connsiteX12" fmla="*/ 0 w 2260102"/>
                  <a:gd name="connsiteY12" fmla="*/ 777540 h 2260102"/>
                  <a:gd name="connsiteX13" fmla="*/ 32019 w 2260102"/>
                  <a:gd name="connsiteY13" fmla="*/ 753746 h 2260102"/>
                  <a:gd name="connsiteX14" fmla="*/ 1058420 w 2260102"/>
                  <a:gd name="connsiteY14" fmla="*/ 753746 h 2260102"/>
                  <a:gd name="connsiteX15" fmla="*/ 529680 w 2260102"/>
                  <a:gd name="connsiteY15" fmla="*/ 1281103 h 2260102"/>
                  <a:gd name="connsiteX16" fmla="*/ 656498 w 2260102"/>
                  <a:gd name="connsiteY16" fmla="*/ 1281354 h 2260102"/>
                  <a:gd name="connsiteX17" fmla="*/ 678660 w 2260102"/>
                  <a:gd name="connsiteY17" fmla="*/ 1259946 h 2260102"/>
                  <a:gd name="connsiteX18" fmla="*/ 678660 w 2260102"/>
                  <a:gd name="connsiteY18" fmla="*/ 1156609 h 2260102"/>
                  <a:gd name="connsiteX19" fmla="*/ 655807 w 2260102"/>
                  <a:gd name="connsiteY19" fmla="*/ 1133380 h 2260102"/>
                  <a:gd name="connsiteX20" fmla="*/ 402173 w 2260102"/>
                  <a:gd name="connsiteY20" fmla="*/ 1133443 h 2260102"/>
                  <a:gd name="connsiteX21" fmla="*/ 380012 w 2260102"/>
                  <a:gd name="connsiteY21" fmla="*/ 1154851 h 2260102"/>
                  <a:gd name="connsiteX22" fmla="*/ 380012 w 2260102"/>
                  <a:gd name="connsiteY22" fmla="*/ 1258188 h 2260102"/>
                  <a:gd name="connsiteX23" fmla="*/ 402864 w 2260102"/>
                  <a:gd name="connsiteY23" fmla="*/ 1281417 h 2260102"/>
                  <a:gd name="connsiteX24" fmla="*/ 529680 w 2260102"/>
                  <a:gd name="connsiteY24" fmla="*/ 1281103 h 2260102"/>
                  <a:gd name="connsiteX25" fmla="*/ 526981 w 2260102"/>
                  <a:gd name="connsiteY25" fmla="*/ 1733124 h 2260102"/>
                  <a:gd name="connsiteX26" fmla="*/ 656121 w 2260102"/>
                  <a:gd name="connsiteY26" fmla="*/ 1733375 h 2260102"/>
                  <a:gd name="connsiteX27" fmla="*/ 678660 w 2260102"/>
                  <a:gd name="connsiteY27" fmla="*/ 1712280 h 2260102"/>
                  <a:gd name="connsiteX28" fmla="*/ 678660 w 2260102"/>
                  <a:gd name="connsiteY28" fmla="*/ 1606621 h 2260102"/>
                  <a:gd name="connsiteX29" fmla="*/ 656184 w 2260102"/>
                  <a:gd name="connsiteY29" fmla="*/ 1585464 h 2260102"/>
                  <a:gd name="connsiteX30" fmla="*/ 402550 w 2260102"/>
                  <a:gd name="connsiteY30" fmla="*/ 1585401 h 2260102"/>
                  <a:gd name="connsiteX31" fmla="*/ 380012 w 2260102"/>
                  <a:gd name="connsiteY31" fmla="*/ 1608881 h 2260102"/>
                  <a:gd name="connsiteX32" fmla="*/ 379886 w 2260102"/>
                  <a:gd name="connsiteY32" fmla="*/ 1709832 h 2260102"/>
                  <a:gd name="connsiteX33" fmla="*/ 404810 w 2260102"/>
                  <a:gd name="connsiteY33" fmla="*/ 1733437 h 2260102"/>
                  <a:gd name="connsiteX34" fmla="*/ 526981 w 2260102"/>
                  <a:gd name="connsiteY34" fmla="*/ 1733124 h 2260102"/>
                  <a:gd name="connsiteX35" fmla="*/ 2082811 w 2260102"/>
                  <a:gd name="connsiteY35" fmla="*/ 606776 h 2260102"/>
                  <a:gd name="connsiteX36" fmla="*/ 2113574 w 2260102"/>
                  <a:gd name="connsiteY36" fmla="*/ 576453 h 2260102"/>
                  <a:gd name="connsiteX37" fmla="*/ 2112946 w 2260102"/>
                  <a:gd name="connsiteY37" fmla="*/ 369340 h 2260102"/>
                  <a:gd name="connsiteX38" fmla="*/ 1893967 w 2260102"/>
                  <a:gd name="connsiteY38" fmla="*/ 151177 h 2260102"/>
                  <a:gd name="connsiteX39" fmla="*/ 1691562 w 2260102"/>
                  <a:gd name="connsiteY39" fmla="*/ 151052 h 2260102"/>
                  <a:gd name="connsiteX40" fmla="*/ 1661051 w 2260102"/>
                  <a:gd name="connsiteY40" fmla="*/ 119536 h 2260102"/>
                  <a:gd name="connsiteX41" fmla="*/ 1661364 w 2260102"/>
                  <a:gd name="connsiteY41" fmla="*/ 25427 h 2260102"/>
                  <a:gd name="connsiteX42" fmla="*/ 1635374 w 2260102"/>
                  <a:gd name="connsiteY42" fmla="*/ 127 h 2260102"/>
                  <a:gd name="connsiteX43" fmla="*/ 1534171 w 2260102"/>
                  <a:gd name="connsiteY43" fmla="*/ 64 h 2260102"/>
                  <a:gd name="connsiteX44" fmla="*/ 1506736 w 2260102"/>
                  <a:gd name="connsiteY44" fmla="*/ 26432 h 2260102"/>
                  <a:gd name="connsiteX45" fmla="*/ 1507364 w 2260102"/>
                  <a:gd name="connsiteY45" fmla="*/ 127634 h 2260102"/>
                  <a:gd name="connsiteX46" fmla="*/ 1485014 w 2260102"/>
                  <a:gd name="connsiteY46" fmla="*/ 151428 h 2260102"/>
                  <a:gd name="connsiteX47" fmla="*/ 628372 w 2260102"/>
                  <a:gd name="connsiteY47" fmla="*/ 151428 h 2260102"/>
                  <a:gd name="connsiteX48" fmla="*/ 606022 w 2260102"/>
                  <a:gd name="connsiteY48" fmla="*/ 127634 h 2260102"/>
                  <a:gd name="connsiteX49" fmla="*/ 606587 w 2260102"/>
                  <a:gd name="connsiteY49" fmla="*/ 26432 h 2260102"/>
                  <a:gd name="connsiteX50" fmla="*/ 581600 w 2260102"/>
                  <a:gd name="connsiteY50" fmla="*/ 64 h 2260102"/>
                  <a:gd name="connsiteX51" fmla="*/ 475689 w 2260102"/>
                  <a:gd name="connsiteY51" fmla="*/ 190 h 2260102"/>
                  <a:gd name="connsiteX52" fmla="*/ 452146 w 2260102"/>
                  <a:gd name="connsiteY52" fmla="*/ 23042 h 2260102"/>
                  <a:gd name="connsiteX53" fmla="*/ 452398 w 2260102"/>
                  <a:gd name="connsiteY53" fmla="*/ 119536 h 2260102"/>
                  <a:gd name="connsiteX54" fmla="*/ 421949 w 2260102"/>
                  <a:gd name="connsiteY54" fmla="*/ 151052 h 2260102"/>
                  <a:gd name="connsiteX55" fmla="*/ 221930 w 2260102"/>
                  <a:gd name="connsiteY55" fmla="*/ 151114 h 2260102"/>
                  <a:gd name="connsiteX56" fmla="*/ 503 w 2260102"/>
                  <a:gd name="connsiteY56" fmla="*/ 371663 h 2260102"/>
                  <a:gd name="connsiteX57" fmla="*/ 440 w 2260102"/>
                  <a:gd name="connsiteY57" fmla="*/ 571682 h 2260102"/>
                  <a:gd name="connsiteX58" fmla="*/ 35346 w 2260102"/>
                  <a:gd name="connsiteY58" fmla="*/ 606274 h 2260102"/>
                  <a:gd name="connsiteX59" fmla="*/ 1056724 w 2260102"/>
                  <a:gd name="connsiteY59" fmla="*/ 606274 h 2260102"/>
                  <a:gd name="connsiteX60" fmla="*/ 2082811 w 2260102"/>
                  <a:gd name="connsiteY60" fmla="*/ 606776 h 2260102"/>
                  <a:gd name="connsiteX61" fmla="*/ 1734441 w 2260102"/>
                  <a:gd name="connsiteY61" fmla="*/ 1205766 h 2260102"/>
                  <a:gd name="connsiteX62" fmla="*/ 2264812 w 2260102"/>
                  <a:gd name="connsiteY62" fmla="*/ 1734379 h 2260102"/>
                  <a:gd name="connsiteX63" fmla="*/ 1732684 w 2260102"/>
                  <a:gd name="connsiteY63" fmla="*/ 2264813 h 2260102"/>
                  <a:gd name="connsiteX64" fmla="*/ 1204635 w 2260102"/>
                  <a:gd name="connsiteY64" fmla="*/ 1730298 h 2260102"/>
                  <a:gd name="connsiteX65" fmla="*/ 1734441 w 2260102"/>
                  <a:gd name="connsiteY65" fmla="*/ 1205766 h 2260102"/>
                  <a:gd name="connsiteX66" fmla="*/ 1508619 w 2260102"/>
                  <a:gd name="connsiteY66" fmla="*/ 1638451 h 2260102"/>
                  <a:gd name="connsiteX67" fmla="*/ 1493363 w 2260102"/>
                  <a:gd name="connsiteY67" fmla="*/ 1648621 h 2260102"/>
                  <a:gd name="connsiteX68" fmla="*/ 1424870 w 2260102"/>
                  <a:gd name="connsiteY68" fmla="*/ 1716550 h 2260102"/>
                  <a:gd name="connsiteX69" fmla="*/ 1424682 w 2260102"/>
                  <a:gd name="connsiteY69" fmla="*/ 1752774 h 2260102"/>
                  <a:gd name="connsiteX70" fmla="*/ 1641086 w 2260102"/>
                  <a:gd name="connsiteY70" fmla="*/ 1969179 h 2260102"/>
                  <a:gd name="connsiteX71" fmla="*/ 1677311 w 2260102"/>
                  <a:gd name="connsiteY71" fmla="*/ 1969807 h 2260102"/>
                  <a:gd name="connsiteX72" fmla="*/ 2050730 w 2260102"/>
                  <a:gd name="connsiteY72" fmla="*/ 1597706 h 2260102"/>
                  <a:gd name="connsiteX73" fmla="*/ 2049788 w 2260102"/>
                  <a:gd name="connsiteY73" fmla="*/ 1571087 h 2260102"/>
                  <a:gd name="connsiteX74" fmla="*/ 1981734 w 2260102"/>
                  <a:gd name="connsiteY74" fmla="*/ 1502656 h 2260102"/>
                  <a:gd name="connsiteX75" fmla="*/ 1940299 w 2260102"/>
                  <a:gd name="connsiteY75" fmla="*/ 1502216 h 2260102"/>
                  <a:gd name="connsiteX76" fmla="*/ 1678001 w 2260102"/>
                  <a:gd name="connsiteY76" fmla="*/ 1765895 h 2260102"/>
                  <a:gd name="connsiteX77" fmla="*/ 1640396 w 2260102"/>
                  <a:gd name="connsiteY77" fmla="*/ 1765016 h 2260102"/>
                  <a:gd name="connsiteX78" fmla="*/ 1524063 w 2260102"/>
                  <a:gd name="connsiteY78" fmla="*/ 1648370 h 2260102"/>
                  <a:gd name="connsiteX79" fmla="*/ 1508619 w 2260102"/>
                  <a:gd name="connsiteY79" fmla="*/ 1638451 h 226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260102" h="2260102">
                    <a:moveTo>
                      <a:pt x="1058420" y="753746"/>
                    </a:moveTo>
                    <a:cubicBezTo>
                      <a:pt x="1398188" y="753746"/>
                      <a:pt x="1737957" y="753746"/>
                      <a:pt x="2077726" y="753746"/>
                    </a:cubicBezTo>
                    <a:cubicBezTo>
                      <a:pt x="2112946" y="753746"/>
                      <a:pt x="2113009" y="753808"/>
                      <a:pt x="2113009" y="787961"/>
                    </a:cubicBezTo>
                    <a:cubicBezTo>
                      <a:pt x="2113072" y="906428"/>
                      <a:pt x="2113072" y="1024958"/>
                      <a:pt x="2112883" y="1143425"/>
                    </a:cubicBezTo>
                    <a:cubicBezTo>
                      <a:pt x="2112883" y="1151838"/>
                      <a:pt x="2116775" y="1163138"/>
                      <a:pt x="2109555" y="1167972"/>
                    </a:cubicBezTo>
                    <a:cubicBezTo>
                      <a:pt x="2101457" y="1173309"/>
                      <a:pt x="2094112" y="1163264"/>
                      <a:pt x="2087143" y="1158995"/>
                    </a:cubicBezTo>
                    <a:cubicBezTo>
                      <a:pt x="1979600" y="1092447"/>
                      <a:pt x="1861698" y="1058608"/>
                      <a:pt x="1736325" y="1059425"/>
                    </a:cubicBezTo>
                    <a:cubicBezTo>
                      <a:pt x="1375399" y="1061622"/>
                      <a:pt x="1108581" y="1329821"/>
                      <a:pt x="1066895" y="1640459"/>
                    </a:cubicBezTo>
                    <a:cubicBezTo>
                      <a:pt x="1045173" y="1802057"/>
                      <a:pt x="1076375" y="1952291"/>
                      <a:pt x="1161945" y="2090973"/>
                    </a:cubicBezTo>
                    <a:cubicBezTo>
                      <a:pt x="1171927" y="2107171"/>
                      <a:pt x="1172492" y="2113386"/>
                      <a:pt x="1150518" y="2113323"/>
                    </a:cubicBezTo>
                    <a:cubicBezTo>
                      <a:pt x="837431" y="2112884"/>
                      <a:pt x="524344" y="2113637"/>
                      <a:pt x="211257" y="2112570"/>
                    </a:cubicBezTo>
                    <a:cubicBezTo>
                      <a:pt x="104970" y="2112193"/>
                      <a:pt x="1193" y="2008982"/>
                      <a:pt x="942" y="1902820"/>
                    </a:cubicBezTo>
                    <a:cubicBezTo>
                      <a:pt x="-62" y="1527705"/>
                      <a:pt x="691" y="1152654"/>
                      <a:pt x="0" y="777540"/>
                    </a:cubicBezTo>
                    <a:cubicBezTo>
                      <a:pt x="-62" y="750983"/>
                      <a:pt x="15382" y="753746"/>
                      <a:pt x="32019" y="753746"/>
                    </a:cubicBezTo>
                    <a:cubicBezTo>
                      <a:pt x="374111" y="753808"/>
                      <a:pt x="716265" y="753746"/>
                      <a:pt x="1058420" y="753746"/>
                    </a:cubicBezTo>
                    <a:close/>
                    <a:moveTo>
                      <a:pt x="529680" y="1281103"/>
                    </a:moveTo>
                    <a:cubicBezTo>
                      <a:pt x="571932" y="1281103"/>
                      <a:pt x="614247" y="1280601"/>
                      <a:pt x="656498" y="1281354"/>
                    </a:cubicBezTo>
                    <a:cubicBezTo>
                      <a:pt x="672381" y="1281605"/>
                      <a:pt x="679099" y="1276708"/>
                      <a:pt x="678660" y="1259946"/>
                    </a:cubicBezTo>
                    <a:cubicBezTo>
                      <a:pt x="677781" y="1225542"/>
                      <a:pt x="677718" y="1191013"/>
                      <a:pt x="678660" y="1156609"/>
                    </a:cubicBezTo>
                    <a:cubicBezTo>
                      <a:pt x="679162" y="1139407"/>
                      <a:pt x="673448" y="1133255"/>
                      <a:pt x="655807" y="1133380"/>
                    </a:cubicBezTo>
                    <a:cubicBezTo>
                      <a:pt x="571242" y="1134071"/>
                      <a:pt x="486739" y="1133945"/>
                      <a:pt x="402173" y="1133443"/>
                    </a:cubicBezTo>
                    <a:cubicBezTo>
                      <a:pt x="386290" y="1133317"/>
                      <a:pt x="379572" y="1138089"/>
                      <a:pt x="380012" y="1154851"/>
                    </a:cubicBezTo>
                    <a:cubicBezTo>
                      <a:pt x="380891" y="1189255"/>
                      <a:pt x="380953" y="1223784"/>
                      <a:pt x="380012" y="1258188"/>
                    </a:cubicBezTo>
                    <a:cubicBezTo>
                      <a:pt x="379510" y="1275390"/>
                      <a:pt x="385223" y="1281794"/>
                      <a:pt x="402864" y="1281417"/>
                    </a:cubicBezTo>
                    <a:cubicBezTo>
                      <a:pt x="445115" y="1280475"/>
                      <a:pt x="487366" y="1281103"/>
                      <a:pt x="529680" y="1281103"/>
                    </a:cubicBezTo>
                    <a:close/>
                    <a:moveTo>
                      <a:pt x="526981" y="1733124"/>
                    </a:moveTo>
                    <a:cubicBezTo>
                      <a:pt x="570049" y="1733124"/>
                      <a:pt x="613116" y="1732684"/>
                      <a:pt x="656121" y="1733375"/>
                    </a:cubicBezTo>
                    <a:cubicBezTo>
                      <a:pt x="671628" y="1733626"/>
                      <a:pt x="679099" y="1729420"/>
                      <a:pt x="678660" y="1712280"/>
                    </a:cubicBezTo>
                    <a:cubicBezTo>
                      <a:pt x="677718" y="1677061"/>
                      <a:pt x="677718" y="1641841"/>
                      <a:pt x="678660" y="1606621"/>
                    </a:cubicBezTo>
                    <a:cubicBezTo>
                      <a:pt x="679099" y="1589607"/>
                      <a:pt x="671816" y="1585401"/>
                      <a:pt x="656184" y="1585464"/>
                    </a:cubicBezTo>
                    <a:cubicBezTo>
                      <a:pt x="571618" y="1585966"/>
                      <a:pt x="487116" y="1586091"/>
                      <a:pt x="402550" y="1585401"/>
                    </a:cubicBezTo>
                    <a:cubicBezTo>
                      <a:pt x="384657" y="1585275"/>
                      <a:pt x="379510" y="1591993"/>
                      <a:pt x="380012" y="1608881"/>
                    </a:cubicBezTo>
                    <a:cubicBezTo>
                      <a:pt x="380953" y="1642531"/>
                      <a:pt x="381268" y="1676244"/>
                      <a:pt x="379886" y="1709832"/>
                    </a:cubicBezTo>
                    <a:cubicBezTo>
                      <a:pt x="379070" y="1729357"/>
                      <a:pt x="387169" y="1733814"/>
                      <a:pt x="404810" y="1733437"/>
                    </a:cubicBezTo>
                    <a:cubicBezTo>
                      <a:pt x="445555" y="1732496"/>
                      <a:pt x="486237" y="1733124"/>
                      <a:pt x="526981" y="1733124"/>
                    </a:cubicBezTo>
                    <a:close/>
                    <a:moveTo>
                      <a:pt x="2082811" y="606776"/>
                    </a:moveTo>
                    <a:cubicBezTo>
                      <a:pt x="2106291" y="606839"/>
                      <a:pt x="2114076" y="600498"/>
                      <a:pt x="2113574" y="576453"/>
                    </a:cubicBezTo>
                    <a:cubicBezTo>
                      <a:pt x="2112067" y="507457"/>
                      <a:pt x="2113385" y="438399"/>
                      <a:pt x="2112946" y="369340"/>
                    </a:cubicBezTo>
                    <a:cubicBezTo>
                      <a:pt x="2112193" y="253321"/>
                      <a:pt x="2010300" y="151868"/>
                      <a:pt x="1893967" y="151177"/>
                    </a:cubicBezTo>
                    <a:cubicBezTo>
                      <a:pt x="1826478" y="150800"/>
                      <a:pt x="1759051" y="151114"/>
                      <a:pt x="1691562" y="151052"/>
                    </a:cubicBezTo>
                    <a:cubicBezTo>
                      <a:pt x="1661114" y="151052"/>
                      <a:pt x="1661114" y="150989"/>
                      <a:pt x="1661051" y="119536"/>
                    </a:cubicBezTo>
                    <a:cubicBezTo>
                      <a:pt x="1660988" y="88145"/>
                      <a:pt x="1660109" y="56755"/>
                      <a:pt x="1661364" y="25427"/>
                    </a:cubicBezTo>
                    <a:cubicBezTo>
                      <a:pt x="1662180" y="5589"/>
                      <a:pt x="1654459" y="-564"/>
                      <a:pt x="1635374" y="127"/>
                    </a:cubicBezTo>
                    <a:cubicBezTo>
                      <a:pt x="1601660" y="1257"/>
                      <a:pt x="1567885" y="1383"/>
                      <a:pt x="1534171" y="64"/>
                    </a:cubicBezTo>
                    <a:cubicBezTo>
                      <a:pt x="1514207" y="-689"/>
                      <a:pt x="1505794" y="5024"/>
                      <a:pt x="1506736" y="26432"/>
                    </a:cubicBezTo>
                    <a:cubicBezTo>
                      <a:pt x="1508243" y="60082"/>
                      <a:pt x="1506485" y="93921"/>
                      <a:pt x="1507364" y="127634"/>
                    </a:cubicBezTo>
                    <a:cubicBezTo>
                      <a:pt x="1507803" y="144271"/>
                      <a:pt x="1503283" y="151428"/>
                      <a:pt x="1485014" y="151428"/>
                    </a:cubicBezTo>
                    <a:cubicBezTo>
                      <a:pt x="1199487" y="150989"/>
                      <a:pt x="913898" y="150989"/>
                      <a:pt x="628372" y="151428"/>
                    </a:cubicBezTo>
                    <a:cubicBezTo>
                      <a:pt x="610166" y="151428"/>
                      <a:pt x="605583" y="144334"/>
                      <a:pt x="606022" y="127634"/>
                    </a:cubicBezTo>
                    <a:cubicBezTo>
                      <a:pt x="606901" y="93921"/>
                      <a:pt x="605520" y="60145"/>
                      <a:pt x="606587" y="26432"/>
                    </a:cubicBezTo>
                    <a:cubicBezTo>
                      <a:pt x="607152" y="7723"/>
                      <a:pt x="601878" y="-626"/>
                      <a:pt x="581600" y="64"/>
                    </a:cubicBezTo>
                    <a:cubicBezTo>
                      <a:pt x="546317" y="1320"/>
                      <a:pt x="510972" y="1006"/>
                      <a:pt x="475689" y="190"/>
                    </a:cubicBezTo>
                    <a:cubicBezTo>
                      <a:pt x="458739" y="-187"/>
                      <a:pt x="451582" y="5338"/>
                      <a:pt x="452146" y="23042"/>
                    </a:cubicBezTo>
                    <a:cubicBezTo>
                      <a:pt x="453088" y="55186"/>
                      <a:pt x="452398" y="87392"/>
                      <a:pt x="452398" y="119536"/>
                    </a:cubicBezTo>
                    <a:cubicBezTo>
                      <a:pt x="452335" y="150989"/>
                      <a:pt x="452335" y="151052"/>
                      <a:pt x="421949" y="151052"/>
                    </a:cubicBezTo>
                    <a:cubicBezTo>
                      <a:pt x="355276" y="151114"/>
                      <a:pt x="288603" y="150863"/>
                      <a:pt x="221930" y="151114"/>
                    </a:cubicBezTo>
                    <a:cubicBezTo>
                      <a:pt x="102521" y="151679"/>
                      <a:pt x="1131" y="252693"/>
                      <a:pt x="503" y="371663"/>
                    </a:cubicBezTo>
                    <a:cubicBezTo>
                      <a:pt x="189" y="438336"/>
                      <a:pt x="377" y="505009"/>
                      <a:pt x="440" y="571682"/>
                    </a:cubicBezTo>
                    <a:cubicBezTo>
                      <a:pt x="440" y="606211"/>
                      <a:pt x="503" y="606274"/>
                      <a:pt x="35346" y="606274"/>
                    </a:cubicBezTo>
                    <a:cubicBezTo>
                      <a:pt x="375806" y="606274"/>
                      <a:pt x="716265" y="606274"/>
                      <a:pt x="1056724" y="606274"/>
                    </a:cubicBezTo>
                    <a:cubicBezTo>
                      <a:pt x="1398753" y="606337"/>
                      <a:pt x="1740782" y="606086"/>
                      <a:pt x="2082811" y="606776"/>
                    </a:cubicBezTo>
                    <a:close/>
                    <a:moveTo>
                      <a:pt x="1734441" y="1205766"/>
                    </a:moveTo>
                    <a:cubicBezTo>
                      <a:pt x="2023169" y="1200493"/>
                      <a:pt x="2264624" y="1446216"/>
                      <a:pt x="2264812" y="1734379"/>
                    </a:cubicBezTo>
                    <a:cubicBezTo>
                      <a:pt x="2265000" y="2022417"/>
                      <a:pt x="2023546" y="2265817"/>
                      <a:pt x="1732684" y="2264813"/>
                    </a:cubicBezTo>
                    <a:cubicBezTo>
                      <a:pt x="1445776" y="2263808"/>
                      <a:pt x="1202375" y="2022166"/>
                      <a:pt x="1204635" y="1730298"/>
                    </a:cubicBezTo>
                    <a:cubicBezTo>
                      <a:pt x="1206896" y="1445149"/>
                      <a:pt x="1446718" y="1200932"/>
                      <a:pt x="1734441" y="1205766"/>
                    </a:cubicBezTo>
                    <a:close/>
                    <a:moveTo>
                      <a:pt x="1508619" y="1638451"/>
                    </a:moveTo>
                    <a:cubicBezTo>
                      <a:pt x="1501651" y="1639016"/>
                      <a:pt x="1497758" y="1644226"/>
                      <a:pt x="1493363" y="1648621"/>
                    </a:cubicBezTo>
                    <a:cubicBezTo>
                      <a:pt x="1470512" y="1671285"/>
                      <a:pt x="1448476" y="1694765"/>
                      <a:pt x="1424870" y="1716550"/>
                    </a:cubicBezTo>
                    <a:cubicBezTo>
                      <a:pt x="1410619" y="1729733"/>
                      <a:pt x="1410682" y="1739025"/>
                      <a:pt x="1424682" y="1752774"/>
                    </a:cubicBezTo>
                    <a:cubicBezTo>
                      <a:pt x="1497381" y="1824344"/>
                      <a:pt x="1569454" y="1896542"/>
                      <a:pt x="1641086" y="1969179"/>
                    </a:cubicBezTo>
                    <a:cubicBezTo>
                      <a:pt x="1654459" y="1982740"/>
                      <a:pt x="1663185" y="1983995"/>
                      <a:pt x="1677311" y="1969807"/>
                    </a:cubicBezTo>
                    <a:cubicBezTo>
                      <a:pt x="1801303" y="1845313"/>
                      <a:pt x="1925859" y="1721321"/>
                      <a:pt x="2050730" y="1597706"/>
                    </a:cubicBezTo>
                    <a:cubicBezTo>
                      <a:pt x="2061842" y="1586719"/>
                      <a:pt x="2059331" y="1580316"/>
                      <a:pt x="2049788" y="1571087"/>
                    </a:cubicBezTo>
                    <a:cubicBezTo>
                      <a:pt x="2026622" y="1548737"/>
                      <a:pt x="2003268" y="1526513"/>
                      <a:pt x="1981734" y="1502656"/>
                    </a:cubicBezTo>
                    <a:cubicBezTo>
                      <a:pt x="1966729" y="1485956"/>
                      <a:pt x="1956496" y="1485768"/>
                      <a:pt x="1940299" y="1502216"/>
                    </a:cubicBezTo>
                    <a:cubicBezTo>
                      <a:pt x="1853348" y="1590612"/>
                      <a:pt x="1764952" y="1677563"/>
                      <a:pt x="1678001" y="1765895"/>
                    </a:cubicBezTo>
                    <a:cubicBezTo>
                      <a:pt x="1662997" y="1781151"/>
                      <a:pt x="1654396" y="1779644"/>
                      <a:pt x="1640396" y="1765016"/>
                    </a:cubicBezTo>
                    <a:cubicBezTo>
                      <a:pt x="1602476" y="1725339"/>
                      <a:pt x="1562988" y="1687106"/>
                      <a:pt x="1524063" y="1648370"/>
                    </a:cubicBezTo>
                    <a:cubicBezTo>
                      <a:pt x="1519606" y="1644038"/>
                      <a:pt x="1515651" y="1638764"/>
                      <a:pt x="1508619" y="1638451"/>
                    </a:cubicBezTo>
                    <a:close/>
                  </a:path>
                </a:pathLst>
              </a:custGeom>
              <a:solidFill>
                <a:schemeClr val="tx2">
                  <a:lumMod val="60000"/>
                  <a:lumOff val="40000"/>
                </a:schemeClr>
              </a:solidFill>
              <a:ln w="6278"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FCFC4C06-F4C7-4434-975D-3AB667C74DE3}"/>
                </a:ext>
              </a:extLst>
            </p:cNvPr>
            <p:cNvGrpSpPr/>
            <p:nvPr/>
          </p:nvGrpSpPr>
          <p:grpSpPr>
            <a:xfrm>
              <a:off x="5845674" y="1534302"/>
              <a:ext cx="500137" cy="695410"/>
              <a:chOff x="5845787" y="1552491"/>
              <a:chExt cx="500137" cy="695410"/>
            </a:xfrm>
          </p:grpSpPr>
          <p:sp>
            <p:nvSpPr>
              <p:cNvPr id="62" name="Rectangle 32">
                <a:extLst>
                  <a:ext uri="{FF2B5EF4-FFF2-40B4-BE49-F238E27FC236}">
                    <a16:creationId xmlns:a16="http://schemas.microsoft.com/office/drawing/2014/main" id="{4B016F59-2E34-4C3A-BFD6-AB6705FA19D5}"/>
                  </a:ext>
                </a:extLst>
              </p:cNvPr>
              <p:cNvSpPr>
                <a:spLocks noChangeArrowheads="1"/>
              </p:cNvSpPr>
              <p:nvPr/>
            </p:nvSpPr>
            <p:spPr bwMode="auto">
              <a:xfrm>
                <a:off x="5845787" y="2001680"/>
                <a:ext cx="500137"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algn="ctr" defTabSz="914172" eaLnBrk="0" fontAlgn="base" hangingPunct="0">
                  <a:spcBef>
                    <a:spcPct val="0"/>
                  </a:spcBef>
                  <a:spcAft>
                    <a:spcPct val="0"/>
                  </a:spcAft>
                </a:pPr>
                <a:r>
                  <a:rPr lang="en-US" altLang="en-US" sz="1600" spc="-75" dirty="0">
                    <a:solidFill>
                      <a:schemeClr val="tx2">
                        <a:lumMod val="60000"/>
                        <a:lumOff val="40000"/>
                      </a:schemeClr>
                    </a:solidFill>
                    <a:latin typeface="Montserrat" panose="00000500000000000000" pitchFamily="50" charset="0"/>
                  </a:rPr>
                  <a:t>Ideas</a:t>
                </a:r>
              </a:p>
            </p:txBody>
          </p:sp>
          <p:sp>
            <p:nvSpPr>
              <p:cNvPr id="85" name="Freeform: Shape 84">
                <a:extLst>
                  <a:ext uri="{FF2B5EF4-FFF2-40B4-BE49-F238E27FC236}">
                    <a16:creationId xmlns:a16="http://schemas.microsoft.com/office/drawing/2014/main" id="{10532D9A-70D3-4040-B177-EA8B1BCB5F66}"/>
                  </a:ext>
                </a:extLst>
              </p:cNvPr>
              <p:cNvSpPr/>
              <p:nvPr/>
            </p:nvSpPr>
            <p:spPr>
              <a:xfrm>
                <a:off x="5917339" y="1552491"/>
                <a:ext cx="357032" cy="357032"/>
              </a:xfrm>
              <a:custGeom>
                <a:avLst/>
                <a:gdLst>
                  <a:gd name="connsiteX0" fmla="*/ 2115125 w 2109429"/>
                  <a:gd name="connsiteY0" fmla="*/ 793766 h 2109429"/>
                  <a:gd name="connsiteX1" fmla="*/ 1994711 w 2109429"/>
                  <a:gd name="connsiteY1" fmla="*/ 1109993 h 2109429"/>
                  <a:gd name="connsiteX2" fmla="*/ 1987994 w 2109429"/>
                  <a:gd name="connsiteY2" fmla="*/ 1176917 h 2109429"/>
                  <a:gd name="connsiteX3" fmla="*/ 2040604 w 2109429"/>
                  <a:gd name="connsiteY3" fmla="*/ 1420003 h 2109429"/>
                  <a:gd name="connsiteX4" fmla="*/ 1932810 w 2109429"/>
                  <a:gd name="connsiteY4" fmla="*/ 1716202 h 2109429"/>
                  <a:gd name="connsiteX5" fmla="*/ 1676414 w 2109429"/>
                  <a:gd name="connsiteY5" fmla="*/ 1877109 h 2109429"/>
                  <a:gd name="connsiteX6" fmla="*/ 1648351 w 2109429"/>
                  <a:gd name="connsiteY6" fmla="*/ 1901217 h 2109429"/>
                  <a:gd name="connsiteX7" fmla="*/ 1086024 w 2109429"/>
                  <a:gd name="connsiteY7" fmla="*/ 2010832 h 2109429"/>
                  <a:gd name="connsiteX8" fmla="*/ 1046284 w 2109429"/>
                  <a:gd name="connsiteY8" fmla="*/ 2010706 h 2109429"/>
                  <a:gd name="connsiteX9" fmla="*/ 486093 w 2109429"/>
                  <a:gd name="connsiteY9" fmla="*/ 1905360 h 2109429"/>
                  <a:gd name="connsiteX10" fmla="*/ 451438 w 2109429"/>
                  <a:gd name="connsiteY10" fmla="*/ 1875477 h 2109429"/>
                  <a:gd name="connsiteX11" fmla="*/ 88252 w 2109429"/>
                  <a:gd name="connsiteY11" fmla="*/ 1464766 h 2109429"/>
                  <a:gd name="connsiteX12" fmla="*/ 140422 w 2109429"/>
                  <a:gd name="connsiteY12" fmla="*/ 1161410 h 2109429"/>
                  <a:gd name="connsiteX13" fmla="*/ 135902 w 2109429"/>
                  <a:gd name="connsiteY13" fmla="*/ 1126692 h 2109429"/>
                  <a:gd name="connsiteX14" fmla="*/ 23776 w 2109429"/>
                  <a:gd name="connsiteY14" fmla="*/ 649559 h 2109429"/>
                  <a:gd name="connsiteX15" fmla="*/ 387778 w 2109429"/>
                  <a:gd name="connsiteY15" fmla="*/ 310983 h 2109429"/>
                  <a:gd name="connsiteX16" fmla="*/ 424693 w 2109429"/>
                  <a:gd name="connsiteY16" fmla="*/ 304894 h 2109429"/>
                  <a:gd name="connsiteX17" fmla="*/ 459850 w 2109429"/>
                  <a:gd name="connsiteY17" fmla="*/ 272248 h 2109429"/>
                  <a:gd name="connsiteX18" fmla="*/ 751090 w 2109429"/>
                  <a:gd name="connsiteY18" fmla="*/ 3923 h 2109429"/>
                  <a:gd name="connsiteX19" fmla="*/ 1041011 w 2109429"/>
                  <a:gd name="connsiteY19" fmla="*/ 108014 h 2109429"/>
                  <a:gd name="connsiteX20" fmla="*/ 1075352 w 2109429"/>
                  <a:gd name="connsiteY20" fmla="*/ 109457 h 2109429"/>
                  <a:gd name="connsiteX21" fmla="*/ 1417318 w 2109429"/>
                  <a:gd name="connsiteY21" fmla="*/ 14596 h 2109429"/>
                  <a:gd name="connsiteX22" fmla="*/ 1661158 w 2109429"/>
                  <a:gd name="connsiteY22" fmla="*/ 280221 h 2109429"/>
                  <a:gd name="connsiteX23" fmla="*/ 1684763 w 2109429"/>
                  <a:gd name="connsiteY23" fmla="*/ 304768 h 2109429"/>
                  <a:gd name="connsiteX24" fmla="*/ 2107403 w 2109429"/>
                  <a:gd name="connsiteY24" fmla="*/ 702483 h 2109429"/>
                  <a:gd name="connsiteX25" fmla="*/ 2115125 w 2109429"/>
                  <a:gd name="connsiteY25" fmla="*/ 793766 h 2109429"/>
                  <a:gd name="connsiteX26" fmla="*/ 777583 w 2109429"/>
                  <a:gd name="connsiteY26" fmla="*/ 1207114 h 2109429"/>
                  <a:gd name="connsiteX27" fmla="*/ 777583 w 2109429"/>
                  <a:gd name="connsiteY27" fmla="*/ 1207240 h 2109429"/>
                  <a:gd name="connsiteX28" fmla="*/ 850534 w 2109429"/>
                  <a:gd name="connsiteY28" fmla="*/ 1207240 h 2109429"/>
                  <a:gd name="connsiteX29" fmla="*/ 876839 w 2109429"/>
                  <a:gd name="connsiteY29" fmla="*/ 1242334 h 2109429"/>
                  <a:gd name="connsiteX30" fmla="*/ 869431 w 2109429"/>
                  <a:gd name="connsiteY30" fmla="*/ 1264621 h 2109429"/>
                  <a:gd name="connsiteX31" fmla="*/ 767727 w 2109429"/>
                  <a:gd name="connsiteY31" fmla="*/ 1565340 h 2109429"/>
                  <a:gd name="connsiteX32" fmla="*/ 821530 w 2109429"/>
                  <a:gd name="connsiteY32" fmla="*/ 1658130 h 2109429"/>
                  <a:gd name="connsiteX33" fmla="*/ 891969 w 2109429"/>
                  <a:gd name="connsiteY33" fmla="*/ 1627619 h 2109429"/>
                  <a:gd name="connsiteX34" fmla="*/ 1477525 w 2109429"/>
                  <a:gd name="connsiteY34" fmla="*/ 1041562 h 2109429"/>
                  <a:gd name="connsiteX35" fmla="*/ 1494789 w 2109429"/>
                  <a:gd name="connsiteY35" fmla="*/ 1022351 h 2109429"/>
                  <a:gd name="connsiteX36" fmla="*/ 1506152 w 2109429"/>
                  <a:gd name="connsiteY36" fmla="*/ 971498 h 2109429"/>
                  <a:gd name="connsiteX37" fmla="*/ 1425165 w 2109429"/>
                  <a:gd name="connsiteY37" fmla="*/ 909283 h 2109429"/>
                  <a:gd name="connsiteX38" fmla="*/ 1279263 w 2109429"/>
                  <a:gd name="connsiteY38" fmla="*/ 909032 h 2109429"/>
                  <a:gd name="connsiteX39" fmla="*/ 1257102 w 2109429"/>
                  <a:gd name="connsiteY39" fmla="*/ 876511 h 2109429"/>
                  <a:gd name="connsiteX40" fmla="*/ 1388502 w 2109429"/>
                  <a:gd name="connsiteY40" fmla="*/ 574536 h 2109429"/>
                  <a:gd name="connsiteX41" fmla="*/ 1363264 w 2109429"/>
                  <a:gd name="connsiteY41" fmla="*/ 471639 h 2109429"/>
                  <a:gd name="connsiteX42" fmla="*/ 1264949 w 2109429"/>
                  <a:gd name="connsiteY42" fmla="*/ 487083 h 2109429"/>
                  <a:gd name="connsiteX43" fmla="*/ 1132796 w 2109429"/>
                  <a:gd name="connsiteY43" fmla="*/ 611012 h 2109429"/>
                  <a:gd name="connsiteX44" fmla="*/ 642793 w 2109429"/>
                  <a:gd name="connsiteY44" fmla="*/ 1072324 h 2109429"/>
                  <a:gd name="connsiteX45" fmla="*/ 613977 w 2109429"/>
                  <a:gd name="connsiteY45" fmla="*/ 1108988 h 2109429"/>
                  <a:gd name="connsiteX46" fmla="*/ 690506 w 2109429"/>
                  <a:gd name="connsiteY46" fmla="*/ 1206800 h 2109429"/>
                  <a:gd name="connsiteX47" fmla="*/ 777583 w 2109429"/>
                  <a:gd name="connsiteY47" fmla="*/ 1207114 h 2109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109429" h="2109429">
                    <a:moveTo>
                      <a:pt x="2115125" y="793766"/>
                    </a:moveTo>
                    <a:cubicBezTo>
                      <a:pt x="2115188" y="914368"/>
                      <a:pt x="2070237" y="1018082"/>
                      <a:pt x="1994711" y="1109993"/>
                    </a:cubicBezTo>
                    <a:cubicBezTo>
                      <a:pt x="1969160" y="1141069"/>
                      <a:pt x="1968406" y="1140630"/>
                      <a:pt x="1987994" y="1176917"/>
                    </a:cubicBezTo>
                    <a:cubicBezTo>
                      <a:pt x="2029052" y="1252881"/>
                      <a:pt x="2039474" y="1334622"/>
                      <a:pt x="2040604" y="1420003"/>
                    </a:cubicBezTo>
                    <a:cubicBezTo>
                      <a:pt x="2042111" y="1533511"/>
                      <a:pt x="2002936" y="1630444"/>
                      <a:pt x="1932810" y="1716202"/>
                    </a:cubicBezTo>
                    <a:cubicBezTo>
                      <a:pt x="1865760" y="1798257"/>
                      <a:pt x="1780002" y="1852625"/>
                      <a:pt x="1676414" y="1877109"/>
                    </a:cubicBezTo>
                    <a:cubicBezTo>
                      <a:pt x="1661597" y="1880625"/>
                      <a:pt x="1654064" y="1887405"/>
                      <a:pt x="1648351" y="1901217"/>
                    </a:cubicBezTo>
                    <a:cubicBezTo>
                      <a:pt x="1553866" y="2130869"/>
                      <a:pt x="1259738" y="2188438"/>
                      <a:pt x="1086024" y="2010832"/>
                    </a:cubicBezTo>
                    <a:cubicBezTo>
                      <a:pt x="1069953" y="1994446"/>
                      <a:pt x="1062293" y="1994383"/>
                      <a:pt x="1046284" y="2010706"/>
                    </a:cubicBezTo>
                    <a:cubicBezTo>
                      <a:pt x="872947" y="2187057"/>
                      <a:pt x="583717" y="2132564"/>
                      <a:pt x="486093" y="1905360"/>
                    </a:cubicBezTo>
                    <a:cubicBezTo>
                      <a:pt x="478747" y="1888284"/>
                      <a:pt x="469079" y="1880123"/>
                      <a:pt x="451438" y="1875477"/>
                    </a:cubicBezTo>
                    <a:cubicBezTo>
                      <a:pt x="259329" y="1824813"/>
                      <a:pt x="113866" y="1660390"/>
                      <a:pt x="88252" y="1464766"/>
                    </a:cubicBezTo>
                    <a:cubicBezTo>
                      <a:pt x="74314" y="1358478"/>
                      <a:pt x="91642" y="1256962"/>
                      <a:pt x="140422" y="1161410"/>
                    </a:cubicBezTo>
                    <a:cubicBezTo>
                      <a:pt x="147642" y="1147284"/>
                      <a:pt x="147140" y="1138683"/>
                      <a:pt x="135902" y="1126692"/>
                    </a:cubicBezTo>
                    <a:cubicBezTo>
                      <a:pt x="7390" y="989265"/>
                      <a:pt x="-29964" y="827354"/>
                      <a:pt x="23776" y="649559"/>
                    </a:cubicBezTo>
                    <a:cubicBezTo>
                      <a:pt x="78395" y="468814"/>
                      <a:pt x="202512" y="355118"/>
                      <a:pt x="387778" y="310983"/>
                    </a:cubicBezTo>
                    <a:cubicBezTo>
                      <a:pt x="399958" y="308095"/>
                      <a:pt x="412639" y="303826"/>
                      <a:pt x="424693" y="304894"/>
                    </a:cubicBezTo>
                    <a:cubicBezTo>
                      <a:pt x="450119" y="307091"/>
                      <a:pt x="455016" y="292714"/>
                      <a:pt x="459850" y="272248"/>
                    </a:cubicBezTo>
                    <a:cubicBezTo>
                      <a:pt x="493501" y="129798"/>
                      <a:pt x="607385" y="22569"/>
                      <a:pt x="751090" y="3923"/>
                    </a:cubicBezTo>
                    <a:cubicBezTo>
                      <a:pt x="863844" y="-10705"/>
                      <a:pt x="961593" y="26085"/>
                      <a:pt x="1041011" y="108014"/>
                    </a:cubicBezTo>
                    <a:cubicBezTo>
                      <a:pt x="1053944" y="121386"/>
                      <a:pt x="1060284" y="124839"/>
                      <a:pt x="1075352" y="109457"/>
                    </a:cubicBezTo>
                    <a:cubicBezTo>
                      <a:pt x="1170715" y="12022"/>
                      <a:pt x="1286546" y="-22570"/>
                      <a:pt x="1417318" y="14596"/>
                    </a:cubicBezTo>
                    <a:cubicBezTo>
                      <a:pt x="1550538" y="52453"/>
                      <a:pt x="1634037" y="142355"/>
                      <a:pt x="1661158" y="280221"/>
                    </a:cubicBezTo>
                    <a:cubicBezTo>
                      <a:pt x="1664171" y="295539"/>
                      <a:pt x="1667875" y="302006"/>
                      <a:pt x="1684763" y="304768"/>
                    </a:cubicBezTo>
                    <a:cubicBezTo>
                      <a:pt x="1903115" y="340804"/>
                      <a:pt x="2062577" y="491352"/>
                      <a:pt x="2107403" y="702483"/>
                    </a:cubicBezTo>
                    <a:cubicBezTo>
                      <a:pt x="2113744" y="732493"/>
                      <a:pt x="2116694" y="762878"/>
                      <a:pt x="2115125" y="793766"/>
                    </a:cubicBezTo>
                    <a:close/>
                    <a:moveTo>
                      <a:pt x="777583" y="1207114"/>
                    </a:moveTo>
                    <a:cubicBezTo>
                      <a:pt x="777583" y="1207177"/>
                      <a:pt x="777583" y="1207177"/>
                      <a:pt x="777583" y="1207240"/>
                    </a:cubicBezTo>
                    <a:cubicBezTo>
                      <a:pt x="801879" y="1207240"/>
                      <a:pt x="826238" y="1207240"/>
                      <a:pt x="850534" y="1207240"/>
                    </a:cubicBezTo>
                    <a:cubicBezTo>
                      <a:pt x="888579" y="1207303"/>
                      <a:pt x="888579" y="1207303"/>
                      <a:pt x="876839" y="1242334"/>
                    </a:cubicBezTo>
                    <a:cubicBezTo>
                      <a:pt x="874328" y="1249742"/>
                      <a:pt x="871942" y="1257213"/>
                      <a:pt x="869431" y="1264621"/>
                    </a:cubicBezTo>
                    <a:cubicBezTo>
                      <a:pt x="835467" y="1364819"/>
                      <a:pt x="801000" y="1464891"/>
                      <a:pt x="767727" y="1565340"/>
                    </a:cubicBezTo>
                    <a:cubicBezTo>
                      <a:pt x="752094" y="1612551"/>
                      <a:pt x="776014" y="1652982"/>
                      <a:pt x="821530" y="1658130"/>
                    </a:cubicBezTo>
                    <a:cubicBezTo>
                      <a:pt x="850283" y="1661395"/>
                      <a:pt x="872005" y="1647646"/>
                      <a:pt x="891969" y="1627619"/>
                    </a:cubicBezTo>
                    <a:cubicBezTo>
                      <a:pt x="1086903" y="1432057"/>
                      <a:pt x="1282339" y="1236872"/>
                      <a:pt x="1477525" y="1041562"/>
                    </a:cubicBezTo>
                    <a:cubicBezTo>
                      <a:pt x="1483614" y="1035472"/>
                      <a:pt x="1490018" y="1029445"/>
                      <a:pt x="1494789" y="1022351"/>
                    </a:cubicBezTo>
                    <a:cubicBezTo>
                      <a:pt x="1505211" y="1007095"/>
                      <a:pt x="1511049" y="990772"/>
                      <a:pt x="1506152" y="971498"/>
                    </a:cubicBezTo>
                    <a:cubicBezTo>
                      <a:pt x="1494915" y="927050"/>
                      <a:pt x="1474260" y="910099"/>
                      <a:pt x="1425165" y="909283"/>
                    </a:cubicBezTo>
                    <a:cubicBezTo>
                      <a:pt x="1376510" y="908467"/>
                      <a:pt x="1327918" y="909094"/>
                      <a:pt x="1279263" y="909032"/>
                    </a:cubicBezTo>
                    <a:cubicBezTo>
                      <a:pt x="1243353" y="908969"/>
                      <a:pt x="1243164" y="908529"/>
                      <a:pt x="1257102" y="876511"/>
                    </a:cubicBezTo>
                    <a:cubicBezTo>
                      <a:pt x="1300985" y="775874"/>
                      <a:pt x="1344806" y="675237"/>
                      <a:pt x="1388502" y="574536"/>
                    </a:cubicBezTo>
                    <a:cubicBezTo>
                      <a:pt x="1405641" y="534985"/>
                      <a:pt x="1395345" y="493926"/>
                      <a:pt x="1363264" y="471639"/>
                    </a:cubicBezTo>
                    <a:cubicBezTo>
                      <a:pt x="1335452" y="452365"/>
                      <a:pt x="1295963" y="458267"/>
                      <a:pt x="1264949" y="487083"/>
                    </a:cubicBezTo>
                    <a:cubicBezTo>
                      <a:pt x="1220689" y="528204"/>
                      <a:pt x="1176805" y="569640"/>
                      <a:pt x="1132796" y="611012"/>
                    </a:cubicBezTo>
                    <a:cubicBezTo>
                      <a:pt x="969441" y="764762"/>
                      <a:pt x="806085" y="918574"/>
                      <a:pt x="642793" y="1072324"/>
                    </a:cubicBezTo>
                    <a:cubicBezTo>
                      <a:pt x="631367" y="1083060"/>
                      <a:pt x="619753" y="1093732"/>
                      <a:pt x="613977" y="1108988"/>
                    </a:cubicBezTo>
                    <a:cubicBezTo>
                      <a:pt x="596147" y="1156450"/>
                      <a:pt x="633313" y="1204603"/>
                      <a:pt x="690506" y="1206800"/>
                    </a:cubicBezTo>
                    <a:cubicBezTo>
                      <a:pt x="719511" y="1207993"/>
                      <a:pt x="748578" y="1207114"/>
                      <a:pt x="777583" y="1207114"/>
                    </a:cubicBezTo>
                    <a:close/>
                  </a:path>
                </a:pathLst>
              </a:custGeom>
              <a:solidFill>
                <a:schemeClr val="tx2">
                  <a:lumMod val="60000"/>
                  <a:lumOff val="40000"/>
                </a:schemeClr>
              </a:solidFill>
              <a:ln w="6278" cap="flat">
                <a:noFill/>
                <a:prstDash val="solid"/>
                <a:miter/>
              </a:ln>
            </p:spPr>
            <p:txBody>
              <a:bodyPr rtlCol="0" anchor="ctr"/>
              <a:lstStyle/>
              <a:p>
                <a:endParaRPr lang="en-US"/>
              </a:p>
            </p:txBody>
          </p:sp>
        </p:grpSp>
        <p:grpSp>
          <p:nvGrpSpPr>
            <p:cNvPr id="15" name="Group 14">
              <a:extLst>
                <a:ext uri="{FF2B5EF4-FFF2-40B4-BE49-F238E27FC236}">
                  <a16:creationId xmlns:a16="http://schemas.microsoft.com/office/drawing/2014/main" id="{6F4B5DC7-8FA0-4040-AE5A-23E8384CC75F}"/>
                </a:ext>
              </a:extLst>
            </p:cNvPr>
            <p:cNvGrpSpPr/>
            <p:nvPr/>
          </p:nvGrpSpPr>
          <p:grpSpPr>
            <a:xfrm>
              <a:off x="6463666" y="4133741"/>
              <a:ext cx="977833" cy="769962"/>
              <a:chOff x="6287020" y="3571025"/>
              <a:chExt cx="977833" cy="769962"/>
            </a:xfrm>
          </p:grpSpPr>
          <p:sp>
            <p:nvSpPr>
              <p:cNvPr id="56" name="Rectangle 32">
                <a:extLst>
                  <a:ext uri="{FF2B5EF4-FFF2-40B4-BE49-F238E27FC236}">
                    <a16:creationId xmlns:a16="http://schemas.microsoft.com/office/drawing/2014/main" id="{585D6B3D-1FD7-47D9-81FC-5F32E81B18AB}"/>
                  </a:ext>
                </a:extLst>
              </p:cNvPr>
              <p:cNvSpPr>
                <a:spLocks noChangeArrowheads="1"/>
              </p:cNvSpPr>
              <p:nvPr/>
            </p:nvSpPr>
            <p:spPr bwMode="auto">
              <a:xfrm>
                <a:off x="6287020" y="4094766"/>
                <a:ext cx="977833"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algn="ctr" defTabSz="914172" eaLnBrk="0" fontAlgn="base" hangingPunct="0">
                  <a:spcBef>
                    <a:spcPct val="0"/>
                  </a:spcBef>
                  <a:spcAft>
                    <a:spcPct val="0"/>
                  </a:spcAft>
                </a:pPr>
                <a:r>
                  <a:rPr lang="en-US" altLang="en-US" sz="1600" spc="-75" dirty="0">
                    <a:solidFill>
                      <a:schemeClr val="tx2">
                        <a:lumMod val="60000"/>
                        <a:lumOff val="40000"/>
                      </a:schemeClr>
                    </a:solidFill>
                    <a:latin typeface="Montserrat" panose="00000500000000000000" pitchFamily="50" charset="0"/>
                  </a:rPr>
                  <a:t>Marketing</a:t>
                </a:r>
              </a:p>
            </p:txBody>
          </p:sp>
          <p:sp>
            <p:nvSpPr>
              <p:cNvPr id="86" name="Freeform: Shape 85">
                <a:extLst>
                  <a:ext uri="{FF2B5EF4-FFF2-40B4-BE49-F238E27FC236}">
                    <a16:creationId xmlns:a16="http://schemas.microsoft.com/office/drawing/2014/main" id="{ED6E6C55-65A2-44AE-A2B3-D19E91D99F72}"/>
                  </a:ext>
                </a:extLst>
              </p:cNvPr>
              <p:cNvSpPr/>
              <p:nvPr/>
            </p:nvSpPr>
            <p:spPr>
              <a:xfrm>
                <a:off x="6588940" y="3571025"/>
                <a:ext cx="373992" cy="439692"/>
              </a:xfrm>
              <a:custGeom>
                <a:avLst/>
                <a:gdLst>
                  <a:gd name="connsiteX0" fmla="*/ 1543230 w 1858306"/>
                  <a:gd name="connsiteY0" fmla="*/ 1515543 h 2184766"/>
                  <a:gd name="connsiteX1" fmla="*/ 1543230 w 1858306"/>
                  <a:gd name="connsiteY1" fmla="*/ 2038192 h 2184766"/>
                  <a:gd name="connsiteX2" fmla="*/ 1507884 w 1858306"/>
                  <a:gd name="connsiteY2" fmla="*/ 2143664 h 2184766"/>
                  <a:gd name="connsiteX3" fmla="*/ 1406368 w 1858306"/>
                  <a:gd name="connsiteY3" fmla="*/ 2187861 h 2184766"/>
                  <a:gd name="connsiteX4" fmla="*/ 577224 w 1858306"/>
                  <a:gd name="connsiteY4" fmla="*/ 2187736 h 2184766"/>
                  <a:gd name="connsiteX5" fmla="*/ 443752 w 1858306"/>
                  <a:gd name="connsiteY5" fmla="*/ 2051313 h 2184766"/>
                  <a:gd name="connsiteX6" fmla="*/ 443439 w 1858306"/>
                  <a:gd name="connsiteY6" fmla="*/ 1780478 h 2184766"/>
                  <a:gd name="connsiteX7" fmla="*/ 467923 w 1858306"/>
                  <a:gd name="connsiteY7" fmla="*/ 1752854 h 2184766"/>
                  <a:gd name="connsiteX8" fmla="*/ 472632 w 1858306"/>
                  <a:gd name="connsiteY8" fmla="*/ 1752415 h 2184766"/>
                  <a:gd name="connsiteX9" fmla="*/ 623619 w 1858306"/>
                  <a:gd name="connsiteY9" fmla="*/ 1776209 h 2184766"/>
                  <a:gd name="connsiteX10" fmla="*/ 722059 w 1858306"/>
                  <a:gd name="connsiteY10" fmla="*/ 1817016 h 2184766"/>
                  <a:gd name="connsiteX11" fmla="*/ 780131 w 1858306"/>
                  <a:gd name="connsiteY11" fmla="*/ 1758944 h 2184766"/>
                  <a:gd name="connsiteX12" fmla="*/ 759413 w 1858306"/>
                  <a:gd name="connsiteY12" fmla="*/ 1659123 h 2184766"/>
                  <a:gd name="connsiteX13" fmla="*/ 776490 w 1858306"/>
                  <a:gd name="connsiteY13" fmla="*/ 1601176 h 2184766"/>
                  <a:gd name="connsiteX14" fmla="*/ 887737 w 1858306"/>
                  <a:gd name="connsiteY14" fmla="*/ 1114815 h 2184766"/>
                  <a:gd name="connsiteX15" fmla="*/ 508102 w 1858306"/>
                  <a:gd name="connsiteY15" fmla="*/ 781387 h 2184766"/>
                  <a:gd name="connsiteX16" fmla="*/ 491842 w 1858306"/>
                  <a:gd name="connsiteY16" fmla="*/ 777997 h 2184766"/>
                  <a:gd name="connsiteX17" fmla="*/ 443815 w 1858306"/>
                  <a:gd name="connsiteY17" fmla="*/ 721619 h 2184766"/>
                  <a:gd name="connsiteX18" fmla="*/ 443878 w 1858306"/>
                  <a:gd name="connsiteY18" fmla="*/ 137195 h 2184766"/>
                  <a:gd name="connsiteX19" fmla="*/ 579359 w 1858306"/>
                  <a:gd name="connsiteY19" fmla="*/ 333 h 2184766"/>
                  <a:gd name="connsiteX20" fmla="*/ 755145 w 1858306"/>
                  <a:gd name="connsiteY20" fmla="*/ 19 h 2184766"/>
                  <a:gd name="connsiteX21" fmla="*/ 785530 w 1858306"/>
                  <a:gd name="connsiteY21" fmla="*/ 16593 h 2184766"/>
                  <a:gd name="connsiteX22" fmla="*/ 816606 w 1858306"/>
                  <a:gd name="connsiteY22" fmla="*/ 34234 h 2184766"/>
                  <a:gd name="connsiteX23" fmla="*/ 1168178 w 1858306"/>
                  <a:gd name="connsiteY23" fmla="*/ 34234 h 2184766"/>
                  <a:gd name="connsiteX24" fmla="*/ 1199255 w 1858306"/>
                  <a:gd name="connsiteY24" fmla="*/ 16405 h 2184766"/>
                  <a:gd name="connsiteX25" fmla="*/ 1229829 w 1858306"/>
                  <a:gd name="connsiteY25" fmla="*/ 19 h 2184766"/>
                  <a:gd name="connsiteX26" fmla="*/ 1398521 w 1858306"/>
                  <a:gd name="connsiteY26" fmla="*/ 207 h 2184766"/>
                  <a:gd name="connsiteX27" fmla="*/ 1543167 w 1858306"/>
                  <a:gd name="connsiteY27" fmla="*/ 142091 h 2184766"/>
                  <a:gd name="connsiteX28" fmla="*/ 1543607 w 1858306"/>
                  <a:gd name="connsiteY28" fmla="*/ 232370 h 2184766"/>
                  <a:gd name="connsiteX29" fmla="*/ 1515544 w 1858306"/>
                  <a:gd name="connsiteY29" fmla="*/ 259491 h 2184766"/>
                  <a:gd name="connsiteX30" fmla="*/ 1192474 w 1858306"/>
                  <a:gd name="connsiteY30" fmla="*/ 259240 h 2184766"/>
                  <a:gd name="connsiteX31" fmla="*/ 963137 w 1858306"/>
                  <a:gd name="connsiteY31" fmla="*/ 444945 h 2184766"/>
                  <a:gd name="connsiteX32" fmla="*/ 959872 w 1858306"/>
                  <a:gd name="connsiteY32" fmla="*/ 477905 h 2184766"/>
                  <a:gd name="connsiteX33" fmla="*/ 959809 w 1858306"/>
                  <a:gd name="connsiteY33" fmla="*/ 729718 h 2184766"/>
                  <a:gd name="connsiteX34" fmla="*/ 1127308 w 1858306"/>
                  <a:gd name="connsiteY34" fmla="*/ 943863 h 2184766"/>
                  <a:gd name="connsiteX35" fmla="*/ 1155433 w 1858306"/>
                  <a:gd name="connsiteY35" fmla="*/ 981343 h 2184766"/>
                  <a:gd name="connsiteX36" fmla="*/ 1154931 w 1858306"/>
                  <a:gd name="connsiteY36" fmla="*/ 1045442 h 2184766"/>
                  <a:gd name="connsiteX37" fmla="*/ 1173954 w 1858306"/>
                  <a:gd name="connsiteY37" fmla="*/ 1086061 h 2184766"/>
                  <a:gd name="connsiteX38" fmla="*/ 1217838 w 1858306"/>
                  <a:gd name="connsiteY38" fmla="*/ 1078779 h 2184766"/>
                  <a:gd name="connsiteX39" fmla="*/ 1367318 w 1858306"/>
                  <a:gd name="connsiteY39" fmla="*/ 969352 h 2184766"/>
                  <a:gd name="connsiteX40" fmla="*/ 1413274 w 1858306"/>
                  <a:gd name="connsiteY40" fmla="*/ 954536 h 2184766"/>
                  <a:gd name="connsiteX41" fmla="*/ 1513032 w 1858306"/>
                  <a:gd name="connsiteY41" fmla="*/ 954347 h 2184766"/>
                  <a:gd name="connsiteX42" fmla="*/ 1543795 w 1858306"/>
                  <a:gd name="connsiteY42" fmla="*/ 985863 h 2184766"/>
                  <a:gd name="connsiteX43" fmla="*/ 1543230 w 1858306"/>
                  <a:gd name="connsiteY43" fmla="*/ 1515543 h 2184766"/>
                  <a:gd name="connsiteX44" fmla="*/ 992581 w 1858306"/>
                  <a:gd name="connsiteY44" fmla="*/ 2019798 h 2184766"/>
                  <a:gd name="connsiteX45" fmla="*/ 1161147 w 1858306"/>
                  <a:gd name="connsiteY45" fmla="*/ 2019798 h 2184766"/>
                  <a:gd name="connsiteX46" fmla="*/ 1192161 w 1858306"/>
                  <a:gd name="connsiteY46" fmla="*/ 2011197 h 2184766"/>
                  <a:gd name="connsiteX47" fmla="*/ 1201828 w 1858306"/>
                  <a:gd name="connsiteY47" fmla="*/ 1976793 h 2184766"/>
                  <a:gd name="connsiteX48" fmla="*/ 1160330 w 1858306"/>
                  <a:gd name="connsiteY48" fmla="*/ 1951304 h 2184766"/>
                  <a:gd name="connsiteX49" fmla="*/ 823199 w 1858306"/>
                  <a:gd name="connsiteY49" fmla="*/ 1951367 h 2184766"/>
                  <a:gd name="connsiteX50" fmla="*/ 780194 w 1858306"/>
                  <a:gd name="connsiteY50" fmla="*/ 1986712 h 2184766"/>
                  <a:gd name="connsiteX51" fmla="*/ 823952 w 1858306"/>
                  <a:gd name="connsiteY51" fmla="*/ 2019672 h 2184766"/>
                  <a:gd name="connsiteX52" fmla="*/ 992581 w 1858306"/>
                  <a:gd name="connsiteY52" fmla="*/ 2019798 h 2184766"/>
                  <a:gd name="connsiteX53" fmla="*/ 845548 w 1858306"/>
                  <a:gd name="connsiteY53" fmla="*/ 1264170 h 2184766"/>
                  <a:gd name="connsiteX54" fmla="*/ 720992 w 1858306"/>
                  <a:gd name="connsiteY54" fmla="*/ 1561185 h 2184766"/>
                  <a:gd name="connsiteX55" fmla="*/ 690669 w 1858306"/>
                  <a:gd name="connsiteY55" fmla="*/ 1658432 h 2184766"/>
                  <a:gd name="connsiteX56" fmla="*/ 699835 w 1858306"/>
                  <a:gd name="connsiteY56" fmla="*/ 1716944 h 2184766"/>
                  <a:gd name="connsiteX57" fmla="*/ 682758 w 1858306"/>
                  <a:gd name="connsiteY57" fmla="*/ 1729437 h 2184766"/>
                  <a:gd name="connsiteX58" fmla="*/ 603655 w 1858306"/>
                  <a:gd name="connsiteY58" fmla="*/ 1691329 h 2184766"/>
                  <a:gd name="connsiteX59" fmla="*/ 486192 w 1858306"/>
                  <a:gd name="connsiteY59" fmla="*/ 1680280 h 2184766"/>
                  <a:gd name="connsiteX60" fmla="*/ 6799 w 1858306"/>
                  <a:gd name="connsiteY60" fmla="*/ 1341390 h 2184766"/>
                  <a:gd name="connsiteX61" fmla="*/ 352470 w 1858306"/>
                  <a:gd name="connsiteY61" fmla="*/ 847306 h 2184766"/>
                  <a:gd name="connsiteX62" fmla="*/ 841468 w 1858306"/>
                  <a:gd name="connsiteY62" fmla="*/ 1226564 h 2184766"/>
                  <a:gd name="connsiteX63" fmla="*/ 845548 w 1858306"/>
                  <a:gd name="connsiteY63" fmla="*/ 1264170 h 2184766"/>
                  <a:gd name="connsiteX64" fmla="*/ 652875 w 1858306"/>
                  <a:gd name="connsiteY64" fmla="*/ 1195739 h 2184766"/>
                  <a:gd name="connsiteX65" fmla="*/ 599386 w 1858306"/>
                  <a:gd name="connsiteY65" fmla="*/ 1122788 h 2184766"/>
                  <a:gd name="connsiteX66" fmla="*/ 499501 w 1858306"/>
                  <a:gd name="connsiteY66" fmla="*/ 1135972 h 2184766"/>
                  <a:gd name="connsiteX67" fmla="*/ 467044 w 1858306"/>
                  <a:gd name="connsiteY67" fmla="*/ 1167174 h 2184766"/>
                  <a:gd name="connsiteX68" fmla="*/ 406084 w 1858306"/>
                  <a:gd name="connsiteY68" fmla="*/ 1167739 h 2184766"/>
                  <a:gd name="connsiteX69" fmla="*/ 377079 w 1858306"/>
                  <a:gd name="connsiteY69" fmla="*/ 1139739 h 2184766"/>
                  <a:gd name="connsiteX70" fmla="*/ 246809 w 1858306"/>
                  <a:gd name="connsiteY70" fmla="*/ 1143380 h 2184766"/>
                  <a:gd name="connsiteX71" fmla="*/ 247500 w 1858306"/>
                  <a:gd name="connsiteY71" fmla="*/ 1273147 h 2184766"/>
                  <a:gd name="connsiteX72" fmla="*/ 425358 w 1858306"/>
                  <a:gd name="connsiteY72" fmla="*/ 1450754 h 2184766"/>
                  <a:gd name="connsiteX73" fmla="*/ 450219 w 1858306"/>
                  <a:gd name="connsiteY73" fmla="*/ 1451193 h 2184766"/>
                  <a:gd name="connsiteX74" fmla="*/ 627825 w 1858306"/>
                  <a:gd name="connsiteY74" fmla="*/ 1270008 h 2184766"/>
                  <a:gd name="connsiteX75" fmla="*/ 652875 w 1858306"/>
                  <a:gd name="connsiteY75" fmla="*/ 1195739 h 2184766"/>
                  <a:gd name="connsiteX76" fmla="*/ 1444916 w 1858306"/>
                  <a:gd name="connsiteY76" fmla="*/ 327545 h 2184766"/>
                  <a:gd name="connsiteX77" fmla="*/ 1684674 w 1858306"/>
                  <a:gd name="connsiteY77" fmla="*/ 326667 h 2184766"/>
                  <a:gd name="connsiteX78" fmla="*/ 1860146 w 1858306"/>
                  <a:gd name="connsiteY78" fmla="*/ 484748 h 2184766"/>
                  <a:gd name="connsiteX79" fmla="*/ 1858326 w 1858306"/>
                  <a:gd name="connsiteY79" fmla="*/ 736122 h 2184766"/>
                  <a:gd name="connsiteX80" fmla="*/ 1689634 w 1858306"/>
                  <a:gd name="connsiteY80" fmla="*/ 885665 h 2184766"/>
                  <a:gd name="connsiteX81" fmla="*/ 1392807 w 1858306"/>
                  <a:gd name="connsiteY81" fmla="*/ 885540 h 2184766"/>
                  <a:gd name="connsiteX82" fmla="*/ 1344467 w 1858306"/>
                  <a:gd name="connsiteY82" fmla="*/ 900921 h 2184766"/>
                  <a:gd name="connsiteX83" fmla="*/ 1244896 w 1858306"/>
                  <a:gd name="connsiteY83" fmla="*/ 973935 h 2184766"/>
                  <a:gd name="connsiteX84" fmla="*/ 1228322 w 1858306"/>
                  <a:gd name="connsiteY84" fmla="*/ 980841 h 2184766"/>
                  <a:gd name="connsiteX85" fmla="*/ 1223362 w 1858306"/>
                  <a:gd name="connsiteY85" fmla="*/ 964016 h 2184766"/>
                  <a:gd name="connsiteX86" fmla="*/ 1222985 w 1858306"/>
                  <a:gd name="connsiteY86" fmla="*/ 923648 h 2184766"/>
                  <a:gd name="connsiteX87" fmla="*/ 1186824 w 1858306"/>
                  <a:gd name="connsiteY87" fmla="*/ 885791 h 2184766"/>
                  <a:gd name="connsiteX88" fmla="*/ 1031567 w 1858306"/>
                  <a:gd name="connsiteY88" fmla="*/ 761234 h 2184766"/>
                  <a:gd name="connsiteX89" fmla="*/ 1026859 w 1858306"/>
                  <a:gd name="connsiteY89" fmla="*/ 726077 h 2184766"/>
                  <a:gd name="connsiteX90" fmla="*/ 1029244 w 1858306"/>
                  <a:gd name="connsiteY90" fmla="*/ 462838 h 2184766"/>
                  <a:gd name="connsiteX91" fmla="*/ 1181300 w 1858306"/>
                  <a:gd name="connsiteY91" fmla="*/ 327734 h 2184766"/>
                  <a:gd name="connsiteX92" fmla="*/ 1444916 w 1858306"/>
                  <a:gd name="connsiteY92" fmla="*/ 327545 h 2184766"/>
                  <a:gd name="connsiteX93" fmla="*/ 1450189 w 1858306"/>
                  <a:gd name="connsiteY93" fmla="*/ 731790 h 2184766"/>
                  <a:gd name="connsiteX94" fmla="*/ 1706585 w 1858306"/>
                  <a:gd name="connsiteY94" fmla="*/ 731664 h 2184766"/>
                  <a:gd name="connsiteX95" fmla="*/ 1746011 w 1858306"/>
                  <a:gd name="connsiteY95" fmla="*/ 700274 h 2184766"/>
                  <a:gd name="connsiteX96" fmla="*/ 1701374 w 1858306"/>
                  <a:gd name="connsiteY96" fmla="*/ 663359 h 2184766"/>
                  <a:gd name="connsiteX97" fmla="*/ 1200447 w 1858306"/>
                  <a:gd name="connsiteY97" fmla="*/ 663359 h 2184766"/>
                  <a:gd name="connsiteX98" fmla="*/ 1155246 w 1858306"/>
                  <a:gd name="connsiteY98" fmla="*/ 698453 h 2184766"/>
                  <a:gd name="connsiteX99" fmla="*/ 1200887 w 1858306"/>
                  <a:gd name="connsiteY99" fmla="*/ 731727 h 2184766"/>
                  <a:gd name="connsiteX100" fmla="*/ 1450189 w 1858306"/>
                  <a:gd name="connsiteY100" fmla="*/ 731790 h 2184766"/>
                  <a:gd name="connsiteX101" fmla="*/ 1450691 w 1858306"/>
                  <a:gd name="connsiteY101" fmla="*/ 491780 h 2184766"/>
                  <a:gd name="connsiteX102" fmla="*/ 1199066 w 1858306"/>
                  <a:gd name="connsiteY102" fmla="*/ 491654 h 2184766"/>
                  <a:gd name="connsiteX103" fmla="*/ 1159012 w 1858306"/>
                  <a:gd name="connsiteY103" fmla="*/ 510865 h 2184766"/>
                  <a:gd name="connsiteX104" fmla="*/ 1200134 w 1858306"/>
                  <a:gd name="connsiteY104" fmla="*/ 560022 h 2184766"/>
                  <a:gd name="connsiteX105" fmla="*/ 1703320 w 1858306"/>
                  <a:gd name="connsiteY105" fmla="*/ 560085 h 2184766"/>
                  <a:gd name="connsiteX106" fmla="*/ 1746011 w 1858306"/>
                  <a:gd name="connsiteY106" fmla="*/ 523547 h 2184766"/>
                  <a:gd name="connsiteX107" fmla="*/ 1702253 w 1858306"/>
                  <a:gd name="connsiteY107" fmla="*/ 491842 h 2184766"/>
                  <a:gd name="connsiteX108" fmla="*/ 1450691 w 1858306"/>
                  <a:gd name="connsiteY108" fmla="*/ 491780 h 218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858306" h="2184766">
                    <a:moveTo>
                      <a:pt x="1543230" y="1515543"/>
                    </a:moveTo>
                    <a:cubicBezTo>
                      <a:pt x="1543230" y="1689760"/>
                      <a:pt x="1543230" y="1863976"/>
                      <a:pt x="1543230" y="2038192"/>
                    </a:cubicBezTo>
                    <a:cubicBezTo>
                      <a:pt x="1543230" y="2077242"/>
                      <a:pt x="1535194" y="2113906"/>
                      <a:pt x="1507884" y="2143664"/>
                    </a:cubicBezTo>
                    <a:cubicBezTo>
                      <a:pt x="1480700" y="2173296"/>
                      <a:pt x="1446045" y="2187799"/>
                      <a:pt x="1406368" y="2187861"/>
                    </a:cubicBezTo>
                    <a:cubicBezTo>
                      <a:pt x="1130008" y="2188175"/>
                      <a:pt x="853584" y="2188489"/>
                      <a:pt x="577224" y="2187736"/>
                    </a:cubicBezTo>
                    <a:cubicBezTo>
                      <a:pt x="498497" y="2187485"/>
                      <a:pt x="443941" y="2130103"/>
                      <a:pt x="443752" y="2051313"/>
                    </a:cubicBezTo>
                    <a:cubicBezTo>
                      <a:pt x="443564" y="1961035"/>
                      <a:pt x="444003" y="1870756"/>
                      <a:pt x="443439" y="1780478"/>
                    </a:cubicBezTo>
                    <a:cubicBezTo>
                      <a:pt x="443313" y="1762460"/>
                      <a:pt x="447017" y="1750845"/>
                      <a:pt x="467923" y="1752854"/>
                    </a:cubicBezTo>
                    <a:cubicBezTo>
                      <a:pt x="469493" y="1752980"/>
                      <a:pt x="471187" y="1752917"/>
                      <a:pt x="472632" y="1752415"/>
                    </a:cubicBezTo>
                    <a:cubicBezTo>
                      <a:pt x="527376" y="1732513"/>
                      <a:pt x="575780" y="1749590"/>
                      <a:pt x="623619" y="1776209"/>
                    </a:cubicBezTo>
                    <a:cubicBezTo>
                      <a:pt x="654633" y="1793473"/>
                      <a:pt x="686902" y="1809106"/>
                      <a:pt x="722059" y="1817016"/>
                    </a:cubicBezTo>
                    <a:cubicBezTo>
                      <a:pt x="767763" y="1827312"/>
                      <a:pt x="791934" y="1803707"/>
                      <a:pt x="780131" y="1758944"/>
                    </a:cubicBezTo>
                    <a:cubicBezTo>
                      <a:pt x="771405" y="1725984"/>
                      <a:pt x="765378" y="1692585"/>
                      <a:pt x="759413" y="1659123"/>
                    </a:cubicBezTo>
                    <a:cubicBezTo>
                      <a:pt x="755395" y="1636710"/>
                      <a:pt x="759853" y="1619194"/>
                      <a:pt x="776490" y="1601176"/>
                    </a:cubicBezTo>
                    <a:cubicBezTo>
                      <a:pt x="906257" y="1460610"/>
                      <a:pt x="944868" y="1295372"/>
                      <a:pt x="887737" y="1114815"/>
                    </a:cubicBezTo>
                    <a:cubicBezTo>
                      <a:pt x="829414" y="930616"/>
                      <a:pt x="698202" y="820185"/>
                      <a:pt x="508102" y="781387"/>
                    </a:cubicBezTo>
                    <a:cubicBezTo>
                      <a:pt x="502703" y="780257"/>
                      <a:pt x="497304" y="778813"/>
                      <a:pt x="491842" y="777997"/>
                    </a:cubicBezTo>
                    <a:cubicBezTo>
                      <a:pt x="443815" y="771091"/>
                      <a:pt x="443815" y="771091"/>
                      <a:pt x="443815" y="721619"/>
                    </a:cubicBezTo>
                    <a:cubicBezTo>
                      <a:pt x="443815" y="526811"/>
                      <a:pt x="443752" y="332003"/>
                      <a:pt x="443878" y="137195"/>
                    </a:cubicBezTo>
                    <a:cubicBezTo>
                      <a:pt x="443941" y="57212"/>
                      <a:pt x="498999" y="1337"/>
                      <a:pt x="579359" y="333"/>
                    </a:cubicBezTo>
                    <a:cubicBezTo>
                      <a:pt x="637933" y="-421"/>
                      <a:pt x="696570" y="396"/>
                      <a:pt x="755145" y="19"/>
                    </a:cubicBezTo>
                    <a:cubicBezTo>
                      <a:pt x="768830" y="-44"/>
                      <a:pt x="779566" y="1839"/>
                      <a:pt x="785530" y="16593"/>
                    </a:cubicBezTo>
                    <a:cubicBezTo>
                      <a:pt x="790867" y="29714"/>
                      <a:pt x="802921" y="34234"/>
                      <a:pt x="816606" y="34234"/>
                    </a:cubicBezTo>
                    <a:cubicBezTo>
                      <a:pt x="933818" y="34234"/>
                      <a:pt x="1051030" y="34234"/>
                      <a:pt x="1168178" y="34234"/>
                    </a:cubicBezTo>
                    <a:cubicBezTo>
                      <a:pt x="1181927" y="34234"/>
                      <a:pt x="1193667" y="29212"/>
                      <a:pt x="1199255" y="16405"/>
                    </a:cubicBezTo>
                    <a:cubicBezTo>
                      <a:pt x="1205470" y="2091"/>
                      <a:pt x="1216143" y="-44"/>
                      <a:pt x="1229829" y="19"/>
                    </a:cubicBezTo>
                    <a:cubicBezTo>
                      <a:pt x="1286080" y="458"/>
                      <a:pt x="1342269" y="19"/>
                      <a:pt x="1398521" y="207"/>
                    </a:cubicBezTo>
                    <a:cubicBezTo>
                      <a:pt x="1485157" y="458"/>
                      <a:pt x="1540907" y="54952"/>
                      <a:pt x="1543167" y="142091"/>
                    </a:cubicBezTo>
                    <a:cubicBezTo>
                      <a:pt x="1543983" y="172163"/>
                      <a:pt x="1542476" y="202298"/>
                      <a:pt x="1543607" y="232370"/>
                    </a:cubicBezTo>
                    <a:cubicBezTo>
                      <a:pt x="1544360" y="253276"/>
                      <a:pt x="1535822" y="259617"/>
                      <a:pt x="1515544" y="259491"/>
                    </a:cubicBezTo>
                    <a:cubicBezTo>
                      <a:pt x="1407875" y="258801"/>
                      <a:pt x="1300143" y="258926"/>
                      <a:pt x="1192474" y="259240"/>
                    </a:cubicBezTo>
                    <a:cubicBezTo>
                      <a:pt x="1077712" y="259554"/>
                      <a:pt x="987495" y="332631"/>
                      <a:pt x="963137" y="444945"/>
                    </a:cubicBezTo>
                    <a:cubicBezTo>
                      <a:pt x="960813" y="455681"/>
                      <a:pt x="959872" y="466856"/>
                      <a:pt x="959872" y="477905"/>
                    </a:cubicBezTo>
                    <a:cubicBezTo>
                      <a:pt x="959558" y="561843"/>
                      <a:pt x="958868" y="645781"/>
                      <a:pt x="959809" y="729718"/>
                    </a:cubicBezTo>
                    <a:cubicBezTo>
                      <a:pt x="960939" y="830293"/>
                      <a:pt x="1028365" y="916930"/>
                      <a:pt x="1127308" y="943863"/>
                    </a:cubicBezTo>
                    <a:cubicBezTo>
                      <a:pt x="1149218" y="949827"/>
                      <a:pt x="1157254" y="959119"/>
                      <a:pt x="1155433" y="981343"/>
                    </a:cubicBezTo>
                    <a:cubicBezTo>
                      <a:pt x="1153676" y="1002563"/>
                      <a:pt x="1155433" y="1024097"/>
                      <a:pt x="1154931" y="1045442"/>
                    </a:cubicBezTo>
                    <a:cubicBezTo>
                      <a:pt x="1154555" y="1062393"/>
                      <a:pt x="1158322" y="1077146"/>
                      <a:pt x="1173954" y="1086061"/>
                    </a:cubicBezTo>
                    <a:cubicBezTo>
                      <a:pt x="1190277" y="1095415"/>
                      <a:pt x="1204403" y="1088510"/>
                      <a:pt x="1217838" y="1078779"/>
                    </a:cubicBezTo>
                    <a:cubicBezTo>
                      <a:pt x="1267748" y="1042429"/>
                      <a:pt x="1317973" y="1006392"/>
                      <a:pt x="1367318" y="969352"/>
                    </a:cubicBezTo>
                    <a:cubicBezTo>
                      <a:pt x="1381444" y="958742"/>
                      <a:pt x="1395758" y="954096"/>
                      <a:pt x="1413274" y="954536"/>
                    </a:cubicBezTo>
                    <a:cubicBezTo>
                      <a:pt x="1446485" y="955477"/>
                      <a:pt x="1479884" y="956294"/>
                      <a:pt x="1513032" y="954347"/>
                    </a:cubicBezTo>
                    <a:cubicBezTo>
                      <a:pt x="1537893" y="952903"/>
                      <a:pt x="1543858" y="962823"/>
                      <a:pt x="1543795" y="985863"/>
                    </a:cubicBezTo>
                    <a:cubicBezTo>
                      <a:pt x="1542916" y="1162340"/>
                      <a:pt x="1543230" y="1338942"/>
                      <a:pt x="1543230" y="1515543"/>
                    </a:cubicBezTo>
                    <a:close/>
                    <a:moveTo>
                      <a:pt x="992581" y="2019798"/>
                    </a:moveTo>
                    <a:cubicBezTo>
                      <a:pt x="1048769" y="2019798"/>
                      <a:pt x="1104958" y="2019798"/>
                      <a:pt x="1161147" y="2019798"/>
                    </a:cubicBezTo>
                    <a:cubicBezTo>
                      <a:pt x="1172259" y="2019798"/>
                      <a:pt x="1183497" y="2020111"/>
                      <a:pt x="1192161" y="2011197"/>
                    </a:cubicBezTo>
                    <a:cubicBezTo>
                      <a:pt x="1201578" y="2001466"/>
                      <a:pt x="1206788" y="1990542"/>
                      <a:pt x="1201828" y="1976793"/>
                    </a:cubicBezTo>
                    <a:cubicBezTo>
                      <a:pt x="1194797" y="1957268"/>
                      <a:pt x="1178726" y="1951367"/>
                      <a:pt x="1160330" y="1951304"/>
                    </a:cubicBezTo>
                    <a:cubicBezTo>
                      <a:pt x="1047953" y="1950990"/>
                      <a:pt x="935576" y="1950864"/>
                      <a:pt x="823199" y="1951367"/>
                    </a:cubicBezTo>
                    <a:cubicBezTo>
                      <a:pt x="797772" y="1951492"/>
                      <a:pt x="779880" y="1967627"/>
                      <a:pt x="780194" y="1986712"/>
                    </a:cubicBezTo>
                    <a:cubicBezTo>
                      <a:pt x="780570" y="2006990"/>
                      <a:pt x="796705" y="2019546"/>
                      <a:pt x="823952" y="2019672"/>
                    </a:cubicBezTo>
                    <a:cubicBezTo>
                      <a:pt x="880203" y="2019986"/>
                      <a:pt x="936392" y="2019798"/>
                      <a:pt x="992581" y="2019798"/>
                    </a:cubicBezTo>
                    <a:close/>
                    <a:moveTo>
                      <a:pt x="845548" y="1264170"/>
                    </a:moveTo>
                    <a:cubicBezTo>
                      <a:pt x="841719" y="1379121"/>
                      <a:pt x="802418" y="1479570"/>
                      <a:pt x="720992" y="1561185"/>
                    </a:cubicBezTo>
                    <a:cubicBezTo>
                      <a:pt x="692426" y="1589750"/>
                      <a:pt x="685897" y="1621454"/>
                      <a:pt x="690669" y="1658432"/>
                    </a:cubicBezTo>
                    <a:cubicBezTo>
                      <a:pt x="693180" y="1678020"/>
                      <a:pt x="695691" y="1697670"/>
                      <a:pt x="699835" y="1716944"/>
                    </a:cubicBezTo>
                    <a:cubicBezTo>
                      <a:pt x="703916" y="1736029"/>
                      <a:pt x="696319" y="1735966"/>
                      <a:pt x="682758" y="1729437"/>
                    </a:cubicBezTo>
                    <a:cubicBezTo>
                      <a:pt x="656390" y="1716755"/>
                      <a:pt x="629521" y="1704953"/>
                      <a:pt x="603655" y="1691329"/>
                    </a:cubicBezTo>
                    <a:cubicBezTo>
                      <a:pt x="565735" y="1671365"/>
                      <a:pt x="527188" y="1673123"/>
                      <a:pt x="486192" y="1680280"/>
                    </a:cubicBezTo>
                    <a:cubicBezTo>
                      <a:pt x="264074" y="1718764"/>
                      <a:pt x="45848" y="1563759"/>
                      <a:pt x="6799" y="1341390"/>
                    </a:cubicBezTo>
                    <a:cubicBezTo>
                      <a:pt x="-34510" y="1105774"/>
                      <a:pt x="116352" y="890123"/>
                      <a:pt x="352470" y="847306"/>
                    </a:cubicBezTo>
                    <a:cubicBezTo>
                      <a:pt x="590533" y="804113"/>
                      <a:pt x="824517" y="985612"/>
                      <a:pt x="841468" y="1226564"/>
                    </a:cubicBezTo>
                    <a:cubicBezTo>
                      <a:pt x="842346" y="1239120"/>
                      <a:pt x="844167" y="1251614"/>
                      <a:pt x="845548" y="1264170"/>
                    </a:cubicBezTo>
                    <a:close/>
                    <a:moveTo>
                      <a:pt x="652875" y="1195739"/>
                    </a:moveTo>
                    <a:cubicBezTo>
                      <a:pt x="651054" y="1167613"/>
                      <a:pt x="634229" y="1138608"/>
                      <a:pt x="599386" y="1122788"/>
                    </a:cubicBezTo>
                    <a:cubicBezTo>
                      <a:pt x="563977" y="1106653"/>
                      <a:pt x="529825" y="1111236"/>
                      <a:pt x="499501" y="1135972"/>
                    </a:cubicBezTo>
                    <a:cubicBezTo>
                      <a:pt x="487887" y="1145452"/>
                      <a:pt x="478031" y="1157003"/>
                      <a:pt x="467044" y="1167174"/>
                    </a:cubicBezTo>
                    <a:cubicBezTo>
                      <a:pt x="446515" y="1186133"/>
                      <a:pt x="427053" y="1186385"/>
                      <a:pt x="406084" y="1167739"/>
                    </a:cubicBezTo>
                    <a:cubicBezTo>
                      <a:pt x="396039" y="1158824"/>
                      <a:pt x="387125" y="1148653"/>
                      <a:pt x="377079" y="1139739"/>
                    </a:cubicBezTo>
                    <a:cubicBezTo>
                      <a:pt x="337591" y="1104770"/>
                      <a:pt x="283097" y="1106402"/>
                      <a:pt x="246809" y="1143380"/>
                    </a:cubicBezTo>
                    <a:cubicBezTo>
                      <a:pt x="210773" y="1180169"/>
                      <a:pt x="210146" y="1235165"/>
                      <a:pt x="247500" y="1273147"/>
                    </a:cubicBezTo>
                    <a:cubicBezTo>
                      <a:pt x="306200" y="1332915"/>
                      <a:pt x="366281" y="1391363"/>
                      <a:pt x="425358" y="1450754"/>
                    </a:cubicBezTo>
                    <a:cubicBezTo>
                      <a:pt x="434524" y="1459983"/>
                      <a:pt x="440425" y="1461238"/>
                      <a:pt x="450219" y="1451193"/>
                    </a:cubicBezTo>
                    <a:cubicBezTo>
                      <a:pt x="509107" y="1390484"/>
                      <a:pt x="568811" y="1330592"/>
                      <a:pt x="627825" y="1270008"/>
                    </a:cubicBezTo>
                    <a:cubicBezTo>
                      <a:pt x="645090" y="1252304"/>
                      <a:pt x="653565" y="1230457"/>
                      <a:pt x="652875" y="1195739"/>
                    </a:cubicBezTo>
                    <a:close/>
                    <a:moveTo>
                      <a:pt x="1444916" y="327545"/>
                    </a:moveTo>
                    <a:cubicBezTo>
                      <a:pt x="1524835" y="327545"/>
                      <a:pt x="1604943" y="330559"/>
                      <a:pt x="1684674" y="326667"/>
                    </a:cubicBezTo>
                    <a:cubicBezTo>
                      <a:pt x="1769617" y="322523"/>
                      <a:pt x="1856192" y="382918"/>
                      <a:pt x="1860146" y="484748"/>
                    </a:cubicBezTo>
                    <a:cubicBezTo>
                      <a:pt x="1863411" y="568498"/>
                      <a:pt x="1866738" y="652624"/>
                      <a:pt x="1858326" y="736122"/>
                    </a:cubicBezTo>
                    <a:cubicBezTo>
                      <a:pt x="1849097" y="827656"/>
                      <a:pt x="1782236" y="885100"/>
                      <a:pt x="1689634" y="885665"/>
                    </a:cubicBezTo>
                    <a:cubicBezTo>
                      <a:pt x="1590692" y="886230"/>
                      <a:pt x="1491750" y="886105"/>
                      <a:pt x="1392807" y="885540"/>
                    </a:cubicBezTo>
                    <a:cubicBezTo>
                      <a:pt x="1374538" y="885414"/>
                      <a:pt x="1359157" y="889683"/>
                      <a:pt x="1344467" y="900921"/>
                    </a:cubicBezTo>
                    <a:cubicBezTo>
                      <a:pt x="1311757" y="925908"/>
                      <a:pt x="1278233" y="949764"/>
                      <a:pt x="1244896" y="973935"/>
                    </a:cubicBezTo>
                    <a:cubicBezTo>
                      <a:pt x="1239937" y="977513"/>
                      <a:pt x="1235228" y="983791"/>
                      <a:pt x="1228322" y="980841"/>
                    </a:cubicBezTo>
                    <a:cubicBezTo>
                      <a:pt x="1220977" y="977702"/>
                      <a:pt x="1223551" y="969917"/>
                      <a:pt x="1223362" y="964016"/>
                    </a:cubicBezTo>
                    <a:cubicBezTo>
                      <a:pt x="1222923" y="950580"/>
                      <a:pt x="1223551" y="937083"/>
                      <a:pt x="1222985" y="923648"/>
                    </a:cubicBezTo>
                    <a:cubicBezTo>
                      <a:pt x="1221981" y="899100"/>
                      <a:pt x="1211685" y="888553"/>
                      <a:pt x="1186824" y="885791"/>
                    </a:cubicBezTo>
                    <a:cubicBezTo>
                      <a:pt x="1104268" y="876562"/>
                      <a:pt x="1050025" y="833243"/>
                      <a:pt x="1031567" y="761234"/>
                    </a:cubicBezTo>
                    <a:cubicBezTo>
                      <a:pt x="1028680" y="749871"/>
                      <a:pt x="1027173" y="737880"/>
                      <a:pt x="1026859" y="726077"/>
                    </a:cubicBezTo>
                    <a:cubicBezTo>
                      <a:pt x="1024536" y="638310"/>
                      <a:pt x="1020518" y="550354"/>
                      <a:pt x="1029244" y="462838"/>
                    </a:cubicBezTo>
                    <a:cubicBezTo>
                      <a:pt x="1036527" y="389761"/>
                      <a:pt x="1107470" y="328299"/>
                      <a:pt x="1181300" y="327734"/>
                    </a:cubicBezTo>
                    <a:cubicBezTo>
                      <a:pt x="1269193" y="327043"/>
                      <a:pt x="1357086" y="327608"/>
                      <a:pt x="1444916" y="327545"/>
                    </a:cubicBezTo>
                    <a:close/>
                    <a:moveTo>
                      <a:pt x="1450189" y="731790"/>
                    </a:moveTo>
                    <a:cubicBezTo>
                      <a:pt x="1535633" y="731790"/>
                      <a:pt x="1621141" y="731916"/>
                      <a:pt x="1706585" y="731664"/>
                    </a:cubicBezTo>
                    <a:cubicBezTo>
                      <a:pt x="1731571" y="731602"/>
                      <a:pt x="1745069" y="720301"/>
                      <a:pt x="1746011" y="700274"/>
                    </a:cubicBezTo>
                    <a:cubicBezTo>
                      <a:pt x="1747079" y="676857"/>
                      <a:pt x="1731571" y="663422"/>
                      <a:pt x="1701374" y="663359"/>
                    </a:cubicBezTo>
                    <a:cubicBezTo>
                      <a:pt x="1534378" y="663171"/>
                      <a:pt x="1367444" y="663171"/>
                      <a:pt x="1200447" y="663359"/>
                    </a:cubicBezTo>
                    <a:cubicBezTo>
                      <a:pt x="1172761" y="663422"/>
                      <a:pt x="1155496" y="677422"/>
                      <a:pt x="1155246" y="698453"/>
                    </a:cubicBezTo>
                    <a:cubicBezTo>
                      <a:pt x="1154994" y="719108"/>
                      <a:pt x="1171883" y="731664"/>
                      <a:pt x="1200887" y="731727"/>
                    </a:cubicBezTo>
                    <a:cubicBezTo>
                      <a:pt x="1284009" y="731916"/>
                      <a:pt x="1367130" y="731853"/>
                      <a:pt x="1450189" y="731790"/>
                    </a:cubicBezTo>
                    <a:close/>
                    <a:moveTo>
                      <a:pt x="1450691" y="491780"/>
                    </a:moveTo>
                    <a:cubicBezTo>
                      <a:pt x="1366816" y="491780"/>
                      <a:pt x="1282941" y="491905"/>
                      <a:pt x="1199066" y="491654"/>
                    </a:cubicBezTo>
                    <a:cubicBezTo>
                      <a:pt x="1182241" y="491591"/>
                      <a:pt x="1167488" y="494291"/>
                      <a:pt x="1159012" y="510865"/>
                    </a:cubicBezTo>
                    <a:cubicBezTo>
                      <a:pt x="1146456" y="535412"/>
                      <a:pt x="1165918" y="559897"/>
                      <a:pt x="1200134" y="560022"/>
                    </a:cubicBezTo>
                    <a:cubicBezTo>
                      <a:pt x="1367884" y="560462"/>
                      <a:pt x="1535570" y="560399"/>
                      <a:pt x="1703320" y="560085"/>
                    </a:cubicBezTo>
                    <a:cubicBezTo>
                      <a:pt x="1731760" y="560022"/>
                      <a:pt x="1746827" y="546148"/>
                      <a:pt x="1746011" y="523547"/>
                    </a:cubicBezTo>
                    <a:cubicBezTo>
                      <a:pt x="1745258" y="502013"/>
                      <a:pt x="1731509" y="491905"/>
                      <a:pt x="1702253" y="491842"/>
                    </a:cubicBezTo>
                    <a:cubicBezTo>
                      <a:pt x="1618379" y="491717"/>
                      <a:pt x="1534566" y="491780"/>
                      <a:pt x="1450691" y="491780"/>
                    </a:cubicBezTo>
                    <a:close/>
                  </a:path>
                </a:pathLst>
              </a:custGeom>
              <a:solidFill>
                <a:schemeClr val="tx2">
                  <a:lumMod val="60000"/>
                  <a:lumOff val="40000"/>
                </a:schemeClr>
              </a:solidFill>
              <a:ln w="6278" cap="flat">
                <a:noFill/>
                <a:prstDash val="solid"/>
                <a:miter/>
              </a:ln>
            </p:spPr>
            <p:txBody>
              <a:bodyPr rtlCol="0" anchor="ctr"/>
              <a:lstStyle/>
              <a:p>
                <a:endParaRPr lang="en-US"/>
              </a:p>
            </p:txBody>
          </p:sp>
        </p:grpSp>
        <p:grpSp>
          <p:nvGrpSpPr>
            <p:cNvPr id="13" name="Group 12">
              <a:extLst>
                <a:ext uri="{FF2B5EF4-FFF2-40B4-BE49-F238E27FC236}">
                  <a16:creationId xmlns:a16="http://schemas.microsoft.com/office/drawing/2014/main" id="{AB064AD8-808B-4E6B-BB8D-A01A9BA791CE}"/>
                </a:ext>
              </a:extLst>
            </p:cNvPr>
            <p:cNvGrpSpPr/>
            <p:nvPr/>
          </p:nvGrpSpPr>
          <p:grpSpPr>
            <a:xfrm>
              <a:off x="4333084" y="2504155"/>
              <a:ext cx="753411" cy="769964"/>
              <a:chOff x="4618905" y="2277423"/>
              <a:chExt cx="753411" cy="769964"/>
            </a:xfrm>
          </p:grpSpPr>
          <p:sp>
            <p:nvSpPr>
              <p:cNvPr id="53" name="Rectangle 32">
                <a:extLst>
                  <a:ext uri="{FF2B5EF4-FFF2-40B4-BE49-F238E27FC236}">
                    <a16:creationId xmlns:a16="http://schemas.microsoft.com/office/drawing/2014/main" id="{FAD130E1-CED6-4390-86EA-0BC2D080CCF9}"/>
                  </a:ext>
                </a:extLst>
              </p:cNvPr>
              <p:cNvSpPr>
                <a:spLocks noChangeArrowheads="1"/>
              </p:cNvSpPr>
              <p:nvPr/>
            </p:nvSpPr>
            <p:spPr bwMode="auto">
              <a:xfrm>
                <a:off x="4618905" y="2801166"/>
                <a:ext cx="753411" cy="2462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algn="ctr" defTabSz="914172" eaLnBrk="0" fontAlgn="base" hangingPunct="0">
                  <a:spcBef>
                    <a:spcPct val="0"/>
                  </a:spcBef>
                  <a:spcAft>
                    <a:spcPct val="0"/>
                  </a:spcAft>
                </a:pPr>
                <a:r>
                  <a:rPr lang="en-US" altLang="en-US" sz="1600" spc="-75" dirty="0">
                    <a:solidFill>
                      <a:schemeClr val="tx2">
                        <a:lumMod val="60000"/>
                        <a:lumOff val="40000"/>
                      </a:schemeClr>
                    </a:solidFill>
                    <a:latin typeface="Montserrat" panose="00000500000000000000" pitchFamily="50" charset="0"/>
                  </a:rPr>
                  <a:t>Success</a:t>
                </a:r>
              </a:p>
            </p:txBody>
          </p:sp>
          <p:sp>
            <p:nvSpPr>
              <p:cNvPr id="87" name="Freeform: Shape 86">
                <a:extLst>
                  <a:ext uri="{FF2B5EF4-FFF2-40B4-BE49-F238E27FC236}">
                    <a16:creationId xmlns:a16="http://schemas.microsoft.com/office/drawing/2014/main" id="{83C8C2DB-133B-4D88-9411-A1100F6F8FC9}"/>
                  </a:ext>
                </a:extLst>
              </p:cNvPr>
              <p:cNvSpPr/>
              <p:nvPr/>
            </p:nvSpPr>
            <p:spPr>
              <a:xfrm>
                <a:off x="4785239" y="2277423"/>
                <a:ext cx="420742" cy="439694"/>
              </a:xfrm>
              <a:custGeom>
                <a:avLst/>
                <a:gdLst>
                  <a:gd name="connsiteX0" fmla="*/ 1196426 w 2090595"/>
                  <a:gd name="connsiteY0" fmla="*/ 1929200 h 2184766"/>
                  <a:gd name="connsiteX1" fmla="*/ 1196238 w 2090595"/>
                  <a:gd name="connsiteY1" fmla="*/ 1726795 h 2184766"/>
                  <a:gd name="connsiteX2" fmla="*/ 1334418 w 2090595"/>
                  <a:gd name="connsiteY2" fmla="*/ 1484273 h 2184766"/>
                  <a:gd name="connsiteX3" fmla="*/ 1614482 w 2090595"/>
                  <a:gd name="connsiteY3" fmla="*/ 1319914 h 2184766"/>
                  <a:gd name="connsiteX4" fmla="*/ 1661254 w 2090595"/>
                  <a:gd name="connsiteY4" fmla="*/ 1292730 h 2184766"/>
                  <a:gd name="connsiteX5" fmla="*/ 1767228 w 2090595"/>
                  <a:gd name="connsiteY5" fmla="*/ 1322927 h 2184766"/>
                  <a:gd name="connsiteX6" fmla="*/ 1739290 w 2090595"/>
                  <a:gd name="connsiteY6" fmla="*/ 1427457 h 2184766"/>
                  <a:gd name="connsiteX7" fmla="*/ 1541971 w 2090595"/>
                  <a:gd name="connsiteY7" fmla="*/ 1542157 h 2184766"/>
                  <a:gd name="connsiteX8" fmla="*/ 1519872 w 2090595"/>
                  <a:gd name="connsiteY8" fmla="*/ 1555592 h 2184766"/>
                  <a:gd name="connsiteX9" fmla="*/ 1510329 w 2090595"/>
                  <a:gd name="connsiteY9" fmla="*/ 1601296 h 2184766"/>
                  <a:gd name="connsiteX10" fmla="*/ 1554778 w 2090595"/>
                  <a:gd name="connsiteY10" fmla="*/ 1614104 h 2184766"/>
                  <a:gd name="connsiteX11" fmla="*/ 1706016 w 2090595"/>
                  <a:gd name="connsiteY11" fmla="*/ 1527780 h 2184766"/>
                  <a:gd name="connsiteX12" fmla="*/ 1775075 w 2090595"/>
                  <a:gd name="connsiteY12" fmla="*/ 1487350 h 2184766"/>
                  <a:gd name="connsiteX13" fmla="*/ 1841497 w 2090595"/>
                  <a:gd name="connsiteY13" fmla="*/ 1327385 h 2184766"/>
                  <a:gd name="connsiteX14" fmla="*/ 1841999 w 2090595"/>
                  <a:gd name="connsiteY14" fmla="*/ 1288272 h 2184766"/>
                  <a:gd name="connsiteX15" fmla="*/ 1936045 w 2090595"/>
                  <a:gd name="connsiteY15" fmla="*/ 938647 h 2184766"/>
                  <a:gd name="connsiteX16" fmla="*/ 1959085 w 2090595"/>
                  <a:gd name="connsiteY16" fmla="*/ 887795 h 2184766"/>
                  <a:gd name="connsiteX17" fmla="*/ 2053319 w 2090595"/>
                  <a:gd name="connsiteY17" fmla="*/ 868144 h 2184766"/>
                  <a:gd name="connsiteX18" fmla="*/ 2091113 w 2090595"/>
                  <a:gd name="connsiteY18" fmla="*/ 964826 h 2184766"/>
                  <a:gd name="connsiteX19" fmla="*/ 2011507 w 2090595"/>
                  <a:gd name="connsiteY19" fmla="*/ 1262344 h 2184766"/>
                  <a:gd name="connsiteX20" fmla="*/ 1933471 w 2090595"/>
                  <a:gd name="connsiteY20" fmla="*/ 1555404 h 2184766"/>
                  <a:gd name="connsiteX21" fmla="*/ 1885129 w 2090595"/>
                  <a:gd name="connsiteY21" fmla="*/ 1634193 h 2184766"/>
                  <a:gd name="connsiteX22" fmla="*/ 1653971 w 2090595"/>
                  <a:gd name="connsiteY22" fmla="*/ 1838168 h 2184766"/>
                  <a:gd name="connsiteX23" fmla="*/ 1576186 w 2090595"/>
                  <a:gd name="connsiteY23" fmla="*/ 2009559 h 2184766"/>
                  <a:gd name="connsiteX24" fmla="*/ 1576500 w 2090595"/>
                  <a:gd name="connsiteY24" fmla="*/ 2164878 h 2184766"/>
                  <a:gd name="connsiteX25" fmla="*/ 1553271 w 2090595"/>
                  <a:gd name="connsiteY25" fmla="*/ 2188107 h 2184766"/>
                  <a:gd name="connsiteX26" fmla="*/ 1219027 w 2090595"/>
                  <a:gd name="connsiteY26" fmla="*/ 2188107 h 2184766"/>
                  <a:gd name="connsiteX27" fmla="*/ 1196112 w 2090595"/>
                  <a:gd name="connsiteY27" fmla="*/ 2164564 h 2184766"/>
                  <a:gd name="connsiteX28" fmla="*/ 1196426 w 2090595"/>
                  <a:gd name="connsiteY28" fmla="*/ 1929200 h 2184766"/>
                  <a:gd name="connsiteX29" fmla="*/ 898218 w 2090595"/>
                  <a:gd name="connsiteY29" fmla="*/ 1716562 h 2184766"/>
                  <a:gd name="connsiteX30" fmla="*/ 780944 w 2090595"/>
                  <a:gd name="connsiteY30" fmla="*/ 1498336 h 2184766"/>
                  <a:gd name="connsiteX31" fmla="*/ 434520 w 2090595"/>
                  <a:gd name="connsiteY31" fmla="*/ 1293734 h 2184766"/>
                  <a:gd name="connsiteX32" fmla="*/ 320197 w 2090595"/>
                  <a:gd name="connsiteY32" fmla="*/ 1345151 h 2184766"/>
                  <a:gd name="connsiteX33" fmla="*/ 361632 w 2090595"/>
                  <a:gd name="connsiteY33" fmla="*/ 1431538 h 2184766"/>
                  <a:gd name="connsiteX34" fmla="*/ 565355 w 2090595"/>
                  <a:gd name="connsiteY34" fmla="*/ 1549377 h 2184766"/>
                  <a:gd name="connsiteX35" fmla="*/ 585633 w 2090595"/>
                  <a:gd name="connsiteY35" fmla="*/ 1599853 h 2184766"/>
                  <a:gd name="connsiteX36" fmla="*/ 531077 w 2090595"/>
                  <a:gd name="connsiteY36" fmla="*/ 1609521 h 2184766"/>
                  <a:gd name="connsiteX37" fmla="*/ 319318 w 2090595"/>
                  <a:gd name="connsiteY37" fmla="*/ 1486910 h 2184766"/>
                  <a:gd name="connsiteX38" fmla="*/ 253272 w 2090595"/>
                  <a:gd name="connsiteY38" fmla="*/ 1326882 h 2184766"/>
                  <a:gd name="connsiteX39" fmla="*/ 252519 w 2090595"/>
                  <a:gd name="connsiteY39" fmla="*/ 1287770 h 2184766"/>
                  <a:gd name="connsiteX40" fmla="*/ 186662 w 2090595"/>
                  <a:gd name="connsiteY40" fmla="*/ 1042549 h 2184766"/>
                  <a:gd name="connsiteX41" fmla="*/ 152447 w 2090595"/>
                  <a:gd name="connsiteY41" fmla="*/ 917866 h 2184766"/>
                  <a:gd name="connsiteX42" fmla="*/ 74724 w 2090595"/>
                  <a:gd name="connsiteY42" fmla="*/ 859983 h 2184766"/>
                  <a:gd name="connsiteX43" fmla="*/ 4473 w 2090595"/>
                  <a:gd name="connsiteY43" fmla="*/ 909956 h 2184766"/>
                  <a:gd name="connsiteX44" fmla="*/ 5414 w 2090595"/>
                  <a:gd name="connsiteY44" fmla="*/ 972423 h 2184766"/>
                  <a:gd name="connsiteX45" fmla="*/ 158285 w 2090595"/>
                  <a:gd name="connsiteY45" fmla="*/ 1544857 h 2184766"/>
                  <a:gd name="connsiteX46" fmla="*/ 222384 w 2090595"/>
                  <a:gd name="connsiteY46" fmla="*/ 1645745 h 2184766"/>
                  <a:gd name="connsiteX47" fmla="*/ 454673 w 2090595"/>
                  <a:gd name="connsiteY47" fmla="*/ 1851980 h 2184766"/>
                  <a:gd name="connsiteX48" fmla="*/ 515319 w 2090595"/>
                  <a:gd name="connsiteY48" fmla="*/ 1970572 h 2184766"/>
                  <a:gd name="connsiteX49" fmla="*/ 518144 w 2090595"/>
                  <a:gd name="connsiteY49" fmla="*/ 2161049 h 2184766"/>
                  <a:gd name="connsiteX50" fmla="*/ 544637 w 2090595"/>
                  <a:gd name="connsiteY50" fmla="*/ 2188421 h 2184766"/>
                  <a:gd name="connsiteX51" fmla="*/ 871850 w 2090595"/>
                  <a:gd name="connsiteY51" fmla="*/ 2188421 h 2184766"/>
                  <a:gd name="connsiteX52" fmla="*/ 898909 w 2090595"/>
                  <a:gd name="connsiteY52" fmla="*/ 2161614 h 2184766"/>
                  <a:gd name="connsiteX53" fmla="*/ 898469 w 2090595"/>
                  <a:gd name="connsiteY53" fmla="*/ 1928572 h 2184766"/>
                  <a:gd name="connsiteX54" fmla="*/ 898218 w 2090595"/>
                  <a:gd name="connsiteY54" fmla="*/ 1716562 h 2184766"/>
                  <a:gd name="connsiteX55" fmla="*/ 729526 w 2090595"/>
                  <a:gd name="connsiteY55" fmla="*/ 602645 h 2184766"/>
                  <a:gd name="connsiteX56" fmla="*/ 583624 w 2090595"/>
                  <a:gd name="connsiteY56" fmla="*/ 602645 h 2184766"/>
                  <a:gd name="connsiteX57" fmla="*/ 545705 w 2090595"/>
                  <a:gd name="connsiteY57" fmla="*/ 628762 h 2184766"/>
                  <a:gd name="connsiteX58" fmla="*/ 558324 w 2090595"/>
                  <a:gd name="connsiteY58" fmla="*/ 673148 h 2184766"/>
                  <a:gd name="connsiteX59" fmla="*/ 575274 w 2090595"/>
                  <a:gd name="connsiteY59" fmla="*/ 685829 h 2184766"/>
                  <a:gd name="connsiteX60" fmla="*/ 790361 w 2090595"/>
                  <a:gd name="connsiteY60" fmla="*/ 842153 h 2184766"/>
                  <a:gd name="connsiteX61" fmla="*/ 810137 w 2090595"/>
                  <a:gd name="connsiteY61" fmla="*/ 904494 h 2184766"/>
                  <a:gd name="connsiteX62" fmla="*/ 765437 w 2090595"/>
                  <a:gd name="connsiteY62" fmla="*/ 1040791 h 2184766"/>
                  <a:gd name="connsiteX63" fmla="*/ 724316 w 2090595"/>
                  <a:gd name="connsiteY63" fmla="*/ 1168361 h 2184766"/>
                  <a:gd name="connsiteX64" fmla="*/ 737374 w 2090595"/>
                  <a:gd name="connsiteY64" fmla="*/ 1219025 h 2184766"/>
                  <a:gd name="connsiteX65" fmla="*/ 789607 w 2090595"/>
                  <a:gd name="connsiteY65" fmla="*/ 1215949 h 2184766"/>
                  <a:gd name="connsiteX66" fmla="*/ 801096 w 2090595"/>
                  <a:gd name="connsiteY66" fmla="*/ 1207725 h 2184766"/>
                  <a:gd name="connsiteX67" fmla="*/ 1012353 w 2090595"/>
                  <a:gd name="connsiteY67" fmla="*/ 1054163 h 2184766"/>
                  <a:gd name="connsiteX68" fmla="*/ 1081726 w 2090595"/>
                  <a:gd name="connsiteY68" fmla="*/ 1053598 h 2184766"/>
                  <a:gd name="connsiteX69" fmla="*/ 1192094 w 2090595"/>
                  <a:gd name="connsiteY69" fmla="*/ 1133957 h 2184766"/>
                  <a:gd name="connsiteX70" fmla="*/ 1308427 w 2090595"/>
                  <a:gd name="connsiteY70" fmla="*/ 1218021 h 2184766"/>
                  <a:gd name="connsiteX71" fmla="*/ 1358526 w 2090595"/>
                  <a:gd name="connsiteY71" fmla="*/ 1218146 h 2184766"/>
                  <a:gd name="connsiteX72" fmla="*/ 1371396 w 2090595"/>
                  <a:gd name="connsiteY72" fmla="*/ 1171375 h 2184766"/>
                  <a:gd name="connsiteX73" fmla="*/ 1366436 w 2090595"/>
                  <a:gd name="connsiteY73" fmla="*/ 1155680 h 2184766"/>
                  <a:gd name="connsiteX74" fmla="*/ 1285512 w 2090595"/>
                  <a:gd name="connsiteY74" fmla="*/ 907508 h 2184766"/>
                  <a:gd name="connsiteX75" fmla="*/ 1307422 w 2090595"/>
                  <a:gd name="connsiteY75" fmla="*/ 839830 h 2184766"/>
                  <a:gd name="connsiteX76" fmla="*/ 1524643 w 2090595"/>
                  <a:gd name="connsiteY76" fmla="*/ 682376 h 2184766"/>
                  <a:gd name="connsiteX77" fmla="*/ 1549253 w 2090595"/>
                  <a:gd name="connsiteY77" fmla="*/ 629578 h 2184766"/>
                  <a:gd name="connsiteX78" fmla="*/ 1497836 w 2090595"/>
                  <a:gd name="connsiteY78" fmla="*/ 602331 h 2184766"/>
                  <a:gd name="connsiteX79" fmla="*/ 1229511 w 2090595"/>
                  <a:gd name="connsiteY79" fmla="*/ 602457 h 2184766"/>
                  <a:gd name="connsiteX80" fmla="*/ 1173260 w 2090595"/>
                  <a:gd name="connsiteY80" fmla="*/ 561335 h 2184766"/>
                  <a:gd name="connsiteX81" fmla="*/ 1097923 w 2090595"/>
                  <a:gd name="connsiteY81" fmla="*/ 328670 h 2184766"/>
                  <a:gd name="connsiteX82" fmla="*/ 1084865 w 2090595"/>
                  <a:gd name="connsiteY82" fmla="*/ 290876 h 2184766"/>
                  <a:gd name="connsiteX83" fmla="*/ 1046569 w 2090595"/>
                  <a:gd name="connsiteY83" fmla="*/ 264697 h 2184766"/>
                  <a:gd name="connsiteX84" fmla="*/ 1010156 w 2090595"/>
                  <a:gd name="connsiteY84" fmla="*/ 290186 h 2184766"/>
                  <a:gd name="connsiteX85" fmla="*/ 1000676 w 2090595"/>
                  <a:gd name="connsiteY85" fmla="*/ 316742 h 2184766"/>
                  <a:gd name="connsiteX86" fmla="*/ 920882 w 2090595"/>
                  <a:gd name="connsiteY86" fmla="*/ 562779 h 2184766"/>
                  <a:gd name="connsiteX87" fmla="*/ 865949 w 2090595"/>
                  <a:gd name="connsiteY87" fmla="*/ 602457 h 2184766"/>
                  <a:gd name="connsiteX88" fmla="*/ 729464 w 2090595"/>
                  <a:gd name="connsiteY88" fmla="*/ 602519 h 2184766"/>
                  <a:gd name="connsiteX89" fmla="*/ 729526 w 2090595"/>
                  <a:gd name="connsiteY89" fmla="*/ 602645 h 2184766"/>
                  <a:gd name="connsiteX90" fmla="*/ 2012951 w 2090595"/>
                  <a:gd name="connsiteY90" fmla="*/ 753946 h 2184766"/>
                  <a:gd name="connsiteX91" fmla="*/ 1944018 w 2090595"/>
                  <a:gd name="connsiteY91" fmla="*/ 708932 h 2184766"/>
                  <a:gd name="connsiteX92" fmla="*/ 1866107 w 2090595"/>
                  <a:gd name="connsiteY92" fmla="*/ 769955 h 2184766"/>
                  <a:gd name="connsiteX93" fmla="*/ 1743622 w 2090595"/>
                  <a:gd name="connsiteY93" fmla="*/ 1199124 h 2184766"/>
                  <a:gd name="connsiteX94" fmla="*/ 1771810 w 2090595"/>
                  <a:gd name="connsiteY94" fmla="*/ 1232397 h 2184766"/>
                  <a:gd name="connsiteX95" fmla="*/ 1790080 w 2090595"/>
                  <a:gd name="connsiteY95" fmla="*/ 1213375 h 2184766"/>
                  <a:gd name="connsiteX96" fmla="*/ 1848842 w 2090595"/>
                  <a:gd name="connsiteY96" fmla="*/ 995652 h 2184766"/>
                  <a:gd name="connsiteX97" fmla="*/ 1872259 w 2090595"/>
                  <a:gd name="connsiteY97" fmla="*/ 909517 h 2184766"/>
                  <a:gd name="connsiteX98" fmla="*/ 1993615 w 2090595"/>
                  <a:gd name="connsiteY98" fmla="*/ 792117 h 2184766"/>
                  <a:gd name="connsiteX99" fmla="*/ 2018036 w 2090595"/>
                  <a:gd name="connsiteY99" fmla="*/ 769390 h 2184766"/>
                  <a:gd name="connsiteX100" fmla="*/ 2012951 w 2090595"/>
                  <a:gd name="connsiteY100" fmla="*/ 753946 h 2184766"/>
                  <a:gd name="connsiteX101" fmla="*/ 82132 w 2090595"/>
                  <a:gd name="connsiteY101" fmla="*/ 752942 h 2184766"/>
                  <a:gd name="connsiteX102" fmla="*/ 99962 w 2090595"/>
                  <a:gd name="connsiteY102" fmla="*/ 792117 h 2184766"/>
                  <a:gd name="connsiteX103" fmla="*/ 222761 w 2090595"/>
                  <a:gd name="connsiteY103" fmla="*/ 910772 h 2184766"/>
                  <a:gd name="connsiteX104" fmla="*/ 304815 w 2090595"/>
                  <a:gd name="connsiteY104" fmla="*/ 1214693 h 2184766"/>
                  <a:gd name="connsiteX105" fmla="*/ 321703 w 2090595"/>
                  <a:gd name="connsiteY105" fmla="*/ 1232900 h 2184766"/>
                  <a:gd name="connsiteX106" fmla="*/ 351210 w 2090595"/>
                  <a:gd name="connsiteY106" fmla="*/ 1200379 h 2184766"/>
                  <a:gd name="connsiteX107" fmla="*/ 228160 w 2090595"/>
                  <a:gd name="connsiteY107" fmla="*/ 768825 h 2184766"/>
                  <a:gd name="connsiteX108" fmla="*/ 147110 w 2090595"/>
                  <a:gd name="connsiteY108" fmla="*/ 708870 h 2184766"/>
                  <a:gd name="connsiteX109" fmla="*/ 82132 w 2090595"/>
                  <a:gd name="connsiteY109" fmla="*/ 752942 h 2184766"/>
                  <a:gd name="connsiteX110" fmla="*/ 530009 w 2090595"/>
                  <a:gd name="connsiteY110" fmla="*/ 449397 h 2184766"/>
                  <a:gd name="connsiteX111" fmla="*/ 518960 w 2090595"/>
                  <a:gd name="connsiteY111" fmla="*/ 404886 h 2184766"/>
                  <a:gd name="connsiteX112" fmla="*/ 441865 w 2090595"/>
                  <a:gd name="connsiteY112" fmla="*/ 360374 h 2184766"/>
                  <a:gd name="connsiteX113" fmla="*/ 395722 w 2090595"/>
                  <a:gd name="connsiteY113" fmla="*/ 373370 h 2184766"/>
                  <a:gd name="connsiteX114" fmla="*/ 394906 w 2090595"/>
                  <a:gd name="connsiteY114" fmla="*/ 418886 h 2184766"/>
                  <a:gd name="connsiteX115" fmla="*/ 484494 w 2090595"/>
                  <a:gd name="connsiteY115" fmla="*/ 473442 h 2184766"/>
                  <a:gd name="connsiteX116" fmla="*/ 530009 w 2090595"/>
                  <a:gd name="connsiteY116" fmla="*/ 449397 h 2184766"/>
                  <a:gd name="connsiteX117" fmla="*/ 1418230 w 2090595"/>
                  <a:gd name="connsiteY117" fmla="*/ 97449 h 2184766"/>
                  <a:gd name="connsiteX118" fmla="*/ 1372840 w 2090595"/>
                  <a:gd name="connsiteY118" fmla="*/ 111951 h 2184766"/>
                  <a:gd name="connsiteX119" fmla="*/ 1332032 w 2090595"/>
                  <a:gd name="connsiteY119" fmla="*/ 182956 h 2184766"/>
                  <a:gd name="connsiteX120" fmla="*/ 1348857 w 2090595"/>
                  <a:gd name="connsiteY120" fmla="*/ 235378 h 2184766"/>
                  <a:gd name="connsiteX121" fmla="*/ 1402095 w 2090595"/>
                  <a:gd name="connsiteY121" fmla="*/ 220374 h 2184766"/>
                  <a:gd name="connsiteX122" fmla="*/ 1439638 w 2090595"/>
                  <a:gd name="connsiteY122" fmla="*/ 155521 h 2184766"/>
                  <a:gd name="connsiteX123" fmla="*/ 1444347 w 2090595"/>
                  <a:gd name="connsiteY123" fmla="*/ 135180 h 2184766"/>
                  <a:gd name="connsiteX124" fmla="*/ 1418230 w 2090595"/>
                  <a:gd name="connsiteY124" fmla="*/ 97449 h 2184766"/>
                  <a:gd name="connsiteX125" fmla="*/ 1656043 w 2090595"/>
                  <a:gd name="connsiteY125" fmla="*/ 359056 h 2184766"/>
                  <a:gd name="connsiteX126" fmla="*/ 1573487 w 2090595"/>
                  <a:gd name="connsiteY126" fmla="*/ 407334 h 2184766"/>
                  <a:gd name="connsiteX127" fmla="*/ 1567711 w 2090595"/>
                  <a:gd name="connsiteY127" fmla="*/ 454734 h 2184766"/>
                  <a:gd name="connsiteX128" fmla="*/ 1614043 w 2090595"/>
                  <a:gd name="connsiteY128" fmla="*/ 471936 h 2184766"/>
                  <a:gd name="connsiteX129" fmla="*/ 1694841 w 2090595"/>
                  <a:gd name="connsiteY129" fmla="*/ 425290 h 2184766"/>
                  <a:gd name="connsiteX130" fmla="*/ 1704133 w 2090595"/>
                  <a:gd name="connsiteY130" fmla="*/ 382536 h 2184766"/>
                  <a:gd name="connsiteX131" fmla="*/ 1666904 w 2090595"/>
                  <a:gd name="connsiteY131" fmla="*/ 357863 h 2184766"/>
                  <a:gd name="connsiteX132" fmla="*/ 1656043 w 2090595"/>
                  <a:gd name="connsiteY132" fmla="*/ 359056 h 2184766"/>
                  <a:gd name="connsiteX133" fmla="*/ 707930 w 2090595"/>
                  <a:gd name="connsiteY133" fmla="*/ 100274 h 2184766"/>
                  <a:gd name="connsiteX134" fmla="*/ 666432 w 2090595"/>
                  <a:gd name="connsiteY134" fmla="*/ 102785 h 2184766"/>
                  <a:gd name="connsiteX135" fmla="*/ 651239 w 2090595"/>
                  <a:gd name="connsiteY135" fmla="*/ 141772 h 2184766"/>
                  <a:gd name="connsiteX136" fmla="*/ 701840 w 2090595"/>
                  <a:gd name="connsiteY136" fmla="*/ 230356 h 2184766"/>
                  <a:gd name="connsiteX137" fmla="*/ 743338 w 2090595"/>
                  <a:gd name="connsiteY137" fmla="*/ 236257 h 2184766"/>
                  <a:gd name="connsiteX138" fmla="*/ 766504 w 2090595"/>
                  <a:gd name="connsiteY138" fmla="*/ 193943 h 2184766"/>
                  <a:gd name="connsiteX139" fmla="*/ 707930 w 2090595"/>
                  <a:gd name="connsiteY139" fmla="*/ 100274 h 2184766"/>
                  <a:gd name="connsiteX140" fmla="*/ 1086121 w 2090595"/>
                  <a:gd name="connsiteY140" fmla="*/ 34480 h 2184766"/>
                  <a:gd name="connsiteX141" fmla="*/ 1046129 w 2090595"/>
                  <a:gd name="connsiteY141" fmla="*/ 13 h 2184766"/>
                  <a:gd name="connsiteX142" fmla="*/ 1008586 w 2090595"/>
                  <a:gd name="connsiteY142" fmla="*/ 34480 h 2184766"/>
                  <a:gd name="connsiteX143" fmla="*/ 1008586 w 2090595"/>
                  <a:gd name="connsiteY143" fmla="*/ 119108 h 2184766"/>
                  <a:gd name="connsiteX144" fmla="*/ 1046129 w 2090595"/>
                  <a:gd name="connsiteY144" fmla="*/ 153575 h 2184766"/>
                  <a:gd name="connsiteX145" fmla="*/ 1086121 w 2090595"/>
                  <a:gd name="connsiteY145" fmla="*/ 119046 h 2184766"/>
                  <a:gd name="connsiteX146" fmla="*/ 1086309 w 2090595"/>
                  <a:gd name="connsiteY146" fmla="*/ 76731 h 2184766"/>
                  <a:gd name="connsiteX147" fmla="*/ 1086121 w 2090595"/>
                  <a:gd name="connsiteY147" fmla="*/ 34480 h 218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2090595" h="2184766">
                    <a:moveTo>
                      <a:pt x="1196426" y="1929200"/>
                    </a:moveTo>
                    <a:cubicBezTo>
                      <a:pt x="1196426" y="1861711"/>
                      <a:pt x="1197054" y="1794221"/>
                      <a:pt x="1196238" y="1726795"/>
                    </a:cubicBezTo>
                    <a:cubicBezTo>
                      <a:pt x="1194982" y="1618749"/>
                      <a:pt x="1242507" y="1538704"/>
                      <a:pt x="1334418" y="1484273"/>
                    </a:cubicBezTo>
                    <a:cubicBezTo>
                      <a:pt x="1427522" y="1429089"/>
                      <a:pt x="1521127" y="1374658"/>
                      <a:pt x="1614482" y="1319914"/>
                    </a:cubicBezTo>
                    <a:cubicBezTo>
                      <a:pt x="1630052" y="1310810"/>
                      <a:pt x="1645245" y="1300954"/>
                      <a:pt x="1661254" y="1292730"/>
                    </a:cubicBezTo>
                    <a:cubicBezTo>
                      <a:pt x="1700994" y="1272263"/>
                      <a:pt x="1745694" y="1285322"/>
                      <a:pt x="1767228" y="1322927"/>
                    </a:cubicBezTo>
                    <a:cubicBezTo>
                      <a:pt x="1788008" y="1359214"/>
                      <a:pt x="1777272" y="1404542"/>
                      <a:pt x="1739290" y="1427457"/>
                    </a:cubicBezTo>
                    <a:cubicBezTo>
                      <a:pt x="1674124" y="1466758"/>
                      <a:pt x="1607765" y="1503986"/>
                      <a:pt x="1541971" y="1542157"/>
                    </a:cubicBezTo>
                    <a:cubicBezTo>
                      <a:pt x="1534500" y="1546489"/>
                      <a:pt x="1526715" y="1550444"/>
                      <a:pt x="1519872" y="1555592"/>
                    </a:cubicBezTo>
                    <a:cubicBezTo>
                      <a:pt x="1503612" y="1567834"/>
                      <a:pt x="1500096" y="1584471"/>
                      <a:pt x="1510329" y="1601296"/>
                    </a:cubicBezTo>
                    <a:cubicBezTo>
                      <a:pt x="1520374" y="1617808"/>
                      <a:pt x="1536509" y="1624337"/>
                      <a:pt x="1554778" y="1614104"/>
                    </a:cubicBezTo>
                    <a:cubicBezTo>
                      <a:pt x="1605379" y="1585727"/>
                      <a:pt x="1655666" y="1556722"/>
                      <a:pt x="1706016" y="1527780"/>
                    </a:cubicBezTo>
                    <a:cubicBezTo>
                      <a:pt x="1729120" y="1514471"/>
                      <a:pt x="1752349" y="1501350"/>
                      <a:pt x="1775075" y="1487350"/>
                    </a:cubicBezTo>
                    <a:cubicBezTo>
                      <a:pt x="1830950" y="1452883"/>
                      <a:pt x="1856753" y="1390981"/>
                      <a:pt x="1841497" y="1327385"/>
                    </a:cubicBezTo>
                    <a:cubicBezTo>
                      <a:pt x="1838295" y="1313949"/>
                      <a:pt x="1838421" y="1301582"/>
                      <a:pt x="1841999" y="1288272"/>
                    </a:cubicBezTo>
                    <a:cubicBezTo>
                      <a:pt x="1873578" y="1171814"/>
                      <a:pt x="1904717" y="1055231"/>
                      <a:pt x="1936045" y="938647"/>
                    </a:cubicBezTo>
                    <a:cubicBezTo>
                      <a:pt x="1940942" y="920440"/>
                      <a:pt x="1945713" y="902360"/>
                      <a:pt x="1959085" y="887795"/>
                    </a:cubicBezTo>
                    <a:cubicBezTo>
                      <a:pt x="1984009" y="860673"/>
                      <a:pt x="2022619" y="852323"/>
                      <a:pt x="2053319" y="868144"/>
                    </a:cubicBezTo>
                    <a:cubicBezTo>
                      <a:pt x="2087597" y="885786"/>
                      <a:pt x="2102351" y="922073"/>
                      <a:pt x="2091113" y="964826"/>
                    </a:cubicBezTo>
                    <a:cubicBezTo>
                      <a:pt x="2064933" y="1064083"/>
                      <a:pt x="2038001" y="1163150"/>
                      <a:pt x="2011507" y="1262344"/>
                    </a:cubicBezTo>
                    <a:cubicBezTo>
                      <a:pt x="1985390" y="1360031"/>
                      <a:pt x="1959148" y="1457654"/>
                      <a:pt x="1933471" y="1555404"/>
                    </a:cubicBezTo>
                    <a:cubicBezTo>
                      <a:pt x="1925246" y="1586794"/>
                      <a:pt x="1909677" y="1612723"/>
                      <a:pt x="1885129" y="1634193"/>
                    </a:cubicBezTo>
                    <a:cubicBezTo>
                      <a:pt x="1807846" y="1701934"/>
                      <a:pt x="1732008" y="1771307"/>
                      <a:pt x="1653971" y="1838168"/>
                    </a:cubicBezTo>
                    <a:cubicBezTo>
                      <a:pt x="1600670" y="1883809"/>
                      <a:pt x="1575621" y="1940249"/>
                      <a:pt x="1576186" y="2009559"/>
                    </a:cubicBezTo>
                    <a:cubicBezTo>
                      <a:pt x="1576626" y="2061353"/>
                      <a:pt x="1575747" y="2113147"/>
                      <a:pt x="1576500" y="2164878"/>
                    </a:cubicBezTo>
                    <a:cubicBezTo>
                      <a:pt x="1576751" y="2182206"/>
                      <a:pt x="1570536" y="2188170"/>
                      <a:pt x="1553271" y="2188107"/>
                    </a:cubicBezTo>
                    <a:cubicBezTo>
                      <a:pt x="1441835" y="2187605"/>
                      <a:pt x="1330463" y="2187542"/>
                      <a:pt x="1219027" y="2188107"/>
                    </a:cubicBezTo>
                    <a:cubicBezTo>
                      <a:pt x="1201386" y="2188170"/>
                      <a:pt x="1195987" y="2181515"/>
                      <a:pt x="1196112" y="2164564"/>
                    </a:cubicBezTo>
                    <a:cubicBezTo>
                      <a:pt x="1196740" y="2086089"/>
                      <a:pt x="1196426" y="2007676"/>
                      <a:pt x="1196426" y="1929200"/>
                    </a:cubicBezTo>
                    <a:close/>
                    <a:moveTo>
                      <a:pt x="898218" y="1716562"/>
                    </a:moveTo>
                    <a:cubicBezTo>
                      <a:pt x="897716" y="1623207"/>
                      <a:pt x="859043" y="1547494"/>
                      <a:pt x="780944" y="1498336"/>
                    </a:cubicBezTo>
                    <a:cubicBezTo>
                      <a:pt x="667499" y="1426892"/>
                      <a:pt x="550790" y="1360533"/>
                      <a:pt x="434520" y="1293734"/>
                    </a:cubicBezTo>
                    <a:cubicBezTo>
                      <a:pt x="387623" y="1266801"/>
                      <a:pt x="333318" y="1292981"/>
                      <a:pt x="320197" y="1345151"/>
                    </a:cubicBezTo>
                    <a:cubicBezTo>
                      <a:pt x="311721" y="1378927"/>
                      <a:pt x="326412" y="1410883"/>
                      <a:pt x="361632" y="1431538"/>
                    </a:cubicBezTo>
                    <a:cubicBezTo>
                      <a:pt x="429309" y="1471152"/>
                      <a:pt x="497552" y="1509888"/>
                      <a:pt x="565355" y="1549377"/>
                    </a:cubicBezTo>
                    <a:cubicBezTo>
                      <a:pt x="588647" y="1562937"/>
                      <a:pt x="595427" y="1581144"/>
                      <a:pt x="585633" y="1599853"/>
                    </a:cubicBezTo>
                    <a:cubicBezTo>
                      <a:pt x="575714" y="1618812"/>
                      <a:pt x="554933" y="1623144"/>
                      <a:pt x="531077" y="1609521"/>
                    </a:cubicBezTo>
                    <a:cubicBezTo>
                      <a:pt x="460260" y="1569027"/>
                      <a:pt x="389318" y="1528659"/>
                      <a:pt x="319318" y="1486910"/>
                    </a:cubicBezTo>
                    <a:cubicBezTo>
                      <a:pt x="263192" y="1453448"/>
                      <a:pt x="237828" y="1390479"/>
                      <a:pt x="253272" y="1326882"/>
                    </a:cubicBezTo>
                    <a:cubicBezTo>
                      <a:pt x="256537" y="1313384"/>
                      <a:pt x="256160" y="1301017"/>
                      <a:pt x="252519" y="1287770"/>
                    </a:cubicBezTo>
                    <a:cubicBezTo>
                      <a:pt x="230295" y="1206092"/>
                      <a:pt x="208635" y="1124289"/>
                      <a:pt x="186662" y="1042549"/>
                    </a:cubicBezTo>
                    <a:cubicBezTo>
                      <a:pt x="175487" y="1000925"/>
                      <a:pt x="164877" y="959113"/>
                      <a:pt x="152447" y="917866"/>
                    </a:cubicBezTo>
                    <a:cubicBezTo>
                      <a:pt x="141900" y="883086"/>
                      <a:pt x="109442" y="860046"/>
                      <a:pt x="74724" y="859983"/>
                    </a:cubicBezTo>
                    <a:cubicBezTo>
                      <a:pt x="43962" y="859857"/>
                      <a:pt x="14957" y="880072"/>
                      <a:pt x="4473" y="909956"/>
                    </a:cubicBezTo>
                    <a:cubicBezTo>
                      <a:pt x="-2873" y="930674"/>
                      <a:pt x="-173" y="951580"/>
                      <a:pt x="5414" y="972423"/>
                    </a:cubicBezTo>
                    <a:cubicBezTo>
                      <a:pt x="56581" y="1163150"/>
                      <a:pt x="108312" y="1353752"/>
                      <a:pt x="158285" y="1544857"/>
                    </a:cubicBezTo>
                    <a:cubicBezTo>
                      <a:pt x="169146" y="1586355"/>
                      <a:pt x="190178" y="1617996"/>
                      <a:pt x="222384" y="1645745"/>
                    </a:cubicBezTo>
                    <a:cubicBezTo>
                      <a:pt x="300860" y="1713297"/>
                      <a:pt x="377704" y="1782732"/>
                      <a:pt x="454673" y="1851980"/>
                    </a:cubicBezTo>
                    <a:cubicBezTo>
                      <a:pt x="489704" y="1883558"/>
                      <a:pt x="510422" y="1922796"/>
                      <a:pt x="515319" y="1970572"/>
                    </a:cubicBezTo>
                    <a:cubicBezTo>
                      <a:pt x="521785" y="2034043"/>
                      <a:pt x="517516" y="2097577"/>
                      <a:pt x="518144" y="2161049"/>
                    </a:cubicBezTo>
                    <a:cubicBezTo>
                      <a:pt x="518332" y="2181013"/>
                      <a:pt x="523480" y="2188609"/>
                      <a:pt x="544637" y="2188421"/>
                    </a:cubicBezTo>
                    <a:cubicBezTo>
                      <a:pt x="653687" y="2187542"/>
                      <a:pt x="762737" y="2187542"/>
                      <a:pt x="871850" y="2188421"/>
                    </a:cubicBezTo>
                    <a:cubicBezTo>
                      <a:pt x="892317" y="2188547"/>
                      <a:pt x="899160" y="2182457"/>
                      <a:pt x="898909" y="2161614"/>
                    </a:cubicBezTo>
                    <a:cubicBezTo>
                      <a:pt x="897904" y="2083954"/>
                      <a:pt x="898469" y="2006232"/>
                      <a:pt x="898469" y="1928572"/>
                    </a:cubicBezTo>
                    <a:cubicBezTo>
                      <a:pt x="898281" y="1857818"/>
                      <a:pt x="898595" y="1787190"/>
                      <a:pt x="898218" y="1716562"/>
                    </a:cubicBezTo>
                    <a:close/>
                    <a:moveTo>
                      <a:pt x="729526" y="602645"/>
                    </a:moveTo>
                    <a:cubicBezTo>
                      <a:pt x="680871" y="602645"/>
                      <a:pt x="632216" y="602582"/>
                      <a:pt x="583624" y="602645"/>
                    </a:cubicBezTo>
                    <a:cubicBezTo>
                      <a:pt x="565104" y="602645"/>
                      <a:pt x="552359" y="611497"/>
                      <a:pt x="545705" y="628762"/>
                    </a:cubicBezTo>
                    <a:cubicBezTo>
                      <a:pt x="538862" y="646591"/>
                      <a:pt x="545391" y="660968"/>
                      <a:pt x="558324" y="673148"/>
                    </a:cubicBezTo>
                    <a:cubicBezTo>
                      <a:pt x="563472" y="677919"/>
                      <a:pt x="569561" y="681686"/>
                      <a:pt x="575274" y="685829"/>
                    </a:cubicBezTo>
                    <a:cubicBezTo>
                      <a:pt x="646970" y="737937"/>
                      <a:pt x="718791" y="789857"/>
                      <a:pt x="790361" y="842153"/>
                    </a:cubicBezTo>
                    <a:cubicBezTo>
                      <a:pt x="817859" y="862243"/>
                      <a:pt x="820684" y="871911"/>
                      <a:pt x="810137" y="904494"/>
                    </a:cubicBezTo>
                    <a:cubicBezTo>
                      <a:pt x="795383" y="950010"/>
                      <a:pt x="780190" y="995338"/>
                      <a:pt x="765437" y="1040791"/>
                    </a:cubicBezTo>
                    <a:cubicBezTo>
                      <a:pt x="751625" y="1083293"/>
                      <a:pt x="738065" y="1125859"/>
                      <a:pt x="724316" y="1168361"/>
                    </a:cubicBezTo>
                    <a:cubicBezTo>
                      <a:pt x="717975" y="1188074"/>
                      <a:pt x="719858" y="1206030"/>
                      <a:pt x="737374" y="1219025"/>
                    </a:cubicBezTo>
                    <a:cubicBezTo>
                      <a:pt x="755141" y="1232146"/>
                      <a:pt x="772845" y="1227815"/>
                      <a:pt x="789607" y="1215949"/>
                    </a:cubicBezTo>
                    <a:cubicBezTo>
                      <a:pt x="793437" y="1213249"/>
                      <a:pt x="797267" y="1210487"/>
                      <a:pt x="801096" y="1207725"/>
                    </a:cubicBezTo>
                    <a:cubicBezTo>
                      <a:pt x="871536" y="1156558"/>
                      <a:pt x="941913" y="1105329"/>
                      <a:pt x="1012353" y="1054163"/>
                    </a:cubicBezTo>
                    <a:cubicBezTo>
                      <a:pt x="1042174" y="1032504"/>
                      <a:pt x="1052470" y="1032378"/>
                      <a:pt x="1081726" y="1053598"/>
                    </a:cubicBezTo>
                    <a:cubicBezTo>
                      <a:pt x="1118578" y="1080280"/>
                      <a:pt x="1155242" y="1107213"/>
                      <a:pt x="1192094" y="1133957"/>
                    </a:cubicBezTo>
                    <a:cubicBezTo>
                      <a:pt x="1230830" y="1162083"/>
                      <a:pt x="1269503" y="1190209"/>
                      <a:pt x="1308427" y="1218021"/>
                    </a:cubicBezTo>
                    <a:cubicBezTo>
                      <a:pt x="1324750" y="1229698"/>
                      <a:pt x="1342203" y="1230954"/>
                      <a:pt x="1358526" y="1218146"/>
                    </a:cubicBezTo>
                    <a:cubicBezTo>
                      <a:pt x="1373970" y="1206030"/>
                      <a:pt x="1376355" y="1189518"/>
                      <a:pt x="1371396" y="1171375"/>
                    </a:cubicBezTo>
                    <a:cubicBezTo>
                      <a:pt x="1369952" y="1166101"/>
                      <a:pt x="1368131" y="1160890"/>
                      <a:pt x="1366436" y="1155680"/>
                    </a:cubicBezTo>
                    <a:cubicBezTo>
                      <a:pt x="1339440" y="1072935"/>
                      <a:pt x="1312445" y="990252"/>
                      <a:pt x="1285512" y="907508"/>
                    </a:cubicBezTo>
                    <a:cubicBezTo>
                      <a:pt x="1273646" y="871032"/>
                      <a:pt x="1276660" y="862117"/>
                      <a:pt x="1307422" y="839830"/>
                    </a:cubicBezTo>
                    <a:cubicBezTo>
                      <a:pt x="1379808" y="787346"/>
                      <a:pt x="1452132" y="734735"/>
                      <a:pt x="1524643" y="682376"/>
                    </a:cubicBezTo>
                    <a:cubicBezTo>
                      <a:pt x="1542850" y="669192"/>
                      <a:pt x="1557603" y="654502"/>
                      <a:pt x="1549253" y="629578"/>
                    </a:cubicBezTo>
                    <a:cubicBezTo>
                      <a:pt x="1540903" y="604654"/>
                      <a:pt x="1520437" y="602205"/>
                      <a:pt x="1497836" y="602331"/>
                    </a:cubicBezTo>
                    <a:cubicBezTo>
                      <a:pt x="1408373" y="602770"/>
                      <a:pt x="1318974" y="602582"/>
                      <a:pt x="1229511" y="602457"/>
                    </a:cubicBezTo>
                    <a:cubicBezTo>
                      <a:pt x="1194103" y="602394"/>
                      <a:pt x="1184310" y="595300"/>
                      <a:pt x="1173260" y="561335"/>
                    </a:cubicBezTo>
                    <a:cubicBezTo>
                      <a:pt x="1148022" y="483801"/>
                      <a:pt x="1123036" y="406204"/>
                      <a:pt x="1097923" y="328670"/>
                    </a:cubicBezTo>
                    <a:cubicBezTo>
                      <a:pt x="1093842" y="315988"/>
                      <a:pt x="1090013" y="303181"/>
                      <a:pt x="1084865" y="290876"/>
                    </a:cubicBezTo>
                    <a:cubicBezTo>
                      <a:pt x="1077896" y="274177"/>
                      <a:pt x="1064901" y="264320"/>
                      <a:pt x="1046569" y="264697"/>
                    </a:cubicBezTo>
                    <a:cubicBezTo>
                      <a:pt x="1029429" y="265011"/>
                      <a:pt x="1016999" y="274490"/>
                      <a:pt x="1010156" y="290186"/>
                    </a:cubicBezTo>
                    <a:cubicBezTo>
                      <a:pt x="1006389" y="298787"/>
                      <a:pt x="1003627" y="307827"/>
                      <a:pt x="1000676" y="316742"/>
                    </a:cubicBezTo>
                    <a:cubicBezTo>
                      <a:pt x="974057" y="398733"/>
                      <a:pt x="947626" y="480850"/>
                      <a:pt x="920882" y="562779"/>
                    </a:cubicBezTo>
                    <a:cubicBezTo>
                      <a:pt x="910398" y="594923"/>
                      <a:pt x="900039" y="602268"/>
                      <a:pt x="865949" y="602457"/>
                    </a:cubicBezTo>
                    <a:cubicBezTo>
                      <a:pt x="820433" y="602645"/>
                      <a:pt x="774917" y="602519"/>
                      <a:pt x="729464" y="602519"/>
                    </a:cubicBezTo>
                    <a:cubicBezTo>
                      <a:pt x="729526" y="602582"/>
                      <a:pt x="729526" y="602645"/>
                      <a:pt x="729526" y="602645"/>
                    </a:cubicBezTo>
                    <a:close/>
                    <a:moveTo>
                      <a:pt x="2012951" y="753946"/>
                    </a:moveTo>
                    <a:cubicBezTo>
                      <a:pt x="2000897" y="727013"/>
                      <a:pt x="1971328" y="707865"/>
                      <a:pt x="1944018" y="708932"/>
                    </a:cubicBezTo>
                    <a:cubicBezTo>
                      <a:pt x="1907605" y="710314"/>
                      <a:pt x="1876843" y="732726"/>
                      <a:pt x="1866107" y="769955"/>
                    </a:cubicBezTo>
                    <a:cubicBezTo>
                      <a:pt x="1824797" y="912907"/>
                      <a:pt x="1784806" y="1056172"/>
                      <a:pt x="1743622" y="1199124"/>
                    </a:cubicBezTo>
                    <a:cubicBezTo>
                      <a:pt x="1735774" y="1226370"/>
                      <a:pt x="1758124" y="1226496"/>
                      <a:pt x="1771810" y="1232397"/>
                    </a:cubicBezTo>
                    <a:cubicBezTo>
                      <a:pt x="1789515" y="1239994"/>
                      <a:pt x="1787694" y="1222039"/>
                      <a:pt x="1790080" y="1213375"/>
                    </a:cubicBezTo>
                    <a:cubicBezTo>
                      <a:pt x="1810107" y="1140926"/>
                      <a:pt x="1829318" y="1068226"/>
                      <a:pt x="1848842" y="995652"/>
                    </a:cubicBezTo>
                    <a:cubicBezTo>
                      <a:pt x="1856564" y="966898"/>
                      <a:pt x="1864600" y="938270"/>
                      <a:pt x="1872259" y="909517"/>
                    </a:cubicBezTo>
                    <a:cubicBezTo>
                      <a:pt x="1889147" y="845983"/>
                      <a:pt x="1929327" y="806933"/>
                      <a:pt x="1993615" y="792117"/>
                    </a:cubicBezTo>
                    <a:cubicBezTo>
                      <a:pt x="2003534" y="789857"/>
                      <a:pt x="2019543" y="792933"/>
                      <a:pt x="2018036" y="769390"/>
                    </a:cubicBezTo>
                    <a:cubicBezTo>
                      <a:pt x="2017345" y="767193"/>
                      <a:pt x="2015776" y="760287"/>
                      <a:pt x="2012951" y="753946"/>
                    </a:cubicBezTo>
                    <a:close/>
                    <a:moveTo>
                      <a:pt x="82132" y="752942"/>
                    </a:moveTo>
                    <a:cubicBezTo>
                      <a:pt x="70204" y="777301"/>
                      <a:pt x="74285" y="786467"/>
                      <a:pt x="99962" y="792117"/>
                    </a:cubicBezTo>
                    <a:cubicBezTo>
                      <a:pt x="165380" y="806431"/>
                      <a:pt x="205622" y="846234"/>
                      <a:pt x="222761" y="910772"/>
                    </a:cubicBezTo>
                    <a:cubicBezTo>
                      <a:pt x="249694" y="1012163"/>
                      <a:pt x="277129" y="1113428"/>
                      <a:pt x="304815" y="1214693"/>
                    </a:cubicBezTo>
                    <a:cubicBezTo>
                      <a:pt x="307075" y="1223043"/>
                      <a:pt x="306322" y="1239743"/>
                      <a:pt x="321703" y="1232900"/>
                    </a:cubicBezTo>
                    <a:cubicBezTo>
                      <a:pt x="334950" y="1227061"/>
                      <a:pt x="359121" y="1228003"/>
                      <a:pt x="351210" y="1200379"/>
                    </a:cubicBezTo>
                    <a:cubicBezTo>
                      <a:pt x="310026" y="1056549"/>
                      <a:pt x="269784" y="912530"/>
                      <a:pt x="228160" y="768825"/>
                    </a:cubicBezTo>
                    <a:cubicBezTo>
                      <a:pt x="217550" y="732036"/>
                      <a:pt x="185407" y="709435"/>
                      <a:pt x="147110" y="708870"/>
                    </a:cubicBezTo>
                    <a:cubicBezTo>
                      <a:pt x="118796" y="711130"/>
                      <a:pt x="95756" y="725130"/>
                      <a:pt x="82132" y="752942"/>
                    </a:cubicBezTo>
                    <a:close/>
                    <a:moveTo>
                      <a:pt x="530009" y="449397"/>
                    </a:moveTo>
                    <a:cubicBezTo>
                      <a:pt x="537229" y="432070"/>
                      <a:pt x="533086" y="415684"/>
                      <a:pt x="518960" y="404886"/>
                    </a:cubicBezTo>
                    <a:cubicBezTo>
                      <a:pt x="495355" y="386868"/>
                      <a:pt x="469238" y="371926"/>
                      <a:pt x="441865" y="360374"/>
                    </a:cubicBezTo>
                    <a:cubicBezTo>
                      <a:pt x="424789" y="353155"/>
                      <a:pt x="407587" y="357612"/>
                      <a:pt x="395722" y="373370"/>
                    </a:cubicBezTo>
                    <a:cubicBezTo>
                      <a:pt x="384547" y="388123"/>
                      <a:pt x="382412" y="405765"/>
                      <a:pt x="394906" y="418886"/>
                    </a:cubicBezTo>
                    <a:cubicBezTo>
                      <a:pt x="421211" y="446384"/>
                      <a:pt x="455928" y="460949"/>
                      <a:pt x="484494" y="473442"/>
                    </a:cubicBezTo>
                    <a:cubicBezTo>
                      <a:pt x="509794" y="474635"/>
                      <a:pt x="522915" y="466411"/>
                      <a:pt x="530009" y="449397"/>
                    </a:cubicBezTo>
                    <a:close/>
                    <a:moveTo>
                      <a:pt x="1418230" y="97449"/>
                    </a:moveTo>
                    <a:cubicBezTo>
                      <a:pt x="1399521" y="90480"/>
                      <a:pt x="1383136" y="96507"/>
                      <a:pt x="1372840" y="111951"/>
                    </a:cubicBezTo>
                    <a:cubicBezTo>
                      <a:pt x="1357710" y="134615"/>
                      <a:pt x="1344149" y="158535"/>
                      <a:pt x="1332032" y="182956"/>
                    </a:cubicBezTo>
                    <a:cubicBezTo>
                      <a:pt x="1321925" y="203423"/>
                      <a:pt x="1330463" y="225961"/>
                      <a:pt x="1348857" y="235378"/>
                    </a:cubicBezTo>
                    <a:cubicBezTo>
                      <a:pt x="1367441" y="244858"/>
                      <a:pt x="1390041" y="239333"/>
                      <a:pt x="1402095" y="220374"/>
                    </a:cubicBezTo>
                    <a:cubicBezTo>
                      <a:pt x="1415468" y="199342"/>
                      <a:pt x="1427207" y="177180"/>
                      <a:pt x="1439638" y="155521"/>
                    </a:cubicBezTo>
                    <a:cubicBezTo>
                      <a:pt x="1443217" y="149243"/>
                      <a:pt x="1444598" y="142400"/>
                      <a:pt x="1444347" y="135180"/>
                    </a:cubicBezTo>
                    <a:cubicBezTo>
                      <a:pt x="1443907" y="116911"/>
                      <a:pt x="1435495" y="103915"/>
                      <a:pt x="1418230" y="97449"/>
                    </a:cubicBezTo>
                    <a:close/>
                    <a:moveTo>
                      <a:pt x="1656043" y="359056"/>
                    </a:moveTo>
                    <a:cubicBezTo>
                      <a:pt x="1626787" y="372177"/>
                      <a:pt x="1598034" y="386742"/>
                      <a:pt x="1573487" y="407334"/>
                    </a:cubicBezTo>
                    <a:cubicBezTo>
                      <a:pt x="1558921" y="419577"/>
                      <a:pt x="1558545" y="437971"/>
                      <a:pt x="1567711" y="454734"/>
                    </a:cubicBezTo>
                    <a:cubicBezTo>
                      <a:pt x="1577944" y="473317"/>
                      <a:pt x="1596088" y="478967"/>
                      <a:pt x="1614043" y="471936"/>
                    </a:cubicBezTo>
                    <a:cubicBezTo>
                      <a:pt x="1643047" y="460635"/>
                      <a:pt x="1670671" y="445128"/>
                      <a:pt x="1694841" y="425290"/>
                    </a:cubicBezTo>
                    <a:cubicBezTo>
                      <a:pt x="1707649" y="414805"/>
                      <a:pt x="1711227" y="398984"/>
                      <a:pt x="1704133" y="382536"/>
                    </a:cubicBezTo>
                    <a:cubicBezTo>
                      <a:pt x="1697227" y="366527"/>
                      <a:pt x="1684985" y="358428"/>
                      <a:pt x="1666904" y="357863"/>
                    </a:cubicBezTo>
                    <a:cubicBezTo>
                      <a:pt x="1663765" y="358114"/>
                      <a:pt x="1659433" y="357549"/>
                      <a:pt x="1656043" y="359056"/>
                    </a:cubicBezTo>
                    <a:close/>
                    <a:moveTo>
                      <a:pt x="707930" y="100274"/>
                    </a:moveTo>
                    <a:cubicBezTo>
                      <a:pt x="695437" y="89915"/>
                      <a:pt x="679616" y="93306"/>
                      <a:pt x="666432" y="102785"/>
                    </a:cubicBezTo>
                    <a:cubicBezTo>
                      <a:pt x="652997" y="112391"/>
                      <a:pt x="646530" y="126893"/>
                      <a:pt x="651239" y="141772"/>
                    </a:cubicBezTo>
                    <a:cubicBezTo>
                      <a:pt x="661660" y="174669"/>
                      <a:pt x="679365" y="204364"/>
                      <a:pt x="701840" y="230356"/>
                    </a:cubicBezTo>
                    <a:cubicBezTo>
                      <a:pt x="712325" y="242535"/>
                      <a:pt x="728836" y="242535"/>
                      <a:pt x="743338" y="236257"/>
                    </a:cubicBezTo>
                    <a:cubicBezTo>
                      <a:pt x="758092" y="229916"/>
                      <a:pt x="766065" y="217737"/>
                      <a:pt x="766504" y="193943"/>
                    </a:cubicBezTo>
                    <a:cubicBezTo>
                      <a:pt x="753320" y="163808"/>
                      <a:pt x="739383" y="126454"/>
                      <a:pt x="707930" y="100274"/>
                    </a:cubicBezTo>
                    <a:close/>
                    <a:moveTo>
                      <a:pt x="1086121" y="34480"/>
                    </a:moveTo>
                    <a:cubicBezTo>
                      <a:pt x="1084362" y="13072"/>
                      <a:pt x="1067914" y="-489"/>
                      <a:pt x="1046129" y="13"/>
                    </a:cubicBezTo>
                    <a:cubicBezTo>
                      <a:pt x="1025537" y="516"/>
                      <a:pt x="1009465" y="13951"/>
                      <a:pt x="1008586" y="34480"/>
                    </a:cubicBezTo>
                    <a:cubicBezTo>
                      <a:pt x="1007393" y="62669"/>
                      <a:pt x="1007393" y="90920"/>
                      <a:pt x="1008586" y="119108"/>
                    </a:cubicBezTo>
                    <a:cubicBezTo>
                      <a:pt x="1009465" y="139638"/>
                      <a:pt x="1025537" y="153135"/>
                      <a:pt x="1046129" y="153575"/>
                    </a:cubicBezTo>
                    <a:cubicBezTo>
                      <a:pt x="1067851" y="154077"/>
                      <a:pt x="1084362" y="140454"/>
                      <a:pt x="1086121" y="119046"/>
                    </a:cubicBezTo>
                    <a:cubicBezTo>
                      <a:pt x="1087251" y="105045"/>
                      <a:pt x="1086309" y="90857"/>
                      <a:pt x="1086309" y="76731"/>
                    </a:cubicBezTo>
                    <a:cubicBezTo>
                      <a:pt x="1086309" y="62606"/>
                      <a:pt x="1087313" y="48480"/>
                      <a:pt x="1086121" y="34480"/>
                    </a:cubicBezTo>
                    <a:close/>
                  </a:path>
                </a:pathLst>
              </a:custGeom>
              <a:solidFill>
                <a:schemeClr val="tx2">
                  <a:lumMod val="60000"/>
                  <a:lumOff val="40000"/>
                </a:schemeClr>
              </a:solidFill>
              <a:ln w="6278" cap="flat">
                <a:noFill/>
                <a:prstDash val="solid"/>
                <a:miter/>
              </a:ln>
            </p:spPr>
            <p:txBody>
              <a:bodyPr rtlCol="0" anchor="ctr"/>
              <a:lstStyle/>
              <a:p>
                <a:endParaRPr lang="en-US"/>
              </a:p>
            </p:txBody>
          </p:sp>
        </p:grpSp>
      </p:grpSp>
      <p:sp>
        <p:nvSpPr>
          <p:cNvPr id="58" name="Rectangle 32">
            <a:extLst>
              <a:ext uri="{FF2B5EF4-FFF2-40B4-BE49-F238E27FC236}">
                <a16:creationId xmlns:a16="http://schemas.microsoft.com/office/drawing/2014/main" id="{EB3528C9-48A8-4C5E-9EA7-25D397DB688C}"/>
              </a:ext>
            </a:extLst>
          </p:cNvPr>
          <p:cNvSpPr>
            <a:spLocks noChangeArrowheads="1"/>
          </p:cNvSpPr>
          <p:nvPr/>
        </p:nvSpPr>
        <p:spPr bwMode="auto">
          <a:xfrm>
            <a:off x="5626683" y="2944848"/>
            <a:ext cx="950581" cy="430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algn="ctr" defTabSz="914172" eaLnBrk="0" fontAlgn="base" hangingPunct="0">
              <a:spcBef>
                <a:spcPct val="0"/>
              </a:spcBef>
              <a:spcAft>
                <a:spcPct val="0"/>
              </a:spcAft>
            </a:pPr>
            <a:r>
              <a:rPr lang="en-US" altLang="en-US" sz="1400" b="1" spc="-75" dirty="0">
                <a:solidFill>
                  <a:schemeClr val="bg1"/>
                </a:solidFill>
                <a:latin typeface="Montserrat" panose="00000500000000000000" pitchFamily="50" charset="0"/>
              </a:rPr>
              <a:t>Our</a:t>
            </a:r>
          </a:p>
          <a:p>
            <a:pPr algn="ctr" defTabSz="914172" eaLnBrk="0" fontAlgn="base" hangingPunct="0">
              <a:spcBef>
                <a:spcPct val="0"/>
              </a:spcBef>
              <a:spcAft>
                <a:spcPct val="0"/>
              </a:spcAft>
            </a:pPr>
            <a:r>
              <a:rPr lang="en-US" altLang="en-US" sz="1400" b="1" spc="-75" dirty="0">
                <a:solidFill>
                  <a:schemeClr val="bg1"/>
                </a:solidFill>
                <a:latin typeface="Montserrat" panose="00000500000000000000" pitchFamily="50" charset="0"/>
              </a:rPr>
              <a:t>Philosophy</a:t>
            </a:r>
          </a:p>
        </p:txBody>
      </p:sp>
    </p:spTree>
    <p:extLst>
      <p:ext uri="{BB962C8B-B14F-4D97-AF65-F5344CB8AC3E}">
        <p14:creationId xmlns:p14="http://schemas.microsoft.com/office/powerpoint/2010/main" val="5017023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BF27E14E-48D7-4C23-8697-4BB795171DB4}"/>
              </a:ext>
            </a:extLst>
          </p:cNvPr>
          <p:cNvGrpSpPr/>
          <p:nvPr/>
        </p:nvGrpSpPr>
        <p:grpSpPr>
          <a:xfrm>
            <a:off x="900737" y="701660"/>
            <a:ext cx="5615192" cy="5454680"/>
            <a:chOff x="900737" y="701660"/>
            <a:chExt cx="5615192" cy="5454680"/>
          </a:xfrm>
        </p:grpSpPr>
        <p:sp>
          <p:nvSpPr>
            <p:cNvPr id="28" name="Freeform: Shape 27">
              <a:extLst>
                <a:ext uri="{FF2B5EF4-FFF2-40B4-BE49-F238E27FC236}">
                  <a16:creationId xmlns:a16="http://schemas.microsoft.com/office/drawing/2014/main" id="{82113A93-7736-4035-9233-27DFA20AD287}"/>
                </a:ext>
              </a:extLst>
            </p:cNvPr>
            <p:cNvSpPr/>
            <p:nvPr/>
          </p:nvSpPr>
          <p:spPr>
            <a:xfrm>
              <a:off x="2534723" y="701660"/>
              <a:ext cx="2346613" cy="2346614"/>
            </a:xfrm>
            <a:custGeom>
              <a:avLst/>
              <a:gdLst>
                <a:gd name="connsiteX0" fmla="*/ 1018130 w 2036257"/>
                <a:gd name="connsiteY0" fmla="*/ 0 h 2036258"/>
                <a:gd name="connsiteX1" fmla="*/ 2036257 w 2036257"/>
                <a:gd name="connsiteY1" fmla="*/ 1018127 h 2036258"/>
                <a:gd name="connsiteX2" fmla="*/ 1018130 w 2036257"/>
                <a:gd name="connsiteY2" fmla="*/ 2036258 h 2036258"/>
                <a:gd name="connsiteX3" fmla="*/ 0 w 2036257"/>
                <a:gd name="connsiteY3" fmla="*/ 1018127 h 2036258"/>
                <a:gd name="connsiteX4" fmla="*/ 1018130 w 2036257"/>
                <a:gd name="connsiteY4" fmla="*/ 0 h 2036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6257" h="2036258">
                  <a:moveTo>
                    <a:pt x="1018130" y="0"/>
                  </a:moveTo>
                  <a:cubicBezTo>
                    <a:pt x="1580425" y="0"/>
                    <a:pt x="2036257" y="455832"/>
                    <a:pt x="2036257" y="1018127"/>
                  </a:cubicBezTo>
                  <a:cubicBezTo>
                    <a:pt x="2036257" y="1580426"/>
                    <a:pt x="1580425" y="2036258"/>
                    <a:pt x="1018130" y="2036258"/>
                  </a:cubicBezTo>
                  <a:cubicBezTo>
                    <a:pt x="455832" y="2036258"/>
                    <a:pt x="0" y="1580426"/>
                    <a:pt x="0" y="1018127"/>
                  </a:cubicBezTo>
                  <a:cubicBezTo>
                    <a:pt x="0" y="455832"/>
                    <a:pt x="455832" y="0"/>
                    <a:pt x="1018130" y="0"/>
                  </a:cubicBezTo>
                  <a:close/>
                </a:path>
              </a:pathLst>
            </a:custGeom>
            <a:gradFill>
              <a:gsLst>
                <a:gs pos="100000">
                  <a:schemeClr val="accent1">
                    <a:alpha val="50000"/>
                  </a:schemeClr>
                </a:gs>
                <a:gs pos="0">
                  <a:schemeClr val="accent1"/>
                </a:gs>
              </a:gsLst>
              <a:lin ang="16200000" scaled="1"/>
            </a:gradFill>
            <a:ln w="3943" cap="flat">
              <a:noFill/>
              <a:prstDash val="solid"/>
              <a:round/>
            </a:ln>
          </p:spPr>
          <p:txBody>
            <a:bodyPr wrap="square" rtlCol="0" anchor="ctr">
              <a:noAutofit/>
            </a:bodyPr>
            <a:lstStyle/>
            <a:p>
              <a:endParaRPr lang="en-US"/>
            </a:p>
          </p:txBody>
        </p:sp>
        <p:sp>
          <p:nvSpPr>
            <p:cNvPr id="29" name="Freeform: Shape 28">
              <a:extLst>
                <a:ext uri="{FF2B5EF4-FFF2-40B4-BE49-F238E27FC236}">
                  <a16:creationId xmlns:a16="http://schemas.microsoft.com/office/drawing/2014/main" id="{1A68CF94-0D6E-43E0-858F-BC7B2BB38F22}"/>
                </a:ext>
              </a:extLst>
            </p:cNvPr>
            <p:cNvSpPr/>
            <p:nvPr/>
          </p:nvSpPr>
          <p:spPr>
            <a:xfrm>
              <a:off x="900737" y="1888481"/>
              <a:ext cx="2347248" cy="2347247"/>
            </a:xfrm>
            <a:custGeom>
              <a:avLst/>
              <a:gdLst>
                <a:gd name="connsiteX0" fmla="*/ 1030936 w 2036806"/>
                <a:gd name="connsiteY0" fmla="*/ 81 h 2036808"/>
                <a:gd name="connsiteX1" fmla="*/ 1333022 w 2036806"/>
                <a:gd name="connsiteY1" fmla="*/ 50107 h 2036808"/>
                <a:gd name="connsiteX2" fmla="*/ 1986701 w 2036806"/>
                <a:gd name="connsiteY2" fmla="*/ 1333025 h 2036808"/>
                <a:gd name="connsiteX3" fmla="*/ 703785 w 2036806"/>
                <a:gd name="connsiteY3" fmla="*/ 1986704 h 2036808"/>
                <a:gd name="connsiteX4" fmla="*/ 50106 w 2036806"/>
                <a:gd name="connsiteY4" fmla="*/ 703786 h 2036808"/>
                <a:gd name="connsiteX5" fmla="*/ 1030936 w 2036806"/>
                <a:gd name="connsiteY5" fmla="*/ 81 h 2036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6806" h="2036808">
                  <a:moveTo>
                    <a:pt x="1030936" y="81"/>
                  </a:moveTo>
                  <a:cubicBezTo>
                    <a:pt x="1131089" y="1345"/>
                    <a:pt x="1232752" y="17527"/>
                    <a:pt x="1333022" y="50107"/>
                  </a:cubicBezTo>
                  <a:cubicBezTo>
                    <a:pt x="1867797" y="223868"/>
                    <a:pt x="2160461" y="798247"/>
                    <a:pt x="1986701" y="1333025"/>
                  </a:cubicBezTo>
                  <a:cubicBezTo>
                    <a:pt x="1812941" y="1867802"/>
                    <a:pt x="1238559" y="2160461"/>
                    <a:pt x="703785" y="1986704"/>
                  </a:cubicBezTo>
                  <a:cubicBezTo>
                    <a:pt x="169010" y="1812943"/>
                    <a:pt x="-123654" y="1238561"/>
                    <a:pt x="50106" y="703786"/>
                  </a:cubicBezTo>
                  <a:cubicBezTo>
                    <a:pt x="191286" y="269279"/>
                    <a:pt x="596939" y="-5393"/>
                    <a:pt x="1030936" y="81"/>
                  </a:cubicBezTo>
                  <a:close/>
                </a:path>
              </a:pathLst>
            </a:custGeom>
            <a:gradFill>
              <a:gsLst>
                <a:gs pos="100000">
                  <a:schemeClr val="tx2">
                    <a:lumMod val="70000"/>
                    <a:lumOff val="30000"/>
                    <a:alpha val="50000"/>
                  </a:schemeClr>
                </a:gs>
                <a:gs pos="0">
                  <a:schemeClr val="tx2">
                    <a:lumMod val="70000"/>
                    <a:lumOff val="30000"/>
                  </a:schemeClr>
                </a:gs>
              </a:gsLst>
              <a:lin ang="12000000" scaled="0"/>
            </a:gradFill>
            <a:ln w="3943" cap="flat">
              <a:noFill/>
              <a:prstDash val="solid"/>
              <a:round/>
            </a:ln>
          </p:spPr>
          <p:txBody>
            <a:bodyPr wrap="square" rtlCol="0" anchor="ctr">
              <a:noAutofit/>
            </a:bodyPr>
            <a:lstStyle/>
            <a:p>
              <a:endParaRPr lang="en-US"/>
            </a:p>
          </p:txBody>
        </p:sp>
        <p:sp>
          <p:nvSpPr>
            <p:cNvPr id="30" name="Freeform: Shape 29">
              <a:extLst>
                <a:ext uri="{FF2B5EF4-FFF2-40B4-BE49-F238E27FC236}">
                  <a16:creationId xmlns:a16="http://schemas.microsoft.com/office/drawing/2014/main" id="{D10FFAC8-605E-462A-8620-47B4D9BDBAAA}"/>
                </a:ext>
              </a:extLst>
            </p:cNvPr>
            <p:cNvSpPr/>
            <p:nvPr/>
          </p:nvSpPr>
          <p:spPr>
            <a:xfrm>
              <a:off x="1525159" y="3809497"/>
              <a:ext cx="2346781" cy="2346783"/>
            </a:xfrm>
            <a:custGeom>
              <a:avLst/>
              <a:gdLst>
                <a:gd name="connsiteX0" fmla="*/ 1053908 w 2036401"/>
                <a:gd name="connsiteY0" fmla="*/ 596 h 2036402"/>
                <a:gd name="connsiteX1" fmla="*/ 1616641 w 2036401"/>
                <a:gd name="connsiteY1" fmla="*/ 194517 h 2036402"/>
                <a:gd name="connsiteX2" fmla="*/ 1841885 w 2036401"/>
                <a:gd name="connsiteY2" fmla="*/ 1616641 h 2036402"/>
                <a:gd name="connsiteX3" fmla="*/ 419761 w 2036401"/>
                <a:gd name="connsiteY3" fmla="*/ 1841885 h 2036402"/>
                <a:gd name="connsiteX4" fmla="*/ 194517 w 2036401"/>
                <a:gd name="connsiteY4" fmla="*/ 419761 h 2036402"/>
                <a:gd name="connsiteX5" fmla="*/ 1053908 w 2036401"/>
                <a:gd name="connsiteY5" fmla="*/ 596 h 203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6401" h="2036402">
                  <a:moveTo>
                    <a:pt x="1053908" y="596"/>
                  </a:moveTo>
                  <a:cubicBezTo>
                    <a:pt x="1249896" y="7294"/>
                    <a:pt x="1446051" y="70576"/>
                    <a:pt x="1616641" y="194517"/>
                  </a:cubicBezTo>
                  <a:cubicBezTo>
                    <a:pt x="2071550" y="525027"/>
                    <a:pt x="2172394" y="1161735"/>
                    <a:pt x="1841885" y="1616641"/>
                  </a:cubicBezTo>
                  <a:cubicBezTo>
                    <a:pt x="1511375" y="2071551"/>
                    <a:pt x="874671" y="2172395"/>
                    <a:pt x="419761" y="1841885"/>
                  </a:cubicBezTo>
                  <a:cubicBezTo>
                    <a:pt x="-35148" y="1511375"/>
                    <a:pt x="-135992" y="874671"/>
                    <a:pt x="194517" y="419761"/>
                  </a:cubicBezTo>
                  <a:cubicBezTo>
                    <a:pt x="401086" y="135445"/>
                    <a:pt x="727263" y="-10568"/>
                    <a:pt x="1053908" y="596"/>
                  </a:cubicBezTo>
                  <a:close/>
                </a:path>
              </a:pathLst>
            </a:custGeom>
            <a:gradFill>
              <a:gsLst>
                <a:gs pos="100000">
                  <a:schemeClr val="accent4">
                    <a:alpha val="50000"/>
                  </a:schemeClr>
                </a:gs>
                <a:gs pos="0">
                  <a:schemeClr val="accent4">
                    <a:lumMod val="75000"/>
                  </a:schemeClr>
                </a:gs>
              </a:gsLst>
              <a:lin ang="7800000" scaled="0"/>
            </a:gradFill>
            <a:ln w="3943" cap="flat">
              <a:noFill/>
              <a:prstDash val="solid"/>
              <a:round/>
            </a:ln>
          </p:spPr>
          <p:txBody>
            <a:bodyPr wrap="square" rtlCol="0" anchor="ctr">
              <a:noAutofit/>
            </a:bodyPr>
            <a:lstStyle/>
            <a:p>
              <a:endParaRPr lang="en-US"/>
            </a:p>
          </p:txBody>
        </p:sp>
        <p:sp>
          <p:nvSpPr>
            <p:cNvPr id="26" name="Freeform: Shape 25">
              <a:extLst>
                <a:ext uri="{FF2B5EF4-FFF2-40B4-BE49-F238E27FC236}">
                  <a16:creationId xmlns:a16="http://schemas.microsoft.com/office/drawing/2014/main" id="{8015188D-F5B0-4AA6-A39B-95E6AE4B6C17}"/>
                </a:ext>
              </a:extLst>
            </p:cNvPr>
            <p:cNvSpPr/>
            <p:nvPr/>
          </p:nvSpPr>
          <p:spPr>
            <a:xfrm>
              <a:off x="3544624" y="3809560"/>
              <a:ext cx="2346781" cy="2346780"/>
            </a:xfrm>
            <a:custGeom>
              <a:avLst/>
              <a:gdLst>
                <a:gd name="connsiteX0" fmla="*/ 982495 w 2036402"/>
                <a:gd name="connsiteY0" fmla="*/ 596 h 2036402"/>
                <a:gd name="connsiteX1" fmla="*/ 1841885 w 2036402"/>
                <a:gd name="connsiteY1" fmla="*/ 419761 h 2036402"/>
                <a:gd name="connsiteX2" fmla="*/ 1616641 w 2036402"/>
                <a:gd name="connsiteY2" fmla="*/ 1841885 h 2036402"/>
                <a:gd name="connsiteX3" fmla="*/ 194517 w 2036402"/>
                <a:gd name="connsiteY3" fmla="*/ 1616644 h 2036402"/>
                <a:gd name="connsiteX4" fmla="*/ 419761 w 2036402"/>
                <a:gd name="connsiteY4" fmla="*/ 194517 h 2036402"/>
                <a:gd name="connsiteX5" fmla="*/ 982495 w 2036402"/>
                <a:gd name="connsiteY5" fmla="*/ 596 h 203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6402" h="2036402">
                  <a:moveTo>
                    <a:pt x="982495" y="596"/>
                  </a:moveTo>
                  <a:cubicBezTo>
                    <a:pt x="1309140" y="-10568"/>
                    <a:pt x="1635316" y="135445"/>
                    <a:pt x="1841885" y="419761"/>
                  </a:cubicBezTo>
                  <a:cubicBezTo>
                    <a:pt x="2172395" y="874671"/>
                    <a:pt x="2071551" y="1511375"/>
                    <a:pt x="1616641" y="1841885"/>
                  </a:cubicBezTo>
                  <a:cubicBezTo>
                    <a:pt x="1161735" y="2172395"/>
                    <a:pt x="525027" y="2071551"/>
                    <a:pt x="194517" y="1616644"/>
                  </a:cubicBezTo>
                  <a:cubicBezTo>
                    <a:pt x="-135992" y="1161735"/>
                    <a:pt x="-35148" y="525027"/>
                    <a:pt x="419761" y="194517"/>
                  </a:cubicBezTo>
                  <a:cubicBezTo>
                    <a:pt x="590352" y="70576"/>
                    <a:pt x="786508" y="7294"/>
                    <a:pt x="982495" y="596"/>
                  </a:cubicBezTo>
                  <a:close/>
                </a:path>
              </a:pathLst>
            </a:custGeom>
            <a:gradFill>
              <a:gsLst>
                <a:gs pos="100000">
                  <a:schemeClr val="accent2">
                    <a:lumMod val="75000"/>
                    <a:lumOff val="25000"/>
                  </a:schemeClr>
                </a:gs>
                <a:gs pos="0">
                  <a:schemeClr val="accent2">
                    <a:lumMod val="50000"/>
                    <a:lumOff val="50000"/>
                    <a:alpha val="50000"/>
                  </a:schemeClr>
                </a:gs>
              </a:gsLst>
              <a:lin ang="13800000" scaled="0"/>
            </a:gradFill>
            <a:ln w="3943" cap="flat">
              <a:noFill/>
              <a:prstDash val="solid"/>
              <a:round/>
            </a:ln>
          </p:spPr>
          <p:txBody>
            <a:bodyPr wrap="square" rtlCol="0" anchor="ctr">
              <a:noAutofit/>
            </a:bodyPr>
            <a:lstStyle/>
            <a:p>
              <a:endParaRPr lang="en-US"/>
            </a:p>
          </p:txBody>
        </p:sp>
        <p:sp>
          <p:nvSpPr>
            <p:cNvPr id="27" name="Freeform: Shape 26">
              <a:extLst>
                <a:ext uri="{FF2B5EF4-FFF2-40B4-BE49-F238E27FC236}">
                  <a16:creationId xmlns:a16="http://schemas.microsoft.com/office/drawing/2014/main" id="{CE8808DE-0CE9-4107-89E6-1329E6E7A6B4}"/>
                </a:ext>
              </a:extLst>
            </p:cNvPr>
            <p:cNvSpPr/>
            <p:nvPr/>
          </p:nvSpPr>
          <p:spPr>
            <a:xfrm>
              <a:off x="4168681" y="1888376"/>
              <a:ext cx="2347248" cy="2347247"/>
            </a:xfrm>
            <a:custGeom>
              <a:avLst/>
              <a:gdLst>
                <a:gd name="connsiteX0" fmla="*/ 1005872 w 2036807"/>
                <a:gd name="connsiteY0" fmla="*/ 81 h 2036807"/>
                <a:gd name="connsiteX1" fmla="*/ 1986702 w 2036807"/>
                <a:gd name="connsiteY1" fmla="*/ 703784 h 2036807"/>
                <a:gd name="connsiteX2" fmla="*/ 1333023 w 2036807"/>
                <a:gd name="connsiteY2" fmla="*/ 1986702 h 2036807"/>
                <a:gd name="connsiteX3" fmla="*/ 50107 w 2036807"/>
                <a:gd name="connsiteY3" fmla="*/ 1333023 h 2036807"/>
                <a:gd name="connsiteX4" fmla="*/ 703786 w 2036807"/>
                <a:gd name="connsiteY4" fmla="*/ 50105 h 2036807"/>
                <a:gd name="connsiteX5" fmla="*/ 1005872 w 2036807"/>
                <a:gd name="connsiteY5" fmla="*/ 81 h 203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6807" h="2036807">
                  <a:moveTo>
                    <a:pt x="1005872" y="81"/>
                  </a:moveTo>
                  <a:cubicBezTo>
                    <a:pt x="1439869" y="-5392"/>
                    <a:pt x="1845522" y="269280"/>
                    <a:pt x="1986702" y="703784"/>
                  </a:cubicBezTo>
                  <a:cubicBezTo>
                    <a:pt x="2160462" y="1238562"/>
                    <a:pt x="1867798" y="1812941"/>
                    <a:pt x="1333023" y="1986702"/>
                  </a:cubicBezTo>
                  <a:cubicBezTo>
                    <a:pt x="798249" y="2160462"/>
                    <a:pt x="223867" y="1867800"/>
                    <a:pt x="50107" y="1333023"/>
                  </a:cubicBezTo>
                  <a:cubicBezTo>
                    <a:pt x="-123654" y="798248"/>
                    <a:pt x="169011" y="223866"/>
                    <a:pt x="703786" y="50105"/>
                  </a:cubicBezTo>
                  <a:cubicBezTo>
                    <a:pt x="804056" y="17526"/>
                    <a:pt x="905719" y="1344"/>
                    <a:pt x="1005872" y="81"/>
                  </a:cubicBezTo>
                  <a:close/>
                </a:path>
              </a:pathLst>
            </a:custGeom>
            <a:gradFill>
              <a:gsLst>
                <a:gs pos="100000">
                  <a:schemeClr val="accent3"/>
                </a:gs>
                <a:gs pos="0">
                  <a:schemeClr val="accent3">
                    <a:alpha val="50000"/>
                  </a:schemeClr>
                </a:gs>
              </a:gsLst>
              <a:lin ang="9600000" scaled="0"/>
            </a:gradFill>
            <a:ln w="3943" cap="flat">
              <a:noFill/>
              <a:prstDash val="solid"/>
              <a:round/>
            </a:ln>
          </p:spPr>
          <p:txBody>
            <a:bodyPr wrap="square" rtlCol="0" anchor="ctr">
              <a:noAutofit/>
            </a:bodyPr>
            <a:lstStyle/>
            <a:p>
              <a:endParaRPr lang="en-US"/>
            </a:p>
          </p:txBody>
        </p:sp>
        <p:sp>
          <p:nvSpPr>
            <p:cNvPr id="74" name="Freeform: Shape 73">
              <a:extLst>
                <a:ext uri="{FF2B5EF4-FFF2-40B4-BE49-F238E27FC236}">
                  <a16:creationId xmlns:a16="http://schemas.microsoft.com/office/drawing/2014/main" id="{2761D27F-2D17-402F-BC59-3F850F8F5ED7}"/>
                </a:ext>
              </a:extLst>
            </p:cNvPr>
            <p:cNvSpPr/>
            <p:nvPr/>
          </p:nvSpPr>
          <p:spPr>
            <a:xfrm>
              <a:off x="2953240" y="2948836"/>
              <a:ext cx="1511377" cy="1434223"/>
            </a:xfrm>
            <a:custGeom>
              <a:avLst/>
              <a:gdLst>
                <a:gd name="connsiteX0" fmla="*/ 1221683 w 1511377"/>
                <a:gd name="connsiteY0" fmla="*/ 0 h 1434223"/>
                <a:gd name="connsiteX1" fmla="*/ 1220286 w 1511377"/>
                <a:gd name="connsiteY1" fmla="*/ 10307 h 1434223"/>
                <a:gd name="connsiteX2" fmla="*/ 1273724 w 1511377"/>
                <a:gd name="connsiteY2" fmla="*/ 473151 h 1434223"/>
                <a:gd name="connsiteX3" fmla="*/ 1502546 w 1511377"/>
                <a:gd name="connsiteY3" fmla="*/ 879010 h 1434223"/>
                <a:gd name="connsiteX4" fmla="*/ 1511377 w 1511377"/>
                <a:gd name="connsiteY4" fmla="*/ 888244 h 1434223"/>
                <a:gd name="connsiteX5" fmla="*/ 1388939 w 1511377"/>
                <a:gd name="connsiteY5" fmla="*/ 919898 h 1434223"/>
                <a:gd name="connsiteX6" fmla="*/ 1075662 w 1511377"/>
                <a:gd name="connsiteY6" fmla="*/ 1082303 h 1434223"/>
                <a:gd name="connsiteX7" fmla="*/ 760376 w 1511377"/>
                <a:gd name="connsiteY7" fmla="*/ 1425342 h 1434223"/>
                <a:gd name="connsiteX8" fmla="*/ 755598 w 1511377"/>
                <a:gd name="connsiteY8" fmla="*/ 1434223 h 1434223"/>
                <a:gd name="connsiteX9" fmla="*/ 750787 w 1511377"/>
                <a:gd name="connsiteY9" fmla="*/ 1425280 h 1434223"/>
                <a:gd name="connsiteX10" fmla="*/ 435501 w 1511377"/>
                <a:gd name="connsiteY10" fmla="*/ 1082240 h 1434223"/>
                <a:gd name="connsiteX11" fmla="*/ 122226 w 1511377"/>
                <a:gd name="connsiteY11" fmla="*/ 919835 h 1434223"/>
                <a:gd name="connsiteX12" fmla="*/ 0 w 1511377"/>
                <a:gd name="connsiteY12" fmla="*/ 888236 h 1434223"/>
                <a:gd name="connsiteX13" fmla="*/ 8721 w 1511377"/>
                <a:gd name="connsiteY13" fmla="*/ 879116 h 1434223"/>
                <a:gd name="connsiteX14" fmla="*/ 237542 w 1511377"/>
                <a:gd name="connsiteY14" fmla="*/ 473257 h 1434223"/>
                <a:gd name="connsiteX15" fmla="*/ 290980 w 1511377"/>
                <a:gd name="connsiteY15" fmla="*/ 10412 h 1434223"/>
                <a:gd name="connsiteX16" fmla="*/ 289610 w 1511377"/>
                <a:gd name="connsiteY16" fmla="*/ 306 h 1434223"/>
                <a:gd name="connsiteX17" fmla="*/ 298626 w 1511377"/>
                <a:gd name="connsiteY17" fmla="*/ 4649 h 1434223"/>
                <a:gd name="connsiteX18" fmla="*/ 755330 w 1511377"/>
                <a:gd name="connsiteY18" fmla="*/ 96853 h 1434223"/>
                <a:gd name="connsiteX19" fmla="*/ 1212033 w 1511377"/>
                <a:gd name="connsiteY19" fmla="*/ 4649 h 1434223"/>
                <a:gd name="connsiteX20" fmla="*/ 1221683 w 1511377"/>
                <a:gd name="connsiteY20" fmla="*/ 0 h 143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11377" h="1434223">
                  <a:moveTo>
                    <a:pt x="1221683" y="0"/>
                  </a:moveTo>
                  <a:lnTo>
                    <a:pt x="1220286" y="10307"/>
                  </a:lnTo>
                  <a:cubicBezTo>
                    <a:pt x="1207196" y="162157"/>
                    <a:pt x="1223663" y="319080"/>
                    <a:pt x="1273724" y="473151"/>
                  </a:cubicBezTo>
                  <a:cubicBezTo>
                    <a:pt x="1323785" y="627222"/>
                    <a:pt x="1402701" y="763855"/>
                    <a:pt x="1502546" y="879010"/>
                  </a:cubicBezTo>
                  <a:lnTo>
                    <a:pt x="1511377" y="888244"/>
                  </a:lnTo>
                  <a:lnTo>
                    <a:pt x="1388939" y="919898"/>
                  </a:lnTo>
                  <a:cubicBezTo>
                    <a:pt x="1279619" y="956948"/>
                    <a:pt x="1173958" y="1010888"/>
                    <a:pt x="1075662" y="1082303"/>
                  </a:cubicBezTo>
                  <a:cubicBezTo>
                    <a:pt x="944601" y="1177524"/>
                    <a:pt x="839042" y="1294800"/>
                    <a:pt x="760376" y="1425342"/>
                  </a:cubicBezTo>
                  <a:lnTo>
                    <a:pt x="755598" y="1434223"/>
                  </a:lnTo>
                  <a:lnTo>
                    <a:pt x="750787" y="1425280"/>
                  </a:lnTo>
                  <a:cubicBezTo>
                    <a:pt x="672121" y="1294737"/>
                    <a:pt x="566562" y="1177462"/>
                    <a:pt x="435501" y="1082240"/>
                  </a:cubicBezTo>
                  <a:cubicBezTo>
                    <a:pt x="337205" y="1010825"/>
                    <a:pt x="231545" y="956885"/>
                    <a:pt x="122226" y="919835"/>
                  </a:cubicBezTo>
                  <a:lnTo>
                    <a:pt x="0" y="888236"/>
                  </a:lnTo>
                  <a:lnTo>
                    <a:pt x="8721" y="879116"/>
                  </a:lnTo>
                  <a:cubicBezTo>
                    <a:pt x="108565" y="763961"/>
                    <a:pt x="187481" y="627328"/>
                    <a:pt x="237542" y="473257"/>
                  </a:cubicBezTo>
                  <a:cubicBezTo>
                    <a:pt x="287603" y="319186"/>
                    <a:pt x="304069" y="162262"/>
                    <a:pt x="290980" y="10412"/>
                  </a:cubicBezTo>
                  <a:lnTo>
                    <a:pt x="289610" y="306"/>
                  </a:lnTo>
                  <a:lnTo>
                    <a:pt x="298626" y="4649"/>
                  </a:lnTo>
                  <a:cubicBezTo>
                    <a:pt x="438998" y="64021"/>
                    <a:pt x="593330" y="96853"/>
                    <a:pt x="755330" y="96853"/>
                  </a:cubicBezTo>
                  <a:cubicBezTo>
                    <a:pt x="917329" y="96853"/>
                    <a:pt x="1071660" y="64021"/>
                    <a:pt x="1212033" y="4649"/>
                  </a:cubicBezTo>
                  <a:lnTo>
                    <a:pt x="1221683" y="0"/>
                  </a:lnTo>
                  <a:close/>
                </a:path>
              </a:pathLst>
            </a:custGeom>
            <a:solidFill>
              <a:schemeClr val="tx2"/>
            </a:solidFill>
            <a:ln w="25400" cap="flat">
              <a:solidFill>
                <a:schemeClr val="bg1"/>
              </a:solidFill>
              <a:prstDash val="solid"/>
              <a:miter lim="800000"/>
            </a:ln>
          </p:spPr>
          <p:txBody>
            <a:bodyPr wrap="square" bIns="182880" rtlCol="0" anchor="ctr">
              <a:noAutofit/>
            </a:bodyPr>
            <a:lstStyle/>
            <a:p>
              <a:pPr algn="ctr"/>
              <a:r>
                <a:rPr lang="en-US" sz="1200" b="1" dirty="0">
                  <a:solidFill>
                    <a:schemeClr val="bg1"/>
                  </a:solidFill>
                  <a:latin typeface="Montserrat" panose="00000500000000000000" pitchFamily="50" charset="0"/>
                </a:rPr>
                <a:t>OUR PHILOSOPHY</a:t>
              </a:r>
            </a:p>
          </p:txBody>
        </p:sp>
        <p:grpSp>
          <p:nvGrpSpPr>
            <p:cNvPr id="7" name="Group 6">
              <a:extLst>
                <a:ext uri="{FF2B5EF4-FFF2-40B4-BE49-F238E27FC236}">
                  <a16:creationId xmlns:a16="http://schemas.microsoft.com/office/drawing/2014/main" id="{A95335D5-710A-40A8-981D-2F49AD2AA2AC}"/>
                </a:ext>
              </a:extLst>
            </p:cNvPr>
            <p:cNvGrpSpPr/>
            <p:nvPr/>
          </p:nvGrpSpPr>
          <p:grpSpPr>
            <a:xfrm>
              <a:off x="2023711" y="1701800"/>
              <a:ext cx="3544534" cy="4289026"/>
              <a:chOff x="1988349" y="1638840"/>
              <a:chExt cx="3349954" cy="4053578"/>
            </a:xfrm>
          </p:grpSpPr>
          <p:sp>
            <p:nvSpPr>
              <p:cNvPr id="131" name="TextBox 130">
                <a:extLst>
                  <a:ext uri="{FF2B5EF4-FFF2-40B4-BE49-F238E27FC236}">
                    <a16:creationId xmlns:a16="http://schemas.microsoft.com/office/drawing/2014/main" id="{F24D3B00-AB22-4918-B5B0-DD7FDE46F80F}"/>
                  </a:ext>
                </a:extLst>
              </p:cNvPr>
              <p:cNvSpPr txBox="1"/>
              <p:nvPr/>
            </p:nvSpPr>
            <p:spPr>
              <a:xfrm rot="18900000">
                <a:off x="2988652" y="3794206"/>
                <a:ext cx="2349651" cy="1161661"/>
              </a:xfrm>
              <a:prstGeom prst="rect">
                <a:avLst/>
              </a:prstGeom>
              <a:noFill/>
            </p:spPr>
            <p:txBody>
              <a:bodyPr wrap="none" rtlCol="0">
                <a:prstTxWarp prst="textArchDown">
                  <a:avLst>
                    <a:gd name="adj" fmla="val 16952346"/>
                  </a:avLst>
                </a:prstTxWarp>
                <a:spAutoFit/>
              </a:bodyPr>
              <a:lstStyle/>
              <a:p>
                <a:pPr algn="ctr"/>
                <a:r>
                  <a:rPr lang="en-US" sz="1500" b="1" dirty="0">
                    <a:solidFill>
                      <a:schemeClr val="bg1"/>
                    </a:solidFill>
                    <a:latin typeface="Montserrat" panose="00000500000000000000" pitchFamily="50" charset="0"/>
                  </a:rPr>
                  <a:t>What</a:t>
                </a:r>
              </a:p>
              <a:p>
                <a:pPr algn="ctr"/>
                <a:r>
                  <a:rPr lang="en-US" sz="1500" b="1" dirty="0">
                    <a:solidFill>
                      <a:schemeClr val="bg1"/>
                    </a:solidFill>
                    <a:latin typeface="Montserrat" panose="00000500000000000000" pitchFamily="50" charset="0"/>
                  </a:rPr>
                  <a:t>You Need</a:t>
                </a:r>
              </a:p>
            </p:txBody>
          </p:sp>
          <p:sp>
            <p:nvSpPr>
              <p:cNvPr id="132" name="TextBox 131">
                <a:extLst>
                  <a:ext uri="{FF2B5EF4-FFF2-40B4-BE49-F238E27FC236}">
                    <a16:creationId xmlns:a16="http://schemas.microsoft.com/office/drawing/2014/main" id="{7C16FC92-96A2-475A-9B14-2F6CA1A99373}"/>
                  </a:ext>
                </a:extLst>
              </p:cNvPr>
              <p:cNvSpPr txBox="1"/>
              <p:nvPr/>
            </p:nvSpPr>
            <p:spPr>
              <a:xfrm rot="16200000">
                <a:off x="2967959" y="1076414"/>
                <a:ext cx="1228750" cy="2353602"/>
              </a:xfrm>
              <a:prstGeom prst="rect">
                <a:avLst/>
              </a:prstGeom>
              <a:noFill/>
            </p:spPr>
            <p:txBody>
              <a:bodyPr wrap="none" lIns="91440" tIns="0" rIns="91440" bIns="0" rtlCol="0" anchor="ctr" anchorCtr="0">
                <a:prstTxWarp prst="textCircle">
                  <a:avLst>
                    <a:gd name="adj" fmla="val 16835691"/>
                  </a:avLst>
                </a:prstTxWarp>
                <a:spAutoFit/>
              </a:bodyPr>
              <a:lstStyle/>
              <a:p>
                <a:pPr algn="ctr"/>
                <a:r>
                  <a:rPr lang="en-US" sz="1500" b="1" dirty="0">
                    <a:solidFill>
                      <a:schemeClr val="bg1"/>
                    </a:solidFill>
                    <a:latin typeface="Montserrat" panose="00000500000000000000" pitchFamily="50" charset="0"/>
                  </a:rPr>
                  <a:t>What</a:t>
                </a:r>
              </a:p>
              <a:p>
                <a:pPr algn="ctr"/>
                <a:r>
                  <a:rPr lang="en-US" sz="1500" b="1" dirty="0">
                    <a:solidFill>
                      <a:schemeClr val="bg1"/>
                    </a:solidFill>
                    <a:latin typeface="Montserrat" panose="00000500000000000000" pitchFamily="50" charset="0"/>
                  </a:rPr>
                  <a:t>You Crave</a:t>
                </a:r>
              </a:p>
            </p:txBody>
          </p:sp>
          <p:sp>
            <p:nvSpPr>
              <p:cNvPr id="133" name="TextBox 132">
                <a:extLst>
                  <a:ext uri="{FF2B5EF4-FFF2-40B4-BE49-F238E27FC236}">
                    <a16:creationId xmlns:a16="http://schemas.microsoft.com/office/drawing/2014/main" id="{72071D15-A648-4C6D-B090-7115AEFDB784}"/>
                  </a:ext>
                </a:extLst>
              </p:cNvPr>
              <p:cNvSpPr txBox="1"/>
              <p:nvPr/>
            </p:nvSpPr>
            <p:spPr>
              <a:xfrm rot="20204818">
                <a:off x="4101911" y="1949192"/>
                <a:ext cx="1144086" cy="2332890"/>
              </a:xfrm>
              <a:prstGeom prst="rect">
                <a:avLst/>
              </a:prstGeom>
              <a:noFill/>
            </p:spPr>
            <p:txBody>
              <a:bodyPr wrap="none" rtlCol="0">
                <a:prstTxWarp prst="textCircle">
                  <a:avLst>
                    <a:gd name="adj" fmla="val 16633070"/>
                  </a:avLst>
                </a:prstTxWarp>
                <a:spAutoFit/>
              </a:bodyPr>
              <a:lstStyle/>
              <a:p>
                <a:pPr algn="ctr"/>
                <a:r>
                  <a:rPr lang="en-US" sz="1500" b="1" dirty="0">
                    <a:solidFill>
                      <a:schemeClr val="bg1"/>
                    </a:solidFill>
                    <a:latin typeface="Montserrat" panose="00000500000000000000" pitchFamily="50" charset="0"/>
                  </a:rPr>
                  <a:t>What</a:t>
                </a:r>
              </a:p>
              <a:p>
                <a:pPr algn="ctr"/>
                <a:r>
                  <a:rPr lang="en-US" sz="1500" b="1" dirty="0">
                    <a:solidFill>
                      <a:schemeClr val="bg1"/>
                    </a:solidFill>
                    <a:latin typeface="Montserrat" panose="00000500000000000000" pitchFamily="50" charset="0"/>
                  </a:rPr>
                  <a:t>You Love</a:t>
                </a:r>
              </a:p>
            </p:txBody>
          </p:sp>
          <p:sp>
            <p:nvSpPr>
              <p:cNvPr id="134" name="TextBox 133">
                <a:extLst>
                  <a:ext uri="{FF2B5EF4-FFF2-40B4-BE49-F238E27FC236}">
                    <a16:creationId xmlns:a16="http://schemas.microsoft.com/office/drawing/2014/main" id="{F18F564E-7FEB-4F8B-AC00-BD0CE75EECE8}"/>
                  </a:ext>
                </a:extLst>
              </p:cNvPr>
              <p:cNvSpPr txBox="1"/>
              <p:nvPr/>
            </p:nvSpPr>
            <p:spPr>
              <a:xfrm rot="2700000">
                <a:off x="1680113" y="4026705"/>
                <a:ext cx="2362088" cy="969337"/>
              </a:xfrm>
              <a:prstGeom prst="rect">
                <a:avLst/>
              </a:prstGeom>
              <a:noFill/>
            </p:spPr>
            <p:txBody>
              <a:bodyPr wrap="none" rtlCol="0">
                <a:prstTxWarp prst="textArchDown">
                  <a:avLst>
                    <a:gd name="adj" fmla="val 19768406"/>
                  </a:avLst>
                </a:prstTxWarp>
                <a:spAutoFit/>
              </a:bodyPr>
              <a:lstStyle/>
              <a:p>
                <a:pPr algn="ctr"/>
                <a:r>
                  <a:rPr lang="en-US" sz="1500" b="1" dirty="0">
                    <a:solidFill>
                      <a:schemeClr val="bg1"/>
                    </a:solidFill>
                    <a:latin typeface="Montserrat" panose="00000500000000000000" pitchFamily="50" charset="0"/>
                  </a:rPr>
                  <a:t>What</a:t>
                </a:r>
              </a:p>
              <a:p>
                <a:pPr algn="ctr"/>
                <a:r>
                  <a:rPr lang="en-US" sz="1500" b="1" dirty="0">
                    <a:solidFill>
                      <a:schemeClr val="bg1"/>
                    </a:solidFill>
                    <a:latin typeface="Montserrat" panose="00000500000000000000" pitchFamily="50" charset="0"/>
                  </a:rPr>
                  <a:t>You Want</a:t>
                </a:r>
              </a:p>
            </p:txBody>
          </p:sp>
          <p:sp>
            <p:nvSpPr>
              <p:cNvPr id="135" name="TextBox 134">
                <a:extLst>
                  <a:ext uri="{FF2B5EF4-FFF2-40B4-BE49-F238E27FC236}">
                    <a16:creationId xmlns:a16="http://schemas.microsoft.com/office/drawing/2014/main" id="{CFFC73AF-886B-4B13-953C-3EB3ABDFD046}"/>
                  </a:ext>
                </a:extLst>
              </p:cNvPr>
              <p:cNvSpPr txBox="1"/>
              <p:nvPr/>
            </p:nvSpPr>
            <p:spPr>
              <a:xfrm rot="11883525">
                <a:off x="1988349" y="1871464"/>
                <a:ext cx="968242" cy="2333034"/>
              </a:xfrm>
              <a:prstGeom prst="rect">
                <a:avLst/>
              </a:prstGeom>
              <a:noFill/>
            </p:spPr>
            <p:txBody>
              <a:bodyPr wrap="none" rtlCol="0">
                <a:prstTxWarp prst="textCircle">
                  <a:avLst>
                    <a:gd name="adj" fmla="val 16594248"/>
                  </a:avLst>
                </a:prstTxWarp>
                <a:spAutoFit/>
              </a:bodyPr>
              <a:lstStyle/>
              <a:p>
                <a:pPr algn="ctr"/>
                <a:r>
                  <a:rPr lang="en-US" sz="1500" b="1" dirty="0">
                    <a:solidFill>
                      <a:schemeClr val="bg1"/>
                    </a:solidFill>
                    <a:latin typeface="Montserrat" panose="00000500000000000000" pitchFamily="50" charset="0"/>
                  </a:rPr>
                  <a:t>What</a:t>
                </a:r>
              </a:p>
              <a:p>
                <a:pPr algn="ctr"/>
                <a:r>
                  <a:rPr lang="en-US" sz="1500" b="1" dirty="0">
                    <a:solidFill>
                      <a:schemeClr val="bg1"/>
                    </a:solidFill>
                    <a:latin typeface="Montserrat" panose="00000500000000000000" pitchFamily="50" charset="0"/>
                  </a:rPr>
                  <a:t>You Obsess</a:t>
                </a:r>
              </a:p>
            </p:txBody>
          </p:sp>
        </p:grpSp>
        <p:grpSp>
          <p:nvGrpSpPr>
            <p:cNvPr id="6" name="Group 5">
              <a:extLst>
                <a:ext uri="{FF2B5EF4-FFF2-40B4-BE49-F238E27FC236}">
                  <a16:creationId xmlns:a16="http://schemas.microsoft.com/office/drawing/2014/main" id="{B35DF321-AADA-4E02-B1A7-6CFC5C9B6091}"/>
                </a:ext>
              </a:extLst>
            </p:cNvPr>
            <p:cNvGrpSpPr/>
            <p:nvPr/>
          </p:nvGrpSpPr>
          <p:grpSpPr>
            <a:xfrm>
              <a:off x="1820425" y="1985624"/>
              <a:ext cx="3775617" cy="3594105"/>
              <a:chOff x="8908434" y="-2576732"/>
              <a:chExt cx="3775617" cy="3594105"/>
            </a:xfrm>
            <a:solidFill>
              <a:schemeClr val="tx1">
                <a:alpha val="25000"/>
              </a:schemeClr>
            </a:solidFill>
          </p:grpSpPr>
          <p:sp>
            <p:nvSpPr>
              <p:cNvPr id="130" name="Freeform: Shape 129">
                <a:extLst>
                  <a:ext uri="{FF2B5EF4-FFF2-40B4-BE49-F238E27FC236}">
                    <a16:creationId xmlns:a16="http://schemas.microsoft.com/office/drawing/2014/main" id="{E60329C1-047A-425C-B013-493AD3CFD53F}"/>
                  </a:ext>
                </a:extLst>
              </p:cNvPr>
              <p:cNvSpPr/>
              <p:nvPr/>
            </p:nvSpPr>
            <p:spPr>
              <a:xfrm>
                <a:off x="9628322" y="-2576732"/>
                <a:ext cx="701997" cy="966043"/>
              </a:xfrm>
              <a:custGeom>
                <a:avLst/>
                <a:gdLst>
                  <a:gd name="connsiteX0" fmla="*/ 0 w 701997"/>
                  <a:gd name="connsiteY0" fmla="*/ 0 h 966043"/>
                  <a:gd name="connsiteX1" fmla="*/ 8839 w 701997"/>
                  <a:gd name="connsiteY1" fmla="*/ 3373 h 966043"/>
                  <a:gd name="connsiteX2" fmla="*/ 688072 w 701997"/>
                  <a:gd name="connsiteY2" fmla="*/ 863338 h 966043"/>
                  <a:gd name="connsiteX3" fmla="*/ 701997 w 701997"/>
                  <a:gd name="connsiteY3" fmla="*/ 966043 h 966043"/>
                  <a:gd name="connsiteX4" fmla="*/ 608449 w 701997"/>
                  <a:gd name="connsiteY4" fmla="*/ 920978 h 966043"/>
                  <a:gd name="connsiteX5" fmla="*/ 467 w 701997"/>
                  <a:gd name="connsiteY5" fmla="*/ 9245 h 966043"/>
                  <a:gd name="connsiteX6" fmla="*/ 0 w 701997"/>
                  <a:gd name="connsiteY6" fmla="*/ 0 h 966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1997" h="966043">
                    <a:moveTo>
                      <a:pt x="0" y="0"/>
                    </a:moveTo>
                    <a:lnTo>
                      <a:pt x="8839" y="3373"/>
                    </a:lnTo>
                    <a:cubicBezTo>
                      <a:pt x="371587" y="163357"/>
                      <a:pt x="619035" y="491297"/>
                      <a:pt x="688072" y="863338"/>
                    </a:cubicBezTo>
                    <a:lnTo>
                      <a:pt x="701997" y="966043"/>
                    </a:lnTo>
                    <a:lnTo>
                      <a:pt x="608449" y="920978"/>
                    </a:lnTo>
                    <a:cubicBezTo>
                      <a:pt x="275949" y="740353"/>
                      <a:pt x="40523" y="403677"/>
                      <a:pt x="467" y="9245"/>
                    </a:cubicBezTo>
                    <a:lnTo>
                      <a:pt x="0" y="0"/>
                    </a:lnTo>
                    <a:close/>
                  </a:path>
                </a:pathLst>
              </a:custGeom>
              <a:grpFill/>
              <a:ln w="25400" cap="flat">
                <a:solidFill>
                  <a:schemeClr val="bg1"/>
                </a:solidFill>
                <a:prstDash val="solid"/>
                <a:round/>
              </a:ln>
            </p:spPr>
            <p:txBody>
              <a:bodyPr wrap="square" rtlCol="0" anchor="ctr">
                <a:noAutofit/>
              </a:bodyPr>
              <a:lstStyle/>
              <a:p>
                <a:pPr algn="ctr"/>
                <a:r>
                  <a:rPr lang="en-US" sz="1200" b="1" dirty="0">
                    <a:solidFill>
                      <a:schemeClr val="bg1"/>
                    </a:solidFill>
                    <a:latin typeface="Montserrat" panose="00000500000000000000" pitchFamily="50" charset="0"/>
                  </a:rPr>
                  <a:t>5</a:t>
                </a:r>
              </a:p>
            </p:txBody>
          </p:sp>
          <p:sp>
            <p:nvSpPr>
              <p:cNvPr id="129" name="Freeform: Shape 128">
                <a:extLst>
                  <a:ext uri="{FF2B5EF4-FFF2-40B4-BE49-F238E27FC236}">
                    <a16:creationId xmlns:a16="http://schemas.microsoft.com/office/drawing/2014/main" id="{EAF581ED-F9D4-4AEB-B209-4D344DEC227C}"/>
                  </a:ext>
                </a:extLst>
              </p:cNvPr>
              <p:cNvSpPr/>
              <p:nvPr/>
            </p:nvSpPr>
            <p:spPr>
              <a:xfrm>
                <a:off x="11262392" y="-2576606"/>
                <a:ext cx="701354" cy="965610"/>
              </a:xfrm>
              <a:custGeom>
                <a:avLst/>
                <a:gdLst>
                  <a:gd name="connsiteX0" fmla="*/ 701354 w 701354"/>
                  <a:gd name="connsiteY0" fmla="*/ 0 h 965610"/>
                  <a:gd name="connsiteX1" fmla="*/ 700894 w 701354"/>
                  <a:gd name="connsiteY1" fmla="*/ 9118 h 965610"/>
                  <a:gd name="connsiteX2" fmla="*/ 92913 w 701354"/>
                  <a:gd name="connsiteY2" fmla="*/ 920851 h 965610"/>
                  <a:gd name="connsiteX3" fmla="*/ 0 w 701354"/>
                  <a:gd name="connsiteY3" fmla="*/ 965610 h 965610"/>
                  <a:gd name="connsiteX4" fmla="*/ 13898 w 701354"/>
                  <a:gd name="connsiteY4" fmla="*/ 863106 h 965610"/>
                  <a:gd name="connsiteX5" fmla="*/ 693131 w 701354"/>
                  <a:gd name="connsiteY5" fmla="*/ 3139 h 965610"/>
                  <a:gd name="connsiteX6" fmla="*/ 701354 w 701354"/>
                  <a:gd name="connsiteY6" fmla="*/ 0 h 965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1354" h="965610">
                    <a:moveTo>
                      <a:pt x="701354" y="0"/>
                    </a:moveTo>
                    <a:lnTo>
                      <a:pt x="700894" y="9118"/>
                    </a:lnTo>
                    <a:cubicBezTo>
                      <a:pt x="660838" y="403550"/>
                      <a:pt x="425412" y="740226"/>
                      <a:pt x="92913" y="920851"/>
                    </a:cubicBezTo>
                    <a:lnTo>
                      <a:pt x="0" y="965610"/>
                    </a:lnTo>
                    <a:lnTo>
                      <a:pt x="13898" y="863106"/>
                    </a:lnTo>
                    <a:cubicBezTo>
                      <a:pt x="82935" y="491064"/>
                      <a:pt x="330383" y="163122"/>
                      <a:pt x="693131" y="3139"/>
                    </a:cubicBezTo>
                    <a:lnTo>
                      <a:pt x="701354" y="0"/>
                    </a:lnTo>
                    <a:close/>
                  </a:path>
                </a:pathLst>
              </a:custGeom>
              <a:grpFill/>
              <a:ln w="25400" cap="flat">
                <a:solidFill>
                  <a:schemeClr val="bg1"/>
                </a:solidFill>
                <a:prstDash val="solid"/>
                <a:round/>
              </a:ln>
            </p:spPr>
            <p:txBody>
              <a:bodyPr wrap="square" rtlCol="0" anchor="ctr">
                <a:noAutofit/>
              </a:bodyPr>
              <a:lstStyle/>
              <a:p>
                <a:pPr algn="ctr"/>
                <a:r>
                  <a:rPr lang="en-US" sz="1200" b="1" dirty="0">
                    <a:solidFill>
                      <a:schemeClr val="bg1"/>
                    </a:solidFill>
                    <a:latin typeface="Montserrat" panose="00000500000000000000" pitchFamily="50" charset="0"/>
                  </a:rPr>
                  <a:t>1</a:t>
                </a:r>
              </a:p>
            </p:txBody>
          </p:sp>
          <p:sp>
            <p:nvSpPr>
              <p:cNvPr id="127" name="Freeform: Shape 126">
                <a:extLst>
                  <a:ext uri="{FF2B5EF4-FFF2-40B4-BE49-F238E27FC236}">
                    <a16:creationId xmlns:a16="http://schemas.microsoft.com/office/drawing/2014/main" id="{356E41B7-3240-4C24-B0CE-78C6DE7FCDF4}"/>
                  </a:ext>
                </a:extLst>
              </p:cNvPr>
              <p:cNvSpPr/>
              <p:nvPr/>
            </p:nvSpPr>
            <p:spPr>
              <a:xfrm>
                <a:off x="8908434" y="-752919"/>
                <a:ext cx="1132273" cy="426231"/>
              </a:xfrm>
              <a:custGeom>
                <a:avLst/>
                <a:gdLst>
                  <a:gd name="connsiteX0" fmla="*/ 919273 w 1132273"/>
                  <a:gd name="connsiteY0" fmla="*/ 687 h 426231"/>
                  <a:gd name="connsiteX1" fmla="*/ 1088241 w 1132273"/>
                  <a:gd name="connsiteY1" fmla="*/ 18776 h 426231"/>
                  <a:gd name="connsiteX2" fmla="*/ 1132273 w 1132273"/>
                  <a:gd name="connsiteY2" fmla="*/ 30160 h 426231"/>
                  <a:gd name="connsiteX3" fmla="*/ 1062312 w 1132273"/>
                  <a:gd name="connsiteY3" fmla="*/ 103315 h 426231"/>
                  <a:gd name="connsiteX4" fmla="*/ 7328 w 1132273"/>
                  <a:gd name="connsiteY4" fmla="*/ 399799 h 426231"/>
                  <a:gd name="connsiteX5" fmla="*/ 0 w 1132273"/>
                  <a:gd name="connsiteY5" fmla="*/ 397821 h 426231"/>
                  <a:gd name="connsiteX6" fmla="*/ 24361 w 1132273"/>
                  <a:gd name="connsiteY6" fmla="*/ 368384 h 426231"/>
                  <a:gd name="connsiteX7" fmla="*/ 919273 w 1132273"/>
                  <a:gd name="connsiteY7" fmla="*/ 687 h 426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2273" h="426231">
                    <a:moveTo>
                      <a:pt x="919273" y="687"/>
                    </a:moveTo>
                    <a:cubicBezTo>
                      <a:pt x="975738" y="2617"/>
                      <a:pt x="1032215" y="8622"/>
                      <a:pt x="1088241" y="18776"/>
                    </a:cubicBezTo>
                    <a:lnTo>
                      <a:pt x="1132273" y="30160"/>
                    </a:lnTo>
                    <a:lnTo>
                      <a:pt x="1062312" y="103315"/>
                    </a:lnTo>
                    <a:cubicBezTo>
                      <a:pt x="787779" y="363724"/>
                      <a:pt x="394832" y="483588"/>
                      <a:pt x="7328" y="399799"/>
                    </a:cubicBezTo>
                    <a:lnTo>
                      <a:pt x="0" y="397821"/>
                    </a:lnTo>
                    <a:lnTo>
                      <a:pt x="24361" y="368384"/>
                    </a:lnTo>
                    <a:cubicBezTo>
                      <a:pt x="260932" y="116852"/>
                      <a:pt x="589896" y="-10571"/>
                      <a:pt x="919273" y="687"/>
                    </a:cubicBezTo>
                    <a:close/>
                  </a:path>
                </a:pathLst>
              </a:custGeom>
              <a:grpFill/>
              <a:ln w="25400" cap="flat">
                <a:solidFill>
                  <a:schemeClr val="bg1"/>
                </a:solidFill>
                <a:prstDash val="solid"/>
                <a:round/>
              </a:ln>
            </p:spPr>
            <p:txBody>
              <a:bodyPr wrap="square" rtlCol="0" anchor="ctr">
                <a:noAutofit/>
              </a:bodyPr>
              <a:lstStyle/>
              <a:p>
                <a:pPr algn="ctr"/>
                <a:r>
                  <a:rPr lang="en-US" sz="1200" b="1" dirty="0">
                    <a:solidFill>
                      <a:schemeClr val="bg1"/>
                    </a:solidFill>
                    <a:latin typeface="Montserrat" panose="00000500000000000000" pitchFamily="50" charset="0"/>
                  </a:rPr>
                  <a:t>4</a:t>
                </a:r>
              </a:p>
            </p:txBody>
          </p:sp>
          <p:sp>
            <p:nvSpPr>
              <p:cNvPr id="126" name="Freeform: Shape 125">
                <a:extLst>
                  <a:ext uri="{FF2B5EF4-FFF2-40B4-BE49-F238E27FC236}">
                    <a16:creationId xmlns:a16="http://schemas.microsoft.com/office/drawing/2014/main" id="{CDBF205F-5ECB-4D75-B68C-82B10481F044}"/>
                  </a:ext>
                </a:extLst>
              </p:cNvPr>
              <p:cNvSpPr/>
              <p:nvPr/>
            </p:nvSpPr>
            <p:spPr>
              <a:xfrm>
                <a:off x="11552086" y="-752856"/>
                <a:ext cx="1131965" cy="426063"/>
              </a:xfrm>
              <a:custGeom>
                <a:avLst/>
                <a:gdLst>
                  <a:gd name="connsiteX0" fmla="*/ 212788 w 1131965"/>
                  <a:gd name="connsiteY0" fmla="*/ 687 h 426063"/>
                  <a:gd name="connsiteX1" fmla="*/ 1107699 w 1131965"/>
                  <a:gd name="connsiteY1" fmla="*/ 368384 h 426063"/>
                  <a:gd name="connsiteX2" fmla="*/ 1131965 w 1131965"/>
                  <a:gd name="connsiteY2" fmla="*/ 397706 h 426063"/>
                  <a:gd name="connsiteX3" fmla="*/ 1124835 w 1131965"/>
                  <a:gd name="connsiteY3" fmla="*/ 399631 h 426063"/>
                  <a:gd name="connsiteX4" fmla="*/ 69852 w 1131965"/>
                  <a:gd name="connsiteY4" fmla="*/ 103147 h 426063"/>
                  <a:gd name="connsiteX5" fmla="*/ 0 w 1131965"/>
                  <a:gd name="connsiteY5" fmla="*/ 30105 h 426063"/>
                  <a:gd name="connsiteX6" fmla="*/ 43821 w 1131965"/>
                  <a:gd name="connsiteY6" fmla="*/ 18776 h 426063"/>
                  <a:gd name="connsiteX7" fmla="*/ 212788 w 1131965"/>
                  <a:gd name="connsiteY7" fmla="*/ 687 h 426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1965" h="426063">
                    <a:moveTo>
                      <a:pt x="212788" y="687"/>
                    </a:moveTo>
                    <a:cubicBezTo>
                      <a:pt x="542165" y="-10571"/>
                      <a:pt x="871128" y="116852"/>
                      <a:pt x="1107699" y="368384"/>
                    </a:cubicBezTo>
                    <a:lnTo>
                      <a:pt x="1131965" y="397706"/>
                    </a:lnTo>
                    <a:lnTo>
                      <a:pt x="1124835" y="399631"/>
                    </a:lnTo>
                    <a:cubicBezTo>
                      <a:pt x="737332" y="483421"/>
                      <a:pt x="344385" y="363557"/>
                      <a:pt x="69852" y="103147"/>
                    </a:cubicBezTo>
                    <a:lnTo>
                      <a:pt x="0" y="30105"/>
                    </a:lnTo>
                    <a:lnTo>
                      <a:pt x="43821" y="18776"/>
                    </a:lnTo>
                    <a:cubicBezTo>
                      <a:pt x="99847" y="8622"/>
                      <a:pt x="156324" y="2617"/>
                      <a:pt x="212788" y="687"/>
                    </a:cubicBezTo>
                    <a:close/>
                  </a:path>
                </a:pathLst>
              </a:custGeom>
              <a:grpFill/>
              <a:ln w="25400" cap="flat">
                <a:solidFill>
                  <a:schemeClr val="bg1"/>
                </a:solidFill>
                <a:prstDash val="solid"/>
                <a:round/>
              </a:ln>
            </p:spPr>
            <p:txBody>
              <a:bodyPr wrap="square" rtlCol="0" anchor="ctr">
                <a:noAutofit/>
              </a:bodyPr>
              <a:lstStyle/>
              <a:p>
                <a:pPr algn="ctr"/>
                <a:r>
                  <a:rPr lang="en-US" sz="1200" b="1" dirty="0">
                    <a:solidFill>
                      <a:schemeClr val="bg1"/>
                    </a:solidFill>
                    <a:latin typeface="Montserrat" panose="00000500000000000000" pitchFamily="50" charset="0"/>
                  </a:rPr>
                  <a:t>2</a:t>
                </a:r>
              </a:p>
            </p:txBody>
          </p:sp>
          <p:sp>
            <p:nvSpPr>
              <p:cNvPr id="125" name="Freeform: Shape 124">
                <a:extLst>
                  <a:ext uri="{FF2B5EF4-FFF2-40B4-BE49-F238E27FC236}">
                    <a16:creationId xmlns:a16="http://schemas.microsoft.com/office/drawing/2014/main" id="{F12E5CF3-B7BA-4395-A179-7B1A76659E3C}"/>
                  </a:ext>
                </a:extLst>
              </p:cNvPr>
              <p:cNvSpPr/>
              <p:nvPr/>
            </p:nvSpPr>
            <p:spPr>
              <a:xfrm>
                <a:off x="10632632" y="-176773"/>
                <a:ext cx="327316" cy="1194146"/>
              </a:xfrm>
              <a:custGeom>
                <a:avLst/>
                <a:gdLst>
                  <a:gd name="connsiteX0" fmla="*/ 163675 w 327316"/>
                  <a:gd name="connsiteY0" fmla="*/ 0 h 1194146"/>
                  <a:gd name="connsiteX1" fmla="*/ 212799 w 327316"/>
                  <a:gd name="connsiteY1" fmla="*/ 91314 h 1194146"/>
                  <a:gd name="connsiteX2" fmla="*/ 168765 w 327316"/>
                  <a:gd name="connsiteY2" fmla="*/ 1186284 h 1194146"/>
                  <a:gd name="connsiteX3" fmla="*/ 163638 w 327316"/>
                  <a:gd name="connsiteY3" fmla="*/ 1194146 h 1194146"/>
                  <a:gd name="connsiteX4" fmla="*/ 158552 w 327316"/>
                  <a:gd name="connsiteY4" fmla="*/ 1186347 h 1194146"/>
                  <a:gd name="connsiteX5" fmla="*/ 114518 w 327316"/>
                  <a:gd name="connsiteY5" fmla="*/ 91376 h 1194146"/>
                  <a:gd name="connsiteX6" fmla="*/ 163675 w 327316"/>
                  <a:gd name="connsiteY6" fmla="*/ 0 h 1194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316" h="1194146">
                    <a:moveTo>
                      <a:pt x="163675" y="0"/>
                    </a:moveTo>
                    <a:lnTo>
                      <a:pt x="212799" y="91314"/>
                    </a:lnTo>
                    <a:cubicBezTo>
                      <a:pt x="375628" y="432881"/>
                      <a:pt x="368199" y="843638"/>
                      <a:pt x="168765" y="1186284"/>
                    </a:cubicBezTo>
                    <a:lnTo>
                      <a:pt x="163638" y="1194146"/>
                    </a:lnTo>
                    <a:lnTo>
                      <a:pt x="158552" y="1186347"/>
                    </a:lnTo>
                    <a:cubicBezTo>
                      <a:pt x="-40882" y="843700"/>
                      <a:pt x="-48311" y="432944"/>
                      <a:pt x="114518" y="91376"/>
                    </a:cubicBezTo>
                    <a:lnTo>
                      <a:pt x="163675" y="0"/>
                    </a:lnTo>
                    <a:close/>
                  </a:path>
                </a:pathLst>
              </a:custGeom>
              <a:grpFill/>
              <a:ln w="25400" cap="flat">
                <a:solidFill>
                  <a:schemeClr val="bg1"/>
                </a:solidFill>
                <a:prstDash val="solid"/>
                <a:round/>
              </a:ln>
            </p:spPr>
            <p:txBody>
              <a:bodyPr wrap="square" rtlCol="0" anchor="ctr">
                <a:noAutofit/>
              </a:bodyPr>
              <a:lstStyle/>
              <a:p>
                <a:pPr algn="ctr"/>
                <a:r>
                  <a:rPr lang="en-US" sz="1200" b="1" dirty="0">
                    <a:solidFill>
                      <a:schemeClr val="bg1"/>
                    </a:solidFill>
                    <a:latin typeface="Montserrat" panose="00000500000000000000" pitchFamily="50" charset="0"/>
                  </a:rPr>
                  <a:t>3</a:t>
                </a:r>
              </a:p>
            </p:txBody>
          </p:sp>
        </p:grpSp>
      </p:grpSp>
      <p:grpSp>
        <p:nvGrpSpPr>
          <p:cNvPr id="14" name="Group 13">
            <a:extLst>
              <a:ext uri="{FF2B5EF4-FFF2-40B4-BE49-F238E27FC236}">
                <a16:creationId xmlns:a16="http://schemas.microsoft.com/office/drawing/2014/main" id="{4FFC4D9D-D5F9-41F6-A2D7-F7ACDA1B4404}"/>
              </a:ext>
            </a:extLst>
          </p:cNvPr>
          <p:cNvGrpSpPr/>
          <p:nvPr/>
        </p:nvGrpSpPr>
        <p:grpSpPr>
          <a:xfrm>
            <a:off x="7272236" y="795398"/>
            <a:ext cx="4019028" cy="5314273"/>
            <a:chOff x="7167131" y="774194"/>
            <a:chExt cx="4019028" cy="5314273"/>
          </a:xfrm>
        </p:grpSpPr>
        <p:grpSp>
          <p:nvGrpSpPr>
            <p:cNvPr id="11" name="Group 10">
              <a:extLst>
                <a:ext uri="{FF2B5EF4-FFF2-40B4-BE49-F238E27FC236}">
                  <a16:creationId xmlns:a16="http://schemas.microsoft.com/office/drawing/2014/main" id="{36F9B024-5E9F-489F-ABE5-5F430304E3DB}"/>
                </a:ext>
              </a:extLst>
            </p:cNvPr>
            <p:cNvGrpSpPr/>
            <p:nvPr/>
          </p:nvGrpSpPr>
          <p:grpSpPr>
            <a:xfrm>
              <a:off x="7167131" y="805324"/>
              <a:ext cx="532244" cy="532244"/>
              <a:chOff x="7167131" y="1419893"/>
              <a:chExt cx="532244" cy="532244"/>
            </a:xfrm>
          </p:grpSpPr>
          <p:sp>
            <p:nvSpPr>
              <p:cNvPr id="106" name="TextBox 105">
                <a:extLst>
                  <a:ext uri="{FF2B5EF4-FFF2-40B4-BE49-F238E27FC236}">
                    <a16:creationId xmlns:a16="http://schemas.microsoft.com/office/drawing/2014/main" id="{E86F14C9-285A-4B83-B98F-E581D997141A}"/>
                  </a:ext>
                </a:extLst>
              </p:cNvPr>
              <p:cNvSpPr txBox="1">
                <a:spLocks noChangeAspect="1"/>
              </p:cNvSpPr>
              <p:nvPr/>
            </p:nvSpPr>
            <p:spPr>
              <a:xfrm rot="10800000" flipH="1" flipV="1">
                <a:off x="7167131" y="1419893"/>
                <a:ext cx="532244" cy="532244"/>
              </a:xfrm>
              <a:prstGeom prst="roundRect">
                <a:avLst>
                  <a:gd name="adj" fmla="val 50000"/>
                </a:avLst>
              </a:prstGeom>
              <a:solidFill>
                <a:srgbClr val="515CB4"/>
              </a:solidFill>
              <a:ln w="9525">
                <a:noFill/>
                <a:prstDash val="dash"/>
              </a:ln>
              <a:effectLst/>
            </p:spPr>
            <p:txBody>
              <a:bodyPr wrap="none" lIns="0" tIns="0" rIns="0" bIns="0" rtlCol="0" anchor="ctr" anchorCtr="0">
                <a:noAutofit/>
              </a:bodyPr>
              <a:lstStyle/>
              <a:p>
                <a:pPr algn="ctr"/>
                <a:endParaRPr lang="ru-RU" sz="2500" dirty="0">
                  <a:solidFill>
                    <a:schemeClr val="tx1">
                      <a:lumMod val="10000"/>
                      <a:lumOff val="90000"/>
                    </a:schemeClr>
                  </a:solidFill>
                  <a:latin typeface="Montserrat" panose="00000500000000000000" pitchFamily="50" charset="0"/>
                </a:endParaRPr>
              </a:p>
            </p:txBody>
          </p:sp>
          <p:sp>
            <p:nvSpPr>
              <p:cNvPr id="107" name="TextBox 106">
                <a:extLst>
                  <a:ext uri="{FF2B5EF4-FFF2-40B4-BE49-F238E27FC236}">
                    <a16:creationId xmlns:a16="http://schemas.microsoft.com/office/drawing/2014/main" id="{B63D0EB6-B0CA-4304-90B2-A293B739CF69}"/>
                  </a:ext>
                </a:extLst>
              </p:cNvPr>
              <p:cNvSpPr txBox="1">
                <a:spLocks noChangeAspect="1"/>
              </p:cNvSpPr>
              <p:nvPr/>
            </p:nvSpPr>
            <p:spPr>
              <a:xfrm rot="10800000" flipH="1" flipV="1">
                <a:off x="7245594" y="1498356"/>
                <a:ext cx="375318" cy="375318"/>
              </a:xfrm>
              <a:prstGeom prst="rect">
                <a:avLst/>
              </a:prstGeom>
              <a:noFill/>
              <a:ln w="9525">
                <a:noFill/>
                <a:prstDash val="dash"/>
              </a:ln>
              <a:effectLst/>
            </p:spPr>
            <p:txBody>
              <a:bodyPr wrap="none" lIns="0" tIns="0" rIns="0" bIns="0" rtlCol="0" anchor="ctr" anchorCtr="0">
                <a:noAutofit/>
              </a:bodyPr>
              <a:lstStyle/>
              <a:p>
                <a:pPr algn="ctr"/>
                <a:r>
                  <a:rPr lang="en-US" sz="2000" spc="-150" dirty="0">
                    <a:solidFill>
                      <a:schemeClr val="bg1"/>
                    </a:solidFill>
                    <a:latin typeface="Montserrat" panose="00000500000000000000" pitchFamily="50" charset="0"/>
                  </a:rPr>
                  <a:t>01</a:t>
                </a:r>
                <a:endParaRPr lang="ru-RU" sz="2000" spc="-150" dirty="0">
                  <a:solidFill>
                    <a:schemeClr val="bg1"/>
                  </a:solidFill>
                  <a:latin typeface="Montserrat" panose="00000500000000000000" pitchFamily="50" charset="0"/>
                </a:endParaRPr>
              </a:p>
            </p:txBody>
          </p:sp>
        </p:grpSp>
        <p:grpSp>
          <p:nvGrpSpPr>
            <p:cNvPr id="12" name="Group 11">
              <a:extLst>
                <a:ext uri="{FF2B5EF4-FFF2-40B4-BE49-F238E27FC236}">
                  <a16:creationId xmlns:a16="http://schemas.microsoft.com/office/drawing/2014/main" id="{D3160903-879D-41B9-909D-88EAAEC7821D}"/>
                </a:ext>
              </a:extLst>
            </p:cNvPr>
            <p:cNvGrpSpPr/>
            <p:nvPr/>
          </p:nvGrpSpPr>
          <p:grpSpPr>
            <a:xfrm>
              <a:off x="7896380" y="774194"/>
              <a:ext cx="3289779" cy="745381"/>
              <a:chOff x="7971300" y="1423097"/>
              <a:chExt cx="3289779" cy="745381"/>
            </a:xfrm>
          </p:grpSpPr>
          <p:sp>
            <p:nvSpPr>
              <p:cNvPr id="136" name="TextBox 135">
                <a:extLst>
                  <a:ext uri="{FF2B5EF4-FFF2-40B4-BE49-F238E27FC236}">
                    <a16:creationId xmlns:a16="http://schemas.microsoft.com/office/drawing/2014/main" id="{229CCE4A-5FD1-4BE2-9DEE-4DABA4BB0A67}"/>
                  </a:ext>
                </a:extLst>
              </p:cNvPr>
              <p:cNvSpPr txBox="1"/>
              <p:nvPr/>
            </p:nvSpPr>
            <p:spPr>
              <a:xfrm>
                <a:off x="7971301" y="1423097"/>
                <a:ext cx="1452642" cy="292388"/>
              </a:xfrm>
              <a:prstGeom prst="rect">
                <a:avLst/>
              </a:prstGeom>
              <a:noFill/>
            </p:spPr>
            <p:txBody>
              <a:bodyPr wrap="none" rtlCol="0">
                <a:spAutoFit/>
              </a:bodyPr>
              <a:lstStyle/>
              <a:p>
                <a:pPr defTabSz="457200"/>
                <a:r>
                  <a:rPr lang="en-US" sz="1300" b="1" dirty="0">
                    <a:solidFill>
                      <a:srgbClr val="515CB4"/>
                    </a:solidFill>
                    <a:latin typeface="Montserrat" panose="00000500000000000000" pitchFamily="50" charset="0"/>
                  </a:rPr>
                  <a:t>ELEMENT ONE</a:t>
                </a:r>
              </a:p>
            </p:txBody>
          </p:sp>
          <p:sp>
            <p:nvSpPr>
              <p:cNvPr id="137" name="TextBox 136">
                <a:extLst>
                  <a:ext uri="{FF2B5EF4-FFF2-40B4-BE49-F238E27FC236}">
                    <a16:creationId xmlns:a16="http://schemas.microsoft.com/office/drawing/2014/main" id="{110392E2-5274-4FB9-8945-3BAD49D65319}"/>
                  </a:ext>
                </a:extLst>
              </p:cNvPr>
              <p:cNvSpPr txBox="1"/>
              <p:nvPr/>
            </p:nvSpPr>
            <p:spPr>
              <a:xfrm>
                <a:off x="7971300" y="1709378"/>
                <a:ext cx="3289779" cy="459100"/>
              </a:xfrm>
              <a:prstGeom prst="rect">
                <a:avLst/>
              </a:prstGeom>
              <a:noFill/>
            </p:spPr>
            <p:txBody>
              <a:bodyPr wrap="square" rtlCol="0">
                <a:spAutoFit/>
              </a:bodyPr>
              <a:lstStyle/>
              <a:p>
                <a:pPr>
                  <a:lnSpc>
                    <a:spcPts val="1500"/>
                  </a:lnSpc>
                </a:pPr>
                <a:r>
                  <a:rPr lang="en-US" sz="1000" dirty="0">
                    <a:solidFill>
                      <a:schemeClr val="tx1">
                        <a:lumMod val="75000"/>
                        <a:lumOff val="25000"/>
                      </a:schemeClr>
                    </a:solidFill>
                    <a:latin typeface="Montserrat" panose="00000500000000000000" pitchFamily="50" charset="0"/>
                  </a:rPr>
                  <a:t>It is one way to display an algorithm that only contains conditional control statements.</a:t>
                </a:r>
              </a:p>
            </p:txBody>
          </p:sp>
        </p:grpSp>
        <p:grpSp>
          <p:nvGrpSpPr>
            <p:cNvPr id="139" name="Group 138">
              <a:extLst>
                <a:ext uri="{FF2B5EF4-FFF2-40B4-BE49-F238E27FC236}">
                  <a16:creationId xmlns:a16="http://schemas.microsoft.com/office/drawing/2014/main" id="{D79E55E7-4B32-4F6B-B186-555EF425BFD8}"/>
                </a:ext>
              </a:extLst>
            </p:cNvPr>
            <p:cNvGrpSpPr/>
            <p:nvPr/>
          </p:nvGrpSpPr>
          <p:grpSpPr>
            <a:xfrm>
              <a:off x="7167131" y="1947547"/>
              <a:ext cx="532244" cy="532244"/>
              <a:chOff x="7167131" y="1419893"/>
              <a:chExt cx="532244" cy="532244"/>
            </a:xfrm>
          </p:grpSpPr>
          <p:sp>
            <p:nvSpPr>
              <p:cNvPr id="143" name="TextBox 142">
                <a:extLst>
                  <a:ext uri="{FF2B5EF4-FFF2-40B4-BE49-F238E27FC236}">
                    <a16:creationId xmlns:a16="http://schemas.microsoft.com/office/drawing/2014/main" id="{802E9EAD-C345-4F5D-9094-55D14F318FDE}"/>
                  </a:ext>
                </a:extLst>
              </p:cNvPr>
              <p:cNvSpPr txBox="1">
                <a:spLocks noChangeAspect="1"/>
              </p:cNvSpPr>
              <p:nvPr/>
            </p:nvSpPr>
            <p:spPr>
              <a:xfrm rot="10800000" flipH="1" flipV="1">
                <a:off x="7167131" y="1419893"/>
                <a:ext cx="532244" cy="532244"/>
              </a:xfrm>
              <a:prstGeom prst="roundRect">
                <a:avLst>
                  <a:gd name="adj" fmla="val 50000"/>
                </a:avLst>
              </a:prstGeom>
              <a:solidFill>
                <a:srgbClr val="5D74B3"/>
              </a:solidFill>
              <a:ln w="9525">
                <a:noFill/>
                <a:prstDash val="dash"/>
              </a:ln>
              <a:effectLst/>
            </p:spPr>
            <p:txBody>
              <a:bodyPr wrap="none" lIns="0" tIns="0" rIns="0" bIns="0" rtlCol="0" anchor="ctr" anchorCtr="0">
                <a:noAutofit/>
              </a:bodyPr>
              <a:lstStyle/>
              <a:p>
                <a:pPr algn="ctr"/>
                <a:endParaRPr lang="ru-RU" sz="2500" dirty="0">
                  <a:solidFill>
                    <a:schemeClr val="tx1">
                      <a:lumMod val="10000"/>
                      <a:lumOff val="90000"/>
                    </a:schemeClr>
                  </a:solidFill>
                  <a:latin typeface="Montserrat" panose="00000500000000000000" pitchFamily="50" charset="0"/>
                </a:endParaRPr>
              </a:p>
            </p:txBody>
          </p:sp>
          <p:sp>
            <p:nvSpPr>
              <p:cNvPr id="144" name="TextBox 143">
                <a:extLst>
                  <a:ext uri="{FF2B5EF4-FFF2-40B4-BE49-F238E27FC236}">
                    <a16:creationId xmlns:a16="http://schemas.microsoft.com/office/drawing/2014/main" id="{145AF5A8-C71C-4E70-96B1-56C0CA1F0E49}"/>
                  </a:ext>
                </a:extLst>
              </p:cNvPr>
              <p:cNvSpPr txBox="1">
                <a:spLocks noChangeAspect="1"/>
              </p:cNvSpPr>
              <p:nvPr/>
            </p:nvSpPr>
            <p:spPr>
              <a:xfrm rot="10800000" flipH="1" flipV="1">
                <a:off x="7245594" y="1498356"/>
                <a:ext cx="375318" cy="375318"/>
              </a:xfrm>
              <a:prstGeom prst="rect">
                <a:avLst/>
              </a:prstGeom>
              <a:noFill/>
              <a:ln w="9525">
                <a:noFill/>
                <a:prstDash val="dash"/>
              </a:ln>
              <a:effectLst/>
            </p:spPr>
            <p:txBody>
              <a:bodyPr wrap="none" lIns="0" tIns="0" rIns="0" bIns="0" rtlCol="0" anchor="ctr" anchorCtr="0">
                <a:noAutofit/>
              </a:bodyPr>
              <a:lstStyle/>
              <a:p>
                <a:pPr algn="ctr"/>
                <a:r>
                  <a:rPr lang="en-US" sz="2000" spc="-150" dirty="0">
                    <a:solidFill>
                      <a:schemeClr val="bg1"/>
                    </a:solidFill>
                    <a:latin typeface="Montserrat" panose="00000500000000000000" pitchFamily="50" charset="0"/>
                  </a:rPr>
                  <a:t>02</a:t>
                </a:r>
                <a:endParaRPr lang="ru-RU" sz="2000" spc="-150" dirty="0">
                  <a:solidFill>
                    <a:schemeClr val="bg1"/>
                  </a:solidFill>
                  <a:latin typeface="Montserrat" panose="00000500000000000000" pitchFamily="50" charset="0"/>
                </a:endParaRPr>
              </a:p>
            </p:txBody>
          </p:sp>
        </p:grpSp>
        <p:grpSp>
          <p:nvGrpSpPr>
            <p:cNvPr id="140" name="Group 139">
              <a:extLst>
                <a:ext uri="{FF2B5EF4-FFF2-40B4-BE49-F238E27FC236}">
                  <a16:creationId xmlns:a16="http://schemas.microsoft.com/office/drawing/2014/main" id="{69FAA99E-2099-46DD-B812-37F0BEDB3566}"/>
                </a:ext>
              </a:extLst>
            </p:cNvPr>
            <p:cNvGrpSpPr/>
            <p:nvPr/>
          </p:nvGrpSpPr>
          <p:grpSpPr>
            <a:xfrm>
              <a:off x="7896380" y="1916417"/>
              <a:ext cx="3289779" cy="745381"/>
              <a:chOff x="7971300" y="1423097"/>
              <a:chExt cx="3289779" cy="745381"/>
            </a:xfrm>
          </p:grpSpPr>
          <p:sp>
            <p:nvSpPr>
              <p:cNvPr id="141" name="TextBox 140">
                <a:extLst>
                  <a:ext uri="{FF2B5EF4-FFF2-40B4-BE49-F238E27FC236}">
                    <a16:creationId xmlns:a16="http://schemas.microsoft.com/office/drawing/2014/main" id="{1BA22661-4413-427A-B712-C21116137E3C}"/>
                  </a:ext>
                </a:extLst>
              </p:cNvPr>
              <p:cNvSpPr txBox="1"/>
              <p:nvPr/>
            </p:nvSpPr>
            <p:spPr>
              <a:xfrm>
                <a:off x="7971301" y="1423097"/>
                <a:ext cx="1502334" cy="292388"/>
              </a:xfrm>
              <a:prstGeom prst="rect">
                <a:avLst/>
              </a:prstGeom>
              <a:noFill/>
            </p:spPr>
            <p:txBody>
              <a:bodyPr wrap="none" rtlCol="0">
                <a:spAutoFit/>
              </a:bodyPr>
              <a:lstStyle/>
              <a:p>
                <a:pPr defTabSz="457200"/>
                <a:r>
                  <a:rPr lang="en-US" sz="1300" b="1" dirty="0">
                    <a:solidFill>
                      <a:srgbClr val="515CB4"/>
                    </a:solidFill>
                    <a:latin typeface="Montserrat" panose="00000500000000000000" pitchFamily="50" charset="0"/>
                  </a:rPr>
                  <a:t>ELEMENT TWO</a:t>
                </a:r>
              </a:p>
            </p:txBody>
          </p:sp>
          <p:sp>
            <p:nvSpPr>
              <p:cNvPr id="142" name="TextBox 141">
                <a:extLst>
                  <a:ext uri="{FF2B5EF4-FFF2-40B4-BE49-F238E27FC236}">
                    <a16:creationId xmlns:a16="http://schemas.microsoft.com/office/drawing/2014/main" id="{4D54A01D-10E8-461A-AB8F-F7E7AAFEFE6F}"/>
                  </a:ext>
                </a:extLst>
              </p:cNvPr>
              <p:cNvSpPr txBox="1"/>
              <p:nvPr/>
            </p:nvSpPr>
            <p:spPr>
              <a:xfrm>
                <a:off x="7971300" y="1709378"/>
                <a:ext cx="3289779" cy="459100"/>
              </a:xfrm>
              <a:prstGeom prst="rect">
                <a:avLst/>
              </a:prstGeom>
              <a:noFill/>
            </p:spPr>
            <p:txBody>
              <a:bodyPr wrap="square" rtlCol="0">
                <a:spAutoFit/>
              </a:bodyPr>
              <a:lstStyle/>
              <a:p>
                <a:pPr>
                  <a:lnSpc>
                    <a:spcPts val="1500"/>
                  </a:lnSpc>
                </a:pPr>
                <a:r>
                  <a:rPr lang="en-US" sz="1000" dirty="0">
                    <a:solidFill>
                      <a:schemeClr val="tx1">
                        <a:lumMod val="75000"/>
                        <a:lumOff val="25000"/>
                      </a:schemeClr>
                    </a:solidFill>
                    <a:latin typeface="Montserrat" panose="00000500000000000000" pitchFamily="50" charset="0"/>
                  </a:rPr>
                  <a:t>It is one way to display an algorithm that only contains conditional control statements.</a:t>
                </a:r>
              </a:p>
            </p:txBody>
          </p:sp>
        </p:grpSp>
        <p:grpSp>
          <p:nvGrpSpPr>
            <p:cNvPr id="146" name="Group 145">
              <a:extLst>
                <a:ext uri="{FF2B5EF4-FFF2-40B4-BE49-F238E27FC236}">
                  <a16:creationId xmlns:a16="http://schemas.microsoft.com/office/drawing/2014/main" id="{FEE4897E-5A7E-4466-ADBD-AD9CAEEAAC41}"/>
                </a:ext>
              </a:extLst>
            </p:cNvPr>
            <p:cNvGrpSpPr/>
            <p:nvPr/>
          </p:nvGrpSpPr>
          <p:grpSpPr>
            <a:xfrm>
              <a:off x="7167131" y="3089770"/>
              <a:ext cx="532244" cy="532244"/>
              <a:chOff x="7167131" y="1419893"/>
              <a:chExt cx="532244" cy="532244"/>
            </a:xfrm>
          </p:grpSpPr>
          <p:sp>
            <p:nvSpPr>
              <p:cNvPr id="150" name="TextBox 149">
                <a:extLst>
                  <a:ext uri="{FF2B5EF4-FFF2-40B4-BE49-F238E27FC236}">
                    <a16:creationId xmlns:a16="http://schemas.microsoft.com/office/drawing/2014/main" id="{3B94B88E-D945-4D1E-827C-F5FA2FC94FF8}"/>
                  </a:ext>
                </a:extLst>
              </p:cNvPr>
              <p:cNvSpPr txBox="1">
                <a:spLocks noChangeAspect="1"/>
              </p:cNvSpPr>
              <p:nvPr/>
            </p:nvSpPr>
            <p:spPr>
              <a:xfrm rot="10800000" flipH="1" flipV="1">
                <a:off x="7167131" y="1419893"/>
                <a:ext cx="532244" cy="532244"/>
              </a:xfrm>
              <a:prstGeom prst="roundRect">
                <a:avLst>
                  <a:gd name="adj" fmla="val 50000"/>
                </a:avLst>
              </a:prstGeom>
              <a:solidFill>
                <a:srgbClr val="218190"/>
              </a:solidFill>
              <a:ln w="9525">
                <a:noFill/>
                <a:prstDash val="dash"/>
              </a:ln>
              <a:effectLst/>
            </p:spPr>
            <p:txBody>
              <a:bodyPr wrap="none" lIns="0" tIns="0" rIns="0" bIns="0" rtlCol="0" anchor="ctr" anchorCtr="0">
                <a:noAutofit/>
              </a:bodyPr>
              <a:lstStyle/>
              <a:p>
                <a:pPr algn="ctr"/>
                <a:endParaRPr lang="ru-RU" sz="2500" dirty="0">
                  <a:solidFill>
                    <a:schemeClr val="tx1">
                      <a:lumMod val="10000"/>
                      <a:lumOff val="90000"/>
                    </a:schemeClr>
                  </a:solidFill>
                  <a:latin typeface="Montserrat" panose="00000500000000000000" pitchFamily="50" charset="0"/>
                </a:endParaRPr>
              </a:p>
            </p:txBody>
          </p:sp>
          <p:sp>
            <p:nvSpPr>
              <p:cNvPr id="151" name="TextBox 150">
                <a:extLst>
                  <a:ext uri="{FF2B5EF4-FFF2-40B4-BE49-F238E27FC236}">
                    <a16:creationId xmlns:a16="http://schemas.microsoft.com/office/drawing/2014/main" id="{453310EA-D459-457D-AA99-4DFEFC4CE866}"/>
                  </a:ext>
                </a:extLst>
              </p:cNvPr>
              <p:cNvSpPr txBox="1">
                <a:spLocks noChangeAspect="1"/>
              </p:cNvSpPr>
              <p:nvPr/>
            </p:nvSpPr>
            <p:spPr>
              <a:xfrm rot="10800000" flipH="1" flipV="1">
                <a:off x="7245594" y="1498356"/>
                <a:ext cx="375318" cy="375318"/>
              </a:xfrm>
              <a:prstGeom prst="rect">
                <a:avLst/>
              </a:prstGeom>
              <a:noFill/>
              <a:ln w="9525">
                <a:noFill/>
                <a:prstDash val="dash"/>
              </a:ln>
              <a:effectLst/>
            </p:spPr>
            <p:txBody>
              <a:bodyPr wrap="none" lIns="0" tIns="0" rIns="0" bIns="0" rtlCol="0" anchor="ctr" anchorCtr="0">
                <a:noAutofit/>
              </a:bodyPr>
              <a:lstStyle/>
              <a:p>
                <a:pPr algn="ctr"/>
                <a:r>
                  <a:rPr lang="en-US" sz="2000" spc="-150" dirty="0">
                    <a:solidFill>
                      <a:schemeClr val="bg1"/>
                    </a:solidFill>
                    <a:latin typeface="Montserrat" panose="00000500000000000000" pitchFamily="50" charset="0"/>
                  </a:rPr>
                  <a:t>03</a:t>
                </a:r>
                <a:endParaRPr lang="ru-RU" sz="2000" spc="-150" dirty="0">
                  <a:solidFill>
                    <a:schemeClr val="bg1"/>
                  </a:solidFill>
                  <a:latin typeface="Montserrat" panose="00000500000000000000" pitchFamily="50" charset="0"/>
                </a:endParaRPr>
              </a:p>
            </p:txBody>
          </p:sp>
        </p:grpSp>
        <p:grpSp>
          <p:nvGrpSpPr>
            <p:cNvPr id="147" name="Group 146">
              <a:extLst>
                <a:ext uri="{FF2B5EF4-FFF2-40B4-BE49-F238E27FC236}">
                  <a16:creationId xmlns:a16="http://schemas.microsoft.com/office/drawing/2014/main" id="{1AEBC8E2-13A2-4DE4-9A8D-A59C6A3494B2}"/>
                </a:ext>
              </a:extLst>
            </p:cNvPr>
            <p:cNvGrpSpPr/>
            <p:nvPr/>
          </p:nvGrpSpPr>
          <p:grpSpPr>
            <a:xfrm>
              <a:off x="7896380" y="3058640"/>
              <a:ext cx="3289779" cy="745381"/>
              <a:chOff x="7971300" y="1423097"/>
              <a:chExt cx="3289779" cy="745381"/>
            </a:xfrm>
          </p:grpSpPr>
          <p:sp>
            <p:nvSpPr>
              <p:cNvPr id="148" name="TextBox 147">
                <a:extLst>
                  <a:ext uri="{FF2B5EF4-FFF2-40B4-BE49-F238E27FC236}">
                    <a16:creationId xmlns:a16="http://schemas.microsoft.com/office/drawing/2014/main" id="{4161F118-925A-4A07-8541-E239DBFA6CE4}"/>
                  </a:ext>
                </a:extLst>
              </p:cNvPr>
              <p:cNvSpPr txBox="1"/>
              <p:nvPr/>
            </p:nvSpPr>
            <p:spPr>
              <a:xfrm>
                <a:off x="7971301" y="1423097"/>
                <a:ext cx="1648208" cy="292388"/>
              </a:xfrm>
              <a:prstGeom prst="rect">
                <a:avLst/>
              </a:prstGeom>
              <a:noFill/>
            </p:spPr>
            <p:txBody>
              <a:bodyPr wrap="none" rtlCol="0">
                <a:spAutoFit/>
              </a:bodyPr>
              <a:lstStyle/>
              <a:p>
                <a:pPr defTabSz="457200"/>
                <a:r>
                  <a:rPr lang="en-US" sz="1300" b="1" dirty="0">
                    <a:solidFill>
                      <a:srgbClr val="515CB4"/>
                    </a:solidFill>
                    <a:latin typeface="Montserrat" panose="00000500000000000000" pitchFamily="50" charset="0"/>
                  </a:rPr>
                  <a:t>ELEMENT THREE</a:t>
                </a:r>
              </a:p>
            </p:txBody>
          </p:sp>
          <p:sp>
            <p:nvSpPr>
              <p:cNvPr id="149" name="TextBox 148">
                <a:extLst>
                  <a:ext uri="{FF2B5EF4-FFF2-40B4-BE49-F238E27FC236}">
                    <a16:creationId xmlns:a16="http://schemas.microsoft.com/office/drawing/2014/main" id="{A5A55B19-96A8-4418-BFF7-0D680227B3F7}"/>
                  </a:ext>
                </a:extLst>
              </p:cNvPr>
              <p:cNvSpPr txBox="1"/>
              <p:nvPr/>
            </p:nvSpPr>
            <p:spPr>
              <a:xfrm>
                <a:off x="7971300" y="1709378"/>
                <a:ext cx="3289779" cy="459100"/>
              </a:xfrm>
              <a:prstGeom prst="rect">
                <a:avLst/>
              </a:prstGeom>
              <a:noFill/>
            </p:spPr>
            <p:txBody>
              <a:bodyPr wrap="square" rtlCol="0">
                <a:spAutoFit/>
              </a:bodyPr>
              <a:lstStyle/>
              <a:p>
                <a:pPr>
                  <a:lnSpc>
                    <a:spcPts val="1500"/>
                  </a:lnSpc>
                </a:pPr>
                <a:r>
                  <a:rPr lang="en-US" sz="1000" dirty="0">
                    <a:solidFill>
                      <a:schemeClr val="tx1">
                        <a:lumMod val="75000"/>
                        <a:lumOff val="25000"/>
                      </a:schemeClr>
                    </a:solidFill>
                    <a:latin typeface="Montserrat" panose="00000500000000000000" pitchFamily="50" charset="0"/>
                  </a:rPr>
                  <a:t>It is one way to display an algorithm that only contains conditional control statements.</a:t>
                </a:r>
              </a:p>
            </p:txBody>
          </p:sp>
        </p:grpSp>
        <p:grpSp>
          <p:nvGrpSpPr>
            <p:cNvPr id="153" name="Group 152">
              <a:extLst>
                <a:ext uri="{FF2B5EF4-FFF2-40B4-BE49-F238E27FC236}">
                  <a16:creationId xmlns:a16="http://schemas.microsoft.com/office/drawing/2014/main" id="{B8376B86-F0C4-4B73-92EC-990D57AE7F98}"/>
                </a:ext>
              </a:extLst>
            </p:cNvPr>
            <p:cNvGrpSpPr/>
            <p:nvPr/>
          </p:nvGrpSpPr>
          <p:grpSpPr>
            <a:xfrm>
              <a:off x="7167131" y="4231993"/>
              <a:ext cx="532244" cy="532244"/>
              <a:chOff x="7167131" y="1419893"/>
              <a:chExt cx="532244" cy="532244"/>
            </a:xfrm>
          </p:grpSpPr>
          <p:sp>
            <p:nvSpPr>
              <p:cNvPr id="157" name="TextBox 156">
                <a:extLst>
                  <a:ext uri="{FF2B5EF4-FFF2-40B4-BE49-F238E27FC236}">
                    <a16:creationId xmlns:a16="http://schemas.microsoft.com/office/drawing/2014/main" id="{21C588CA-018A-4E70-ADF8-6331BF5E4D14}"/>
                  </a:ext>
                </a:extLst>
              </p:cNvPr>
              <p:cNvSpPr txBox="1">
                <a:spLocks noChangeAspect="1"/>
              </p:cNvSpPr>
              <p:nvPr/>
            </p:nvSpPr>
            <p:spPr>
              <a:xfrm rot="10800000" flipH="1" flipV="1">
                <a:off x="7167131" y="1419893"/>
                <a:ext cx="532244" cy="532244"/>
              </a:xfrm>
              <a:prstGeom prst="roundRect">
                <a:avLst>
                  <a:gd name="adj" fmla="val 50000"/>
                </a:avLst>
              </a:prstGeom>
              <a:solidFill>
                <a:srgbClr val="398B8B"/>
              </a:solidFill>
              <a:ln w="9525">
                <a:noFill/>
                <a:prstDash val="dash"/>
              </a:ln>
              <a:effectLst/>
            </p:spPr>
            <p:txBody>
              <a:bodyPr wrap="none" lIns="0" tIns="0" rIns="0" bIns="0" rtlCol="0" anchor="ctr" anchorCtr="0">
                <a:noAutofit/>
              </a:bodyPr>
              <a:lstStyle/>
              <a:p>
                <a:pPr algn="ctr"/>
                <a:endParaRPr lang="ru-RU" sz="2500" dirty="0">
                  <a:solidFill>
                    <a:schemeClr val="tx1">
                      <a:lumMod val="10000"/>
                      <a:lumOff val="90000"/>
                    </a:schemeClr>
                  </a:solidFill>
                  <a:latin typeface="Montserrat" panose="00000500000000000000" pitchFamily="50" charset="0"/>
                </a:endParaRPr>
              </a:p>
            </p:txBody>
          </p:sp>
          <p:sp>
            <p:nvSpPr>
              <p:cNvPr id="158" name="TextBox 157">
                <a:extLst>
                  <a:ext uri="{FF2B5EF4-FFF2-40B4-BE49-F238E27FC236}">
                    <a16:creationId xmlns:a16="http://schemas.microsoft.com/office/drawing/2014/main" id="{8262483B-9FFD-4121-8937-13540DF31EF7}"/>
                  </a:ext>
                </a:extLst>
              </p:cNvPr>
              <p:cNvSpPr txBox="1">
                <a:spLocks noChangeAspect="1"/>
              </p:cNvSpPr>
              <p:nvPr/>
            </p:nvSpPr>
            <p:spPr>
              <a:xfrm rot="10800000" flipH="1" flipV="1">
                <a:off x="7245594" y="1498356"/>
                <a:ext cx="375318" cy="375318"/>
              </a:xfrm>
              <a:prstGeom prst="rect">
                <a:avLst/>
              </a:prstGeom>
              <a:noFill/>
              <a:ln w="9525">
                <a:noFill/>
                <a:prstDash val="dash"/>
              </a:ln>
              <a:effectLst/>
            </p:spPr>
            <p:txBody>
              <a:bodyPr wrap="none" lIns="0" tIns="0" rIns="0" bIns="0" rtlCol="0" anchor="ctr" anchorCtr="0">
                <a:noAutofit/>
              </a:bodyPr>
              <a:lstStyle/>
              <a:p>
                <a:pPr algn="ctr"/>
                <a:r>
                  <a:rPr lang="en-US" sz="2000" spc="-150" dirty="0">
                    <a:solidFill>
                      <a:schemeClr val="bg1"/>
                    </a:solidFill>
                    <a:latin typeface="Montserrat" panose="00000500000000000000" pitchFamily="50" charset="0"/>
                  </a:rPr>
                  <a:t>04</a:t>
                </a:r>
                <a:endParaRPr lang="ru-RU" sz="2000" spc="-150" dirty="0">
                  <a:solidFill>
                    <a:schemeClr val="bg1"/>
                  </a:solidFill>
                  <a:latin typeface="Montserrat" panose="00000500000000000000" pitchFamily="50" charset="0"/>
                </a:endParaRPr>
              </a:p>
            </p:txBody>
          </p:sp>
        </p:grpSp>
        <p:grpSp>
          <p:nvGrpSpPr>
            <p:cNvPr id="154" name="Group 153">
              <a:extLst>
                <a:ext uri="{FF2B5EF4-FFF2-40B4-BE49-F238E27FC236}">
                  <a16:creationId xmlns:a16="http://schemas.microsoft.com/office/drawing/2014/main" id="{79362BEC-7CAE-4D30-B943-6E80FB40CE13}"/>
                </a:ext>
              </a:extLst>
            </p:cNvPr>
            <p:cNvGrpSpPr/>
            <p:nvPr/>
          </p:nvGrpSpPr>
          <p:grpSpPr>
            <a:xfrm>
              <a:off x="7896380" y="4200863"/>
              <a:ext cx="3289779" cy="745381"/>
              <a:chOff x="7971300" y="1423097"/>
              <a:chExt cx="3289779" cy="745381"/>
            </a:xfrm>
          </p:grpSpPr>
          <p:sp>
            <p:nvSpPr>
              <p:cNvPr id="155" name="TextBox 154">
                <a:extLst>
                  <a:ext uri="{FF2B5EF4-FFF2-40B4-BE49-F238E27FC236}">
                    <a16:creationId xmlns:a16="http://schemas.microsoft.com/office/drawing/2014/main" id="{3809175A-5D50-4DEC-875E-8056EF248966}"/>
                  </a:ext>
                </a:extLst>
              </p:cNvPr>
              <p:cNvSpPr txBox="1"/>
              <p:nvPr/>
            </p:nvSpPr>
            <p:spPr>
              <a:xfrm>
                <a:off x="7971301" y="1423097"/>
                <a:ext cx="1564852" cy="292388"/>
              </a:xfrm>
              <a:prstGeom prst="rect">
                <a:avLst/>
              </a:prstGeom>
              <a:noFill/>
            </p:spPr>
            <p:txBody>
              <a:bodyPr wrap="none" rtlCol="0">
                <a:spAutoFit/>
              </a:bodyPr>
              <a:lstStyle/>
              <a:p>
                <a:pPr defTabSz="457200"/>
                <a:r>
                  <a:rPr lang="en-US" sz="1300" b="1" dirty="0">
                    <a:solidFill>
                      <a:srgbClr val="515CB4"/>
                    </a:solidFill>
                    <a:latin typeface="Montserrat" panose="00000500000000000000" pitchFamily="50" charset="0"/>
                  </a:rPr>
                  <a:t>ELEMENT FOUR</a:t>
                </a:r>
              </a:p>
            </p:txBody>
          </p:sp>
          <p:sp>
            <p:nvSpPr>
              <p:cNvPr id="156" name="TextBox 155">
                <a:extLst>
                  <a:ext uri="{FF2B5EF4-FFF2-40B4-BE49-F238E27FC236}">
                    <a16:creationId xmlns:a16="http://schemas.microsoft.com/office/drawing/2014/main" id="{7323825A-EC9F-4BE8-9307-8DF8C66BBFC4}"/>
                  </a:ext>
                </a:extLst>
              </p:cNvPr>
              <p:cNvSpPr txBox="1"/>
              <p:nvPr/>
            </p:nvSpPr>
            <p:spPr>
              <a:xfrm>
                <a:off x="7971300" y="1709378"/>
                <a:ext cx="3289779" cy="459100"/>
              </a:xfrm>
              <a:prstGeom prst="rect">
                <a:avLst/>
              </a:prstGeom>
              <a:noFill/>
            </p:spPr>
            <p:txBody>
              <a:bodyPr wrap="square" rtlCol="0">
                <a:spAutoFit/>
              </a:bodyPr>
              <a:lstStyle/>
              <a:p>
                <a:pPr>
                  <a:lnSpc>
                    <a:spcPts val="1500"/>
                  </a:lnSpc>
                </a:pPr>
                <a:r>
                  <a:rPr lang="en-US" sz="1000" dirty="0">
                    <a:solidFill>
                      <a:schemeClr val="tx1">
                        <a:lumMod val="75000"/>
                        <a:lumOff val="25000"/>
                      </a:schemeClr>
                    </a:solidFill>
                    <a:latin typeface="Montserrat" panose="00000500000000000000" pitchFamily="50" charset="0"/>
                  </a:rPr>
                  <a:t>It is one way to display an algorithm that only contains conditional control statements.</a:t>
                </a:r>
              </a:p>
            </p:txBody>
          </p:sp>
        </p:grpSp>
        <p:grpSp>
          <p:nvGrpSpPr>
            <p:cNvPr id="160" name="Group 159">
              <a:extLst>
                <a:ext uri="{FF2B5EF4-FFF2-40B4-BE49-F238E27FC236}">
                  <a16:creationId xmlns:a16="http://schemas.microsoft.com/office/drawing/2014/main" id="{09565AB5-76B5-4040-A061-31D424C9F3A3}"/>
                </a:ext>
              </a:extLst>
            </p:cNvPr>
            <p:cNvGrpSpPr/>
            <p:nvPr/>
          </p:nvGrpSpPr>
          <p:grpSpPr>
            <a:xfrm>
              <a:off x="7167131" y="5374216"/>
              <a:ext cx="532244" cy="532244"/>
              <a:chOff x="7167131" y="1419893"/>
              <a:chExt cx="532244" cy="532244"/>
            </a:xfrm>
          </p:grpSpPr>
          <p:sp>
            <p:nvSpPr>
              <p:cNvPr id="164" name="TextBox 163">
                <a:extLst>
                  <a:ext uri="{FF2B5EF4-FFF2-40B4-BE49-F238E27FC236}">
                    <a16:creationId xmlns:a16="http://schemas.microsoft.com/office/drawing/2014/main" id="{D830A827-3779-424E-BBA0-A19162542DF5}"/>
                  </a:ext>
                </a:extLst>
              </p:cNvPr>
              <p:cNvSpPr txBox="1">
                <a:spLocks noChangeAspect="1"/>
              </p:cNvSpPr>
              <p:nvPr/>
            </p:nvSpPr>
            <p:spPr>
              <a:xfrm rot="10800000" flipH="1" flipV="1">
                <a:off x="7167131" y="1419893"/>
                <a:ext cx="532244" cy="532244"/>
              </a:xfrm>
              <a:prstGeom prst="roundRect">
                <a:avLst>
                  <a:gd name="adj" fmla="val 50000"/>
                </a:avLst>
              </a:prstGeom>
              <a:solidFill>
                <a:srgbClr val="465A85"/>
              </a:solidFill>
              <a:ln w="9525">
                <a:noFill/>
                <a:prstDash val="dash"/>
              </a:ln>
              <a:effectLst/>
            </p:spPr>
            <p:txBody>
              <a:bodyPr wrap="none" lIns="0" tIns="0" rIns="0" bIns="0" rtlCol="0" anchor="ctr" anchorCtr="0">
                <a:noAutofit/>
              </a:bodyPr>
              <a:lstStyle/>
              <a:p>
                <a:pPr algn="ctr"/>
                <a:endParaRPr lang="ru-RU" sz="2500" dirty="0">
                  <a:solidFill>
                    <a:schemeClr val="tx1">
                      <a:lumMod val="10000"/>
                      <a:lumOff val="90000"/>
                    </a:schemeClr>
                  </a:solidFill>
                  <a:latin typeface="Montserrat" panose="00000500000000000000" pitchFamily="50" charset="0"/>
                </a:endParaRPr>
              </a:p>
            </p:txBody>
          </p:sp>
          <p:sp>
            <p:nvSpPr>
              <p:cNvPr id="165" name="TextBox 164">
                <a:extLst>
                  <a:ext uri="{FF2B5EF4-FFF2-40B4-BE49-F238E27FC236}">
                    <a16:creationId xmlns:a16="http://schemas.microsoft.com/office/drawing/2014/main" id="{332D19E9-6304-4B59-AB2C-663820AEF172}"/>
                  </a:ext>
                </a:extLst>
              </p:cNvPr>
              <p:cNvSpPr txBox="1">
                <a:spLocks noChangeAspect="1"/>
              </p:cNvSpPr>
              <p:nvPr/>
            </p:nvSpPr>
            <p:spPr>
              <a:xfrm rot="10800000" flipH="1" flipV="1">
                <a:off x="7245594" y="1498356"/>
                <a:ext cx="375318" cy="375318"/>
              </a:xfrm>
              <a:prstGeom prst="rect">
                <a:avLst/>
              </a:prstGeom>
              <a:noFill/>
              <a:ln w="9525">
                <a:noFill/>
                <a:prstDash val="dash"/>
              </a:ln>
              <a:effectLst/>
            </p:spPr>
            <p:txBody>
              <a:bodyPr wrap="none" lIns="0" tIns="0" rIns="0" bIns="0" rtlCol="0" anchor="ctr" anchorCtr="0">
                <a:noAutofit/>
              </a:bodyPr>
              <a:lstStyle/>
              <a:p>
                <a:pPr algn="ctr"/>
                <a:r>
                  <a:rPr lang="en-US" sz="2000" spc="-150" dirty="0">
                    <a:solidFill>
                      <a:schemeClr val="bg1"/>
                    </a:solidFill>
                    <a:latin typeface="Montserrat" panose="00000500000000000000" pitchFamily="50" charset="0"/>
                  </a:rPr>
                  <a:t>05</a:t>
                </a:r>
                <a:endParaRPr lang="ru-RU" sz="2000" spc="-150" dirty="0">
                  <a:solidFill>
                    <a:schemeClr val="bg1"/>
                  </a:solidFill>
                  <a:latin typeface="Montserrat" panose="00000500000000000000" pitchFamily="50" charset="0"/>
                </a:endParaRPr>
              </a:p>
            </p:txBody>
          </p:sp>
        </p:grpSp>
        <p:grpSp>
          <p:nvGrpSpPr>
            <p:cNvPr id="161" name="Group 160">
              <a:extLst>
                <a:ext uri="{FF2B5EF4-FFF2-40B4-BE49-F238E27FC236}">
                  <a16:creationId xmlns:a16="http://schemas.microsoft.com/office/drawing/2014/main" id="{E60B3127-5242-4132-8695-DFA28E674E33}"/>
                </a:ext>
              </a:extLst>
            </p:cNvPr>
            <p:cNvGrpSpPr/>
            <p:nvPr/>
          </p:nvGrpSpPr>
          <p:grpSpPr>
            <a:xfrm>
              <a:off x="7896380" y="5343086"/>
              <a:ext cx="3289779" cy="745381"/>
              <a:chOff x="7971300" y="1423097"/>
              <a:chExt cx="3289779" cy="745381"/>
            </a:xfrm>
          </p:grpSpPr>
          <p:sp>
            <p:nvSpPr>
              <p:cNvPr id="162" name="TextBox 161">
                <a:extLst>
                  <a:ext uri="{FF2B5EF4-FFF2-40B4-BE49-F238E27FC236}">
                    <a16:creationId xmlns:a16="http://schemas.microsoft.com/office/drawing/2014/main" id="{B19D3A68-8973-4D12-9D02-688C66A724A3}"/>
                  </a:ext>
                </a:extLst>
              </p:cNvPr>
              <p:cNvSpPr txBox="1"/>
              <p:nvPr/>
            </p:nvSpPr>
            <p:spPr>
              <a:xfrm>
                <a:off x="7971301" y="1423097"/>
                <a:ext cx="1462260" cy="292388"/>
              </a:xfrm>
              <a:prstGeom prst="rect">
                <a:avLst/>
              </a:prstGeom>
              <a:noFill/>
            </p:spPr>
            <p:txBody>
              <a:bodyPr wrap="none" rtlCol="0">
                <a:spAutoFit/>
              </a:bodyPr>
              <a:lstStyle/>
              <a:p>
                <a:pPr defTabSz="457200"/>
                <a:r>
                  <a:rPr lang="en-US" sz="1300" b="1" dirty="0">
                    <a:solidFill>
                      <a:srgbClr val="515CB4"/>
                    </a:solidFill>
                    <a:latin typeface="Montserrat" panose="00000500000000000000" pitchFamily="50" charset="0"/>
                  </a:rPr>
                  <a:t>ELEMENT FIVE</a:t>
                </a:r>
              </a:p>
            </p:txBody>
          </p:sp>
          <p:sp>
            <p:nvSpPr>
              <p:cNvPr id="163" name="TextBox 162">
                <a:extLst>
                  <a:ext uri="{FF2B5EF4-FFF2-40B4-BE49-F238E27FC236}">
                    <a16:creationId xmlns:a16="http://schemas.microsoft.com/office/drawing/2014/main" id="{D03CCE0B-8FDA-43ED-8820-4C2EEF0A9D7E}"/>
                  </a:ext>
                </a:extLst>
              </p:cNvPr>
              <p:cNvSpPr txBox="1"/>
              <p:nvPr/>
            </p:nvSpPr>
            <p:spPr>
              <a:xfrm>
                <a:off x="7971300" y="1709378"/>
                <a:ext cx="3289779" cy="459100"/>
              </a:xfrm>
              <a:prstGeom prst="rect">
                <a:avLst/>
              </a:prstGeom>
              <a:noFill/>
            </p:spPr>
            <p:txBody>
              <a:bodyPr wrap="square" rtlCol="0">
                <a:spAutoFit/>
              </a:bodyPr>
              <a:lstStyle/>
              <a:p>
                <a:pPr>
                  <a:lnSpc>
                    <a:spcPts val="1500"/>
                  </a:lnSpc>
                </a:pPr>
                <a:r>
                  <a:rPr lang="en-US" sz="1000" dirty="0">
                    <a:solidFill>
                      <a:schemeClr val="tx1">
                        <a:lumMod val="75000"/>
                        <a:lumOff val="25000"/>
                      </a:schemeClr>
                    </a:solidFill>
                    <a:latin typeface="Montserrat" panose="00000500000000000000" pitchFamily="50" charset="0"/>
                  </a:rPr>
                  <a:t>It is one way to display an algorithm that only contains conditional control statements.</a:t>
                </a:r>
              </a:p>
            </p:txBody>
          </p:sp>
        </p:grpSp>
      </p:grpSp>
    </p:spTree>
    <p:extLst>
      <p:ext uri="{BB962C8B-B14F-4D97-AF65-F5344CB8AC3E}">
        <p14:creationId xmlns:p14="http://schemas.microsoft.com/office/powerpoint/2010/main" val="16619944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Circle"/>
          <p:cNvSpPr/>
          <p:nvPr/>
        </p:nvSpPr>
        <p:spPr>
          <a:xfrm>
            <a:off x="5089002" y="974202"/>
            <a:ext cx="2013996" cy="2013995"/>
          </a:xfrm>
          <a:prstGeom prst="ellipse">
            <a:avLst/>
          </a:prstGeom>
          <a:gradFill>
            <a:gsLst>
              <a:gs pos="0">
                <a:schemeClr val="accent1"/>
              </a:gs>
              <a:gs pos="85000">
                <a:schemeClr val="accent1">
                  <a:alpha val="0"/>
                </a:schemeClr>
              </a:gs>
            </a:gsLst>
            <a:lin ang="5400000" scaled="0"/>
          </a:gradFill>
          <a:ln w="12700" cap="flat">
            <a:noFill/>
            <a:prstDash val="solid"/>
            <a:miter lim="400000"/>
          </a:ln>
          <a:effectLst/>
        </p:spPr>
        <p:txBody>
          <a:bodyPr wrap="square" lIns="0" tIns="0" rIns="0" bIns="0" numCol="1" anchor="ctr">
            <a:noAutofit/>
          </a:bodyPr>
          <a:lstStyle/>
          <a:p>
            <a:pPr algn="ctr" defTabSz="412750" hangingPunct="0">
              <a:defRPr sz="3200" b="0">
                <a:solidFill>
                  <a:srgbClr val="FFFFFF"/>
                </a:solidFill>
                <a:latin typeface="+mn-lt"/>
                <a:ea typeface="+mn-ea"/>
                <a:cs typeface="+mn-cs"/>
                <a:sym typeface="Helvetica Neue Medium"/>
              </a:defRPr>
            </a:pPr>
            <a:endParaRPr sz="1600" kern="0">
              <a:solidFill>
                <a:srgbClr val="FFFFFF"/>
              </a:solidFill>
              <a:latin typeface="Montserrat" panose="00000500000000000000" pitchFamily="50" charset="0"/>
              <a:ea typeface="Helvetica Neue Medium"/>
              <a:cs typeface="Helvetica Neue Medium"/>
              <a:sym typeface="Helvetica Neue Medium"/>
            </a:endParaRPr>
          </a:p>
        </p:txBody>
      </p:sp>
      <p:sp>
        <p:nvSpPr>
          <p:cNvPr id="1902" name="Circle"/>
          <p:cNvSpPr/>
          <p:nvPr/>
        </p:nvSpPr>
        <p:spPr>
          <a:xfrm rot="10800000">
            <a:off x="6339953" y="1698102"/>
            <a:ext cx="2013996" cy="2013996"/>
          </a:xfrm>
          <a:prstGeom prst="ellipse">
            <a:avLst/>
          </a:prstGeom>
          <a:gradFill>
            <a:gsLst>
              <a:gs pos="0">
                <a:schemeClr val="accent3"/>
              </a:gs>
              <a:gs pos="85000">
                <a:schemeClr val="accent3">
                  <a:alpha val="0"/>
                </a:schemeClr>
              </a:gs>
            </a:gsLst>
            <a:lin ang="19800000" scaled="0"/>
          </a:gradFill>
          <a:ln w="12700" cap="flat">
            <a:noFill/>
            <a:miter lim="400000"/>
          </a:ln>
          <a:effectLst/>
        </p:spPr>
        <p:txBody>
          <a:bodyPr wrap="square" lIns="0" tIns="0" rIns="0" bIns="0" numCol="1" anchor="ctr">
            <a:noAutofit/>
          </a:bodyPr>
          <a:lstStyle/>
          <a:p>
            <a:pPr algn="ctr" defTabSz="412750" hangingPunct="0">
              <a:defRPr sz="3200" b="0">
                <a:solidFill>
                  <a:srgbClr val="FFFFFF"/>
                </a:solidFill>
                <a:latin typeface="+mn-lt"/>
                <a:ea typeface="+mn-ea"/>
                <a:cs typeface="+mn-cs"/>
                <a:sym typeface="Helvetica Neue Medium"/>
              </a:defRPr>
            </a:pPr>
            <a:endParaRPr sz="1600" kern="0">
              <a:solidFill>
                <a:srgbClr val="FFFFFF"/>
              </a:solidFill>
              <a:latin typeface="Montserrat" panose="00000500000000000000" pitchFamily="50" charset="0"/>
              <a:ea typeface="Helvetica Neue Medium"/>
              <a:cs typeface="Helvetica Neue Medium"/>
              <a:sym typeface="Helvetica Neue Medium"/>
            </a:endParaRPr>
          </a:p>
        </p:txBody>
      </p:sp>
      <p:sp>
        <p:nvSpPr>
          <p:cNvPr id="1905" name="Circle"/>
          <p:cNvSpPr/>
          <p:nvPr/>
        </p:nvSpPr>
        <p:spPr>
          <a:xfrm rot="10800000">
            <a:off x="6339953" y="3145902"/>
            <a:ext cx="2013996" cy="2013995"/>
          </a:xfrm>
          <a:prstGeom prst="ellipse">
            <a:avLst/>
          </a:prstGeom>
          <a:gradFill>
            <a:gsLst>
              <a:gs pos="0">
                <a:schemeClr val="accent4"/>
              </a:gs>
              <a:gs pos="85000">
                <a:schemeClr val="accent4">
                  <a:alpha val="0"/>
                </a:schemeClr>
              </a:gs>
            </a:gsLst>
            <a:lin ang="1800000" scaled="0"/>
          </a:gradFill>
          <a:ln w="127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Montserrat" panose="00000500000000000000" pitchFamily="50" charset="0"/>
              <a:sym typeface="Helvetica Neue Medium"/>
            </a:endParaRPr>
          </a:p>
        </p:txBody>
      </p:sp>
      <p:sp>
        <p:nvSpPr>
          <p:cNvPr id="1908" name="Circle"/>
          <p:cNvSpPr/>
          <p:nvPr/>
        </p:nvSpPr>
        <p:spPr>
          <a:xfrm rot="10800000">
            <a:off x="5089003" y="3869802"/>
            <a:ext cx="2013996" cy="2013996"/>
          </a:xfrm>
          <a:prstGeom prst="ellipse">
            <a:avLst/>
          </a:prstGeom>
          <a:gradFill>
            <a:gsLst>
              <a:gs pos="0">
                <a:schemeClr val="accent1"/>
              </a:gs>
              <a:gs pos="85000">
                <a:schemeClr val="accent1">
                  <a:alpha val="0"/>
                </a:schemeClr>
              </a:gs>
            </a:gsLst>
            <a:lin ang="5400000" scaled="0"/>
          </a:gradFill>
          <a:ln w="127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Montserrat" panose="00000500000000000000" pitchFamily="50" charset="0"/>
              <a:sym typeface="Helvetica Neue Medium"/>
            </a:endParaRPr>
          </a:p>
        </p:txBody>
      </p:sp>
      <p:sp>
        <p:nvSpPr>
          <p:cNvPr id="1911" name="Circle"/>
          <p:cNvSpPr/>
          <p:nvPr/>
        </p:nvSpPr>
        <p:spPr>
          <a:xfrm rot="10800000">
            <a:off x="3838053" y="3145902"/>
            <a:ext cx="2013996" cy="2013995"/>
          </a:xfrm>
          <a:prstGeom prst="ellipse">
            <a:avLst/>
          </a:prstGeom>
          <a:gradFill>
            <a:gsLst>
              <a:gs pos="0">
                <a:schemeClr val="accent3"/>
              </a:gs>
              <a:gs pos="85000">
                <a:schemeClr val="accent3">
                  <a:alpha val="0"/>
                </a:schemeClr>
              </a:gs>
            </a:gsLst>
            <a:lin ang="8400000" scaled="0"/>
          </a:gradFill>
          <a:ln w="127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Montserrat" panose="00000500000000000000" pitchFamily="50" charset="0"/>
              <a:sym typeface="Helvetica Neue Medium"/>
            </a:endParaRPr>
          </a:p>
        </p:txBody>
      </p:sp>
      <p:sp>
        <p:nvSpPr>
          <p:cNvPr id="1914" name="Circle"/>
          <p:cNvSpPr/>
          <p:nvPr/>
        </p:nvSpPr>
        <p:spPr>
          <a:xfrm rot="10800000">
            <a:off x="3838052" y="1698102"/>
            <a:ext cx="2013995" cy="2013995"/>
          </a:xfrm>
          <a:prstGeom prst="ellipse">
            <a:avLst/>
          </a:prstGeom>
          <a:gradFill>
            <a:gsLst>
              <a:gs pos="0">
                <a:schemeClr val="accent4"/>
              </a:gs>
              <a:gs pos="85000">
                <a:schemeClr val="accent4">
                  <a:alpha val="0"/>
                </a:schemeClr>
              </a:gs>
            </a:gsLst>
            <a:lin ang="12600000" scaled="0"/>
          </a:gradFill>
          <a:ln w="127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Montserrat" panose="00000500000000000000" pitchFamily="50" charset="0"/>
              <a:sym typeface="Helvetica Neue Medium"/>
            </a:endParaRPr>
          </a:p>
        </p:txBody>
      </p:sp>
      <p:sp>
        <p:nvSpPr>
          <p:cNvPr id="1917" name="Placeholder Text"/>
          <p:cNvSpPr txBox="1"/>
          <p:nvPr/>
        </p:nvSpPr>
        <p:spPr>
          <a:xfrm>
            <a:off x="5562495" y="1600205"/>
            <a:ext cx="1067011" cy="22057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defRPr sz="2500" b="0">
                <a:solidFill>
                  <a:srgbClr val="E27C55"/>
                </a:solidFill>
                <a:latin typeface="Barlow Medium"/>
                <a:ea typeface="Barlow Medium"/>
                <a:cs typeface="Barlow Medium"/>
                <a:sym typeface="Barlow Medium"/>
              </a:defRPr>
            </a:lvl1pPr>
          </a:lstStyle>
          <a:p>
            <a:pPr algn="ctr" defTabSz="412750" hangingPunct="0"/>
            <a:r>
              <a:rPr lang="en-US" sz="1100" b="1" kern="0" dirty="0">
                <a:solidFill>
                  <a:schemeClr val="bg1"/>
                </a:solidFill>
                <a:latin typeface="Montserrat" panose="00000500000000000000" pitchFamily="50" charset="0"/>
              </a:rPr>
              <a:t>Topic A</a:t>
            </a:r>
            <a:endParaRPr sz="1100" b="1" kern="0" dirty="0">
              <a:solidFill>
                <a:schemeClr val="bg1"/>
              </a:solidFill>
              <a:latin typeface="Montserrat" panose="00000500000000000000" pitchFamily="50" charset="0"/>
            </a:endParaRPr>
          </a:p>
        </p:txBody>
      </p:sp>
      <p:sp>
        <p:nvSpPr>
          <p:cNvPr id="1923" name="Circle"/>
          <p:cNvSpPr/>
          <p:nvPr/>
        </p:nvSpPr>
        <p:spPr>
          <a:xfrm>
            <a:off x="5953125" y="1250956"/>
            <a:ext cx="285751" cy="285751"/>
          </a:xfrm>
          <a:prstGeom prst="ellipse">
            <a:avLst/>
          </a:prstGeom>
          <a:solidFill>
            <a:schemeClr val="bg1"/>
          </a:solidFill>
          <a:ln w="12700" cap="flat">
            <a:noFill/>
            <a:miter lim="400000"/>
          </a:ln>
          <a:effectLst/>
        </p:spPr>
        <p:txBody>
          <a:bodyPr wrap="square" lIns="0" tIns="0" rIns="0" bIns="0" numCol="1" anchor="ctr">
            <a:noAutofit/>
          </a:bodyPr>
          <a:lstStyle/>
          <a:p>
            <a:pPr algn="ctr" defTabSz="412750" hangingPunct="0">
              <a:defRPr sz="3200" b="0">
                <a:solidFill>
                  <a:srgbClr val="FFFFFF"/>
                </a:solidFill>
                <a:latin typeface="+mn-lt"/>
                <a:ea typeface="+mn-ea"/>
                <a:cs typeface="+mn-cs"/>
                <a:sym typeface="Helvetica Neue Medium"/>
              </a:defRPr>
            </a:pPr>
            <a:r>
              <a:rPr lang="en-US" sz="1200" b="1" kern="0" dirty="0">
                <a:solidFill>
                  <a:schemeClr val="accent1"/>
                </a:solidFill>
                <a:latin typeface="Montserrat" panose="00000500000000000000" pitchFamily="50" charset="0"/>
                <a:ea typeface="Helvetica Neue Medium"/>
                <a:cs typeface="Helvetica Neue Medium"/>
                <a:sym typeface="Helvetica Neue Medium"/>
              </a:rPr>
              <a:t>1</a:t>
            </a:r>
            <a:endParaRPr sz="1200" b="1" kern="0" dirty="0">
              <a:solidFill>
                <a:schemeClr val="accent1"/>
              </a:solidFill>
              <a:latin typeface="Montserrat" panose="00000500000000000000" pitchFamily="50" charset="0"/>
              <a:ea typeface="Helvetica Neue Medium"/>
              <a:cs typeface="Helvetica Neue Medium"/>
              <a:sym typeface="Helvetica Neue Medium"/>
            </a:endParaRPr>
          </a:p>
        </p:txBody>
      </p:sp>
      <p:sp>
        <p:nvSpPr>
          <p:cNvPr id="1921" name="Placeholder Text"/>
          <p:cNvSpPr txBox="1"/>
          <p:nvPr/>
        </p:nvSpPr>
        <p:spPr>
          <a:xfrm>
            <a:off x="7100413" y="2556396"/>
            <a:ext cx="1067011" cy="22057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500" b="0">
                <a:solidFill>
                  <a:srgbClr val="926F95"/>
                </a:solidFill>
                <a:latin typeface="Barlow Medium"/>
                <a:ea typeface="Barlow Medium"/>
                <a:cs typeface="Barlow Medium"/>
                <a:sym typeface="Barlow Medium"/>
              </a:defRPr>
            </a:lvl1pPr>
          </a:lstStyle>
          <a:p>
            <a:pPr algn="ctr" defTabSz="412750" hangingPunct="0"/>
            <a:r>
              <a:rPr lang="en-US" sz="1100" b="1" kern="0" dirty="0">
                <a:solidFill>
                  <a:schemeClr val="bg1"/>
                </a:solidFill>
                <a:latin typeface="Montserrat" panose="00000500000000000000" pitchFamily="50" charset="0"/>
              </a:rPr>
              <a:t>Topic B</a:t>
            </a:r>
            <a:endParaRPr sz="1100" b="1" kern="0" dirty="0">
              <a:solidFill>
                <a:schemeClr val="bg1"/>
              </a:solidFill>
              <a:latin typeface="Montserrat" panose="00000500000000000000" pitchFamily="50" charset="0"/>
            </a:endParaRPr>
          </a:p>
        </p:txBody>
      </p:sp>
      <p:sp>
        <p:nvSpPr>
          <p:cNvPr id="1927" name="Circle"/>
          <p:cNvSpPr/>
          <p:nvPr/>
        </p:nvSpPr>
        <p:spPr>
          <a:xfrm>
            <a:off x="7491043" y="2213391"/>
            <a:ext cx="285751" cy="285751"/>
          </a:xfrm>
          <a:prstGeom prst="ellipse">
            <a:avLst/>
          </a:prstGeom>
          <a:solidFill>
            <a:schemeClr val="bg1"/>
          </a:solidFill>
          <a:ln w="12700" cap="flat">
            <a:noFill/>
            <a:miter lim="400000"/>
          </a:ln>
          <a:effectLst/>
        </p:spPr>
        <p:txBody>
          <a:bodyPr wrap="square" lIns="0" tIns="0" rIns="0" bIns="0" numCol="1" anchor="ctr">
            <a:noAutofit/>
          </a:bodyPr>
          <a:lstStyle/>
          <a:p>
            <a:pPr algn="ctr" defTabSz="412750" hangingPunct="0">
              <a:defRPr sz="3200" b="0">
                <a:solidFill>
                  <a:srgbClr val="FFFFFF"/>
                </a:solidFill>
                <a:latin typeface="+mn-lt"/>
                <a:ea typeface="+mn-ea"/>
                <a:cs typeface="+mn-cs"/>
                <a:sym typeface="Helvetica Neue Medium"/>
              </a:defRPr>
            </a:pPr>
            <a:r>
              <a:rPr lang="en-US" sz="1200" b="1" kern="0" dirty="0">
                <a:solidFill>
                  <a:schemeClr val="accent3"/>
                </a:solidFill>
                <a:latin typeface="Montserrat" panose="00000500000000000000" pitchFamily="50" charset="0"/>
                <a:ea typeface="Helvetica Neue Medium"/>
                <a:cs typeface="Helvetica Neue Medium"/>
                <a:sym typeface="Helvetica Neue Medium"/>
              </a:rPr>
              <a:t>2</a:t>
            </a:r>
            <a:endParaRPr sz="1200" b="1" kern="0" dirty="0">
              <a:solidFill>
                <a:schemeClr val="accent3"/>
              </a:solidFill>
              <a:latin typeface="Montserrat" panose="00000500000000000000" pitchFamily="50" charset="0"/>
              <a:ea typeface="Helvetica Neue Medium"/>
              <a:cs typeface="Helvetica Neue Medium"/>
              <a:sym typeface="Helvetica Neue Medium"/>
            </a:endParaRPr>
          </a:p>
        </p:txBody>
      </p:sp>
      <p:sp>
        <p:nvSpPr>
          <p:cNvPr id="1922" name="Placeholder Text"/>
          <p:cNvSpPr txBox="1"/>
          <p:nvPr/>
        </p:nvSpPr>
        <p:spPr>
          <a:xfrm>
            <a:off x="4024576" y="2556396"/>
            <a:ext cx="1067011" cy="22057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r">
              <a:defRPr sz="2500" b="0">
                <a:solidFill>
                  <a:srgbClr val="495B6F"/>
                </a:solidFill>
                <a:latin typeface="Barlow Medium"/>
                <a:ea typeface="Barlow Medium"/>
                <a:cs typeface="Barlow Medium"/>
                <a:sym typeface="Barlow Medium"/>
              </a:defRPr>
            </a:lvl1pPr>
          </a:lstStyle>
          <a:p>
            <a:pPr algn="ctr" defTabSz="412750" hangingPunct="0"/>
            <a:r>
              <a:rPr lang="en-US" sz="1100" b="1" kern="0" dirty="0">
                <a:solidFill>
                  <a:schemeClr val="bg1"/>
                </a:solidFill>
                <a:latin typeface="Montserrat" panose="00000500000000000000" pitchFamily="50" charset="0"/>
              </a:rPr>
              <a:t>Topic F</a:t>
            </a:r>
            <a:endParaRPr sz="1100" b="1" kern="0" dirty="0">
              <a:solidFill>
                <a:schemeClr val="bg1"/>
              </a:solidFill>
              <a:latin typeface="Montserrat" panose="00000500000000000000" pitchFamily="50" charset="0"/>
            </a:endParaRPr>
          </a:p>
        </p:txBody>
      </p:sp>
      <p:sp>
        <p:nvSpPr>
          <p:cNvPr id="1931" name="Circle"/>
          <p:cNvSpPr/>
          <p:nvPr/>
        </p:nvSpPr>
        <p:spPr>
          <a:xfrm>
            <a:off x="4415206" y="2213391"/>
            <a:ext cx="285751" cy="285751"/>
          </a:xfrm>
          <a:prstGeom prst="ellipse">
            <a:avLst/>
          </a:prstGeom>
          <a:solidFill>
            <a:schemeClr val="bg1"/>
          </a:solidFill>
          <a:ln w="12700" cap="flat">
            <a:noFill/>
            <a:miter lim="400000"/>
          </a:ln>
          <a:effectLst/>
        </p:spPr>
        <p:txBody>
          <a:bodyPr wrap="square" lIns="0" tIns="0" rIns="0" bIns="0" numCol="1" anchor="ctr">
            <a:noAutofit/>
          </a:bodyPr>
          <a:lstStyle/>
          <a:p>
            <a:pPr algn="ctr" defTabSz="412750" hangingPunct="0">
              <a:defRPr sz="3200" b="0">
                <a:solidFill>
                  <a:srgbClr val="FFFFFF"/>
                </a:solidFill>
                <a:latin typeface="+mn-lt"/>
                <a:ea typeface="+mn-ea"/>
                <a:cs typeface="+mn-cs"/>
                <a:sym typeface="Helvetica Neue Medium"/>
              </a:defRPr>
            </a:pPr>
            <a:r>
              <a:rPr lang="en-US" sz="1200" b="1" kern="0" dirty="0">
                <a:solidFill>
                  <a:schemeClr val="accent4"/>
                </a:solidFill>
                <a:latin typeface="Montserrat" panose="00000500000000000000" pitchFamily="50" charset="0"/>
                <a:ea typeface="Helvetica Neue Medium"/>
                <a:cs typeface="Helvetica Neue Medium"/>
                <a:sym typeface="Helvetica Neue Medium"/>
              </a:rPr>
              <a:t>6</a:t>
            </a:r>
            <a:endParaRPr sz="1200" b="1" kern="0" dirty="0">
              <a:solidFill>
                <a:schemeClr val="accent4"/>
              </a:solidFill>
              <a:latin typeface="Montserrat" panose="00000500000000000000" pitchFamily="50" charset="0"/>
              <a:ea typeface="Helvetica Neue Medium"/>
              <a:cs typeface="Helvetica Neue Medium"/>
              <a:sym typeface="Helvetica Neue Medium"/>
            </a:endParaRPr>
          </a:p>
        </p:txBody>
      </p:sp>
      <p:sp>
        <p:nvSpPr>
          <p:cNvPr id="1920" name="Placeholder Text"/>
          <p:cNvSpPr txBox="1"/>
          <p:nvPr/>
        </p:nvSpPr>
        <p:spPr>
          <a:xfrm>
            <a:off x="4024576" y="4303642"/>
            <a:ext cx="1067011" cy="22057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r">
              <a:defRPr sz="2500" b="0">
                <a:solidFill>
                  <a:srgbClr val="926F95"/>
                </a:solidFill>
                <a:latin typeface="Barlow Medium"/>
                <a:ea typeface="Barlow Medium"/>
                <a:cs typeface="Barlow Medium"/>
                <a:sym typeface="Barlow Medium"/>
              </a:defRPr>
            </a:lvl1pPr>
          </a:lstStyle>
          <a:p>
            <a:pPr algn="ctr" defTabSz="412750" hangingPunct="0"/>
            <a:r>
              <a:rPr lang="en-US" sz="1100" b="1" kern="0" dirty="0">
                <a:solidFill>
                  <a:schemeClr val="bg1"/>
                </a:solidFill>
                <a:latin typeface="Montserrat" panose="00000500000000000000" pitchFamily="50" charset="0"/>
              </a:rPr>
              <a:t>Topic e</a:t>
            </a:r>
            <a:endParaRPr sz="1100" b="1" kern="0" dirty="0">
              <a:solidFill>
                <a:schemeClr val="bg1"/>
              </a:solidFill>
              <a:latin typeface="Montserrat" panose="00000500000000000000" pitchFamily="50" charset="0"/>
            </a:endParaRPr>
          </a:p>
        </p:txBody>
      </p:sp>
      <p:sp>
        <p:nvSpPr>
          <p:cNvPr id="1939" name="Circle"/>
          <p:cNvSpPr/>
          <p:nvPr/>
        </p:nvSpPr>
        <p:spPr>
          <a:xfrm>
            <a:off x="4415206" y="3950695"/>
            <a:ext cx="285751" cy="285750"/>
          </a:xfrm>
          <a:prstGeom prst="ellipse">
            <a:avLst/>
          </a:prstGeom>
          <a:solidFill>
            <a:schemeClr val="bg1"/>
          </a:solidFill>
          <a:ln w="12700" cap="flat">
            <a:noFill/>
            <a:miter lim="400000"/>
          </a:ln>
          <a:effectLst/>
        </p:spPr>
        <p:txBody>
          <a:bodyPr wrap="square" lIns="0" tIns="0" rIns="0" bIns="0" numCol="1" anchor="ctr">
            <a:noAutofit/>
          </a:bodyPr>
          <a:lstStyle/>
          <a:p>
            <a:pPr algn="ctr" defTabSz="412750" hangingPunct="0">
              <a:defRPr sz="3200" b="0">
                <a:solidFill>
                  <a:srgbClr val="FFFFFF"/>
                </a:solidFill>
                <a:latin typeface="+mn-lt"/>
                <a:ea typeface="+mn-ea"/>
                <a:cs typeface="+mn-cs"/>
                <a:sym typeface="Helvetica Neue Medium"/>
              </a:defRPr>
            </a:pPr>
            <a:r>
              <a:rPr lang="en-US" sz="1200" b="1" kern="0" dirty="0">
                <a:solidFill>
                  <a:schemeClr val="accent3"/>
                </a:solidFill>
                <a:latin typeface="Montserrat" panose="00000500000000000000" pitchFamily="50" charset="0"/>
                <a:ea typeface="Helvetica Neue Medium"/>
                <a:cs typeface="Helvetica Neue Medium"/>
                <a:sym typeface="Helvetica Neue Medium"/>
              </a:rPr>
              <a:t>5</a:t>
            </a:r>
            <a:endParaRPr sz="1200" b="1" kern="0" dirty="0">
              <a:solidFill>
                <a:schemeClr val="accent3"/>
              </a:solidFill>
              <a:latin typeface="Montserrat" panose="00000500000000000000" pitchFamily="50" charset="0"/>
              <a:ea typeface="Helvetica Neue Medium"/>
              <a:cs typeface="Helvetica Neue Medium"/>
              <a:sym typeface="Helvetica Neue Medium"/>
            </a:endParaRPr>
          </a:p>
        </p:txBody>
      </p:sp>
      <p:sp>
        <p:nvSpPr>
          <p:cNvPr id="85" name="Circle">
            <a:extLst>
              <a:ext uri="{FF2B5EF4-FFF2-40B4-BE49-F238E27FC236}">
                <a16:creationId xmlns:a16="http://schemas.microsoft.com/office/drawing/2014/main" id="{D247176B-90FB-4B87-924D-289DC5544984}"/>
              </a:ext>
            </a:extLst>
          </p:cNvPr>
          <p:cNvSpPr/>
          <p:nvPr/>
        </p:nvSpPr>
        <p:spPr>
          <a:xfrm rot="10800000">
            <a:off x="5089003" y="2422002"/>
            <a:ext cx="2013996" cy="2013995"/>
          </a:xfrm>
          <a:prstGeom prst="ellipse">
            <a:avLst/>
          </a:prstGeom>
          <a:gradFill flip="none" rotWithShape="1">
            <a:gsLst>
              <a:gs pos="47000">
                <a:schemeClr val="bg1">
                  <a:alpha val="0"/>
                </a:schemeClr>
              </a:gs>
              <a:gs pos="69000">
                <a:schemeClr val="bg1"/>
              </a:gs>
            </a:gsLst>
            <a:path path="circle">
              <a:fillToRect l="50000" t="50000" r="50000" b="50000"/>
            </a:path>
            <a:tileRect/>
          </a:gradFill>
          <a:ln w="25400" cap="flat">
            <a:noFill/>
            <a:prstDash val="solid"/>
            <a:miter lim="400000"/>
          </a:ln>
          <a:effectLst/>
        </p:spPr>
        <p:txBody>
          <a:bodyPr wrap="square" lIns="0" tIns="0" rIns="0" bIns="0" numCol="1" anchor="ctr">
            <a:noAutofit/>
          </a:bodyPr>
          <a:lstStyle/>
          <a:p>
            <a:pPr algn="ctr" defTabSz="412750" hangingPunct="0">
              <a:defRPr sz="3200" b="0">
                <a:solidFill>
                  <a:srgbClr val="FFFFFF"/>
                </a:solidFill>
                <a:latin typeface="+mn-lt"/>
                <a:ea typeface="+mn-ea"/>
                <a:cs typeface="+mn-cs"/>
                <a:sym typeface="Helvetica Neue Medium"/>
              </a:defRPr>
            </a:pPr>
            <a:endParaRPr sz="1600" b="1" kern="0" dirty="0">
              <a:solidFill>
                <a:srgbClr val="FFFFFF"/>
              </a:solidFill>
              <a:latin typeface="Montserrat" panose="00000500000000000000" pitchFamily="50" charset="0"/>
              <a:ea typeface="Helvetica Neue Medium"/>
              <a:cs typeface="Helvetica Neue Medium"/>
              <a:sym typeface="Helvetica Neue Medium"/>
            </a:endParaRPr>
          </a:p>
        </p:txBody>
      </p:sp>
      <p:grpSp>
        <p:nvGrpSpPr>
          <p:cNvPr id="3" name="Group 2">
            <a:extLst>
              <a:ext uri="{FF2B5EF4-FFF2-40B4-BE49-F238E27FC236}">
                <a16:creationId xmlns:a16="http://schemas.microsoft.com/office/drawing/2014/main" id="{C825201B-672B-4E93-9B49-B0E447E2AB9C}"/>
              </a:ext>
            </a:extLst>
          </p:cNvPr>
          <p:cNvGrpSpPr/>
          <p:nvPr/>
        </p:nvGrpSpPr>
        <p:grpSpPr>
          <a:xfrm>
            <a:off x="5265689" y="2577768"/>
            <a:ext cx="1673736" cy="1658677"/>
            <a:chOff x="5266849" y="2577769"/>
            <a:chExt cx="1673736" cy="1658677"/>
          </a:xfrm>
        </p:grpSpPr>
        <p:sp>
          <p:nvSpPr>
            <p:cNvPr id="1977" name="A"/>
            <p:cNvSpPr txBox="1"/>
            <p:nvPr/>
          </p:nvSpPr>
          <p:spPr>
            <a:xfrm>
              <a:off x="5884349" y="2577769"/>
              <a:ext cx="436804" cy="2436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defRPr sz="2500" b="0">
                  <a:solidFill>
                    <a:srgbClr val="F7F6F6"/>
                  </a:solidFill>
                  <a:latin typeface="Barlow Medium"/>
                  <a:ea typeface="Barlow Medium"/>
                  <a:cs typeface="Barlow Medium"/>
                  <a:sym typeface="Barlow Medium"/>
                </a:defRPr>
              </a:lvl1pPr>
            </a:lstStyle>
            <a:p>
              <a:pPr algn="ctr" defTabSz="412750" hangingPunct="0"/>
              <a:r>
                <a:rPr sz="1250" b="1" kern="0" dirty="0">
                  <a:solidFill>
                    <a:schemeClr val="accent1"/>
                  </a:solidFill>
                  <a:latin typeface="Montserrat" panose="00000500000000000000" pitchFamily="50" charset="0"/>
                </a:rPr>
                <a:t>A</a:t>
              </a:r>
            </a:p>
          </p:txBody>
        </p:sp>
        <p:sp>
          <p:nvSpPr>
            <p:cNvPr id="1978" name="D"/>
            <p:cNvSpPr txBox="1"/>
            <p:nvPr/>
          </p:nvSpPr>
          <p:spPr>
            <a:xfrm>
              <a:off x="5884349" y="3992790"/>
              <a:ext cx="436804" cy="2436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defRPr sz="2500" b="0">
                  <a:solidFill>
                    <a:srgbClr val="F7F6F6"/>
                  </a:solidFill>
                  <a:latin typeface="Barlow Medium"/>
                  <a:ea typeface="Barlow Medium"/>
                  <a:cs typeface="Barlow Medium"/>
                  <a:sym typeface="Barlow Medium"/>
                </a:defRPr>
              </a:lvl1pPr>
            </a:lstStyle>
            <a:p>
              <a:pPr algn="ctr" defTabSz="412750" hangingPunct="0"/>
              <a:r>
                <a:rPr sz="1250" b="1" kern="0" dirty="0">
                  <a:solidFill>
                    <a:schemeClr val="accent1"/>
                  </a:solidFill>
                  <a:latin typeface="Montserrat" panose="00000500000000000000" pitchFamily="50" charset="0"/>
                </a:rPr>
                <a:t>D</a:t>
              </a:r>
            </a:p>
          </p:txBody>
        </p:sp>
        <p:sp>
          <p:nvSpPr>
            <p:cNvPr id="1979" name="C"/>
            <p:cNvSpPr txBox="1"/>
            <p:nvPr/>
          </p:nvSpPr>
          <p:spPr>
            <a:xfrm>
              <a:off x="6503781" y="3664360"/>
              <a:ext cx="436804" cy="2436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defRPr sz="2500" b="0">
                  <a:solidFill>
                    <a:srgbClr val="F7F6F6"/>
                  </a:solidFill>
                  <a:latin typeface="Barlow Medium"/>
                  <a:ea typeface="Barlow Medium"/>
                  <a:cs typeface="Barlow Medium"/>
                  <a:sym typeface="Barlow Medium"/>
                </a:defRPr>
              </a:lvl1pPr>
            </a:lstStyle>
            <a:p>
              <a:pPr algn="ctr" defTabSz="412750" hangingPunct="0"/>
              <a:r>
                <a:rPr sz="1250" b="1" kern="0" dirty="0">
                  <a:solidFill>
                    <a:schemeClr val="accent4"/>
                  </a:solidFill>
                  <a:latin typeface="Montserrat" panose="00000500000000000000" pitchFamily="50" charset="0"/>
                </a:rPr>
                <a:t>C</a:t>
              </a:r>
            </a:p>
          </p:txBody>
        </p:sp>
        <p:sp>
          <p:nvSpPr>
            <p:cNvPr id="1980" name="E"/>
            <p:cNvSpPr txBox="1"/>
            <p:nvPr/>
          </p:nvSpPr>
          <p:spPr>
            <a:xfrm>
              <a:off x="5266849" y="3648699"/>
              <a:ext cx="436804" cy="2436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defRPr sz="2500" b="0">
                  <a:solidFill>
                    <a:srgbClr val="F7F6F6"/>
                  </a:solidFill>
                  <a:latin typeface="Barlow Medium"/>
                  <a:ea typeface="Barlow Medium"/>
                  <a:cs typeface="Barlow Medium"/>
                  <a:sym typeface="Barlow Medium"/>
                </a:defRPr>
              </a:lvl1pPr>
            </a:lstStyle>
            <a:p>
              <a:pPr algn="ctr" defTabSz="412750" hangingPunct="0"/>
              <a:r>
                <a:rPr sz="1250" b="1" kern="0" dirty="0">
                  <a:solidFill>
                    <a:schemeClr val="accent3"/>
                  </a:solidFill>
                  <a:latin typeface="Montserrat" panose="00000500000000000000" pitchFamily="50" charset="0"/>
                </a:rPr>
                <a:t>E</a:t>
              </a:r>
            </a:p>
          </p:txBody>
        </p:sp>
        <p:sp>
          <p:nvSpPr>
            <p:cNvPr id="1981" name="B"/>
            <p:cNvSpPr txBox="1"/>
            <p:nvPr/>
          </p:nvSpPr>
          <p:spPr>
            <a:xfrm>
              <a:off x="6499018" y="2939533"/>
              <a:ext cx="436804" cy="2436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defRPr sz="2500" b="0">
                  <a:solidFill>
                    <a:srgbClr val="F7F6F6"/>
                  </a:solidFill>
                  <a:latin typeface="Barlow Medium"/>
                  <a:ea typeface="Barlow Medium"/>
                  <a:cs typeface="Barlow Medium"/>
                  <a:sym typeface="Barlow Medium"/>
                </a:defRPr>
              </a:lvl1pPr>
            </a:lstStyle>
            <a:p>
              <a:pPr algn="ctr" defTabSz="412750" hangingPunct="0"/>
              <a:r>
                <a:rPr sz="1250" b="1" kern="0" dirty="0">
                  <a:solidFill>
                    <a:schemeClr val="accent3"/>
                  </a:solidFill>
                  <a:latin typeface="Montserrat" panose="00000500000000000000" pitchFamily="50" charset="0"/>
                </a:rPr>
                <a:t>B</a:t>
              </a:r>
            </a:p>
          </p:txBody>
        </p:sp>
        <p:sp>
          <p:nvSpPr>
            <p:cNvPr id="1982" name="F"/>
            <p:cNvSpPr txBox="1"/>
            <p:nvPr/>
          </p:nvSpPr>
          <p:spPr>
            <a:xfrm>
              <a:off x="5266849" y="2957481"/>
              <a:ext cx="436804" cy="2436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defRPr sz="2500" b="0">
                  <a:solidFill>
                    <a:srgbClr val="F7F6F6"/>
                  </a:solidFill>
                  <a:latin typeface="Barlow Medium"/>
                  <a:ea typeface="Barlow Medium"/>
                  <a:cs typeface="Barlow Medium"/>
                  <a:sym typeface="Barlow Medium"/>
                </a:defRPr>
              </a:lvl1pPr>
            </a:lstStyle>
            <a:p>
              <a:pPr algn="ctr" defTabSz="412750" hangingPunct="0"/>
              <a:r>
                <a:rPr sz="1250" b="1" kern="0" dirty="0">
                  <a:solidFill>
                    <a:schemeClr val="accent4"/>
                  </a:solidFill>
                  <a:latin typeface="Montserrat" panose="00000500000000000000" pitchFamily="50" charset="0"/>
                </a:rPr>
                <a:t>F</a:t>
              </a:r>
            </a:p>
          </p:txBody>
        </p:sp>
      </p:grpSp>
      <p:sp>
        <p:nvSpPr>
          <p:cNvPr id="1918" name="Placeholder Text"/>
          <p:cNvSpPr txBox="1"/>
          <p:nvPr/>
        </p:nvSpPr>
        <p:spPr>
          <a:xfrm>
            <a:off x="5562495" y="5217192"/>
            <a:ext cx="1067011" cy="22057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defRPr sz="2500" b="0">
                <a:solidFill>
                  <a:srgbClr val="545454"/>
                </a:solidFill>
                <a:latin typeface="Barlow Medium"/>
                <a:ea typeface="Barlow Medium"/>
                <a:cs typeface="Barlow Medium"/>
                <a:sym typeface="Barlow Medium"/>
              </a:defRPr>
            </a:lvl1pPr>
          </a:lstStyle>
          <a:p>
            <a:pPr algn="ctr" defTabSz="412750" hangingPunct="0"/>
            <a:r>
              <a:rPr lang="en-US" sz="1100" b="1" kern="0" dirty="0">
                <a:solidFill>
                  <a:schemeClr val="bg1"/>
                </a:solidFill>
                <a:latin typeface="Montserrat" panose="00000500000000000000" pitchFamily="50" charset="0"/>
              </a:rPr>
              <a:t>Topic D</a:t>
            </a:r>
            <a:endParaRPr sz="1100" b="1" kern="0" dirty="0">
              <a:solidFill>
                <a:schemeClr val="bg1"/>
              </a:solidFill>
              <a:latin typeface="Montserrat" panose="00000500000000000000" pitchFamily="50" charset="0"/>
            </a:endParaRPr>
          </a:p>
        </p:txBody>
      </p:sp>
      <p:sp>
        <p:nvSpPr>
          <p:cNvPr id="1935" name="Circle"/>
          <p:cNvSpPr/>
          <p:nvPr/>
        </p:nvSpPr>
        <p:spPr>
          <a:xfrm>
            <a:off x="5953125" y="4849361"/>
            <a:ext cx="285751" cy="285751"/>
          </a:xfrm>
          <a:prstGeom prst="ellipse">
            <a:avLst/>
          </a:prstGeom>
          <a:solidFill>
            <a:schemeClr val="bg1"/>
          </a:solidFill>
          <a:ln w="12700" cap="flat">
            <a:noFill/>
            <a:miter lim="400000"/>
          </a:ln>
          <a:effectLst/>
        </p:spPr>
        <p:txBody>
          <a:bodyPr wrap="square" lIns="0" tIns="0" rIns="0" bIns="0" numCol="1" anchor="ctr">
            <a:noAutofit/>
          </a:bodyPr>
          <a:lstStyle/>
          <a:p>
            <a:pPr algn="ctr" defTabSz="412750" hangingPunct="0">
              <a:defRPr sz="3200" b="0">
                <a:solidFill>
                  <a:srgbClr val="FFFFFF"/>
                </a:solidFill>
                <a:latin typeface="+mn-lt"/>
                <a:ea typeface="+mn-ea"/>
                <a:cs typeface="+mn-cs"/>
                <a:sym typeface="Helvetica Neue Medium"/>
              </a:defRPr>
            </a:pPr>
            <a:r>
              <a:rPr lang="en-US" sz="1200" b="1" kern="0" dirty="0">
                <a:solidFill>
                  <a:schemeClr val="accent1"/>
                </a:solidFill>
                <a:latin typeface="Montserrat" panose="00000500000000000000" pitchFamily="50" charset="0"/>
                <a:ea typeface="Helvetica Neue Medium"/>
                <a:cs typeface="Helvetica Neue Medium"/>
                <a:sym typeface="Helvetica Neue Medium"/>
              </a:rPr>
              <a:t>4</a:t>
            </a:r>
            <a:endParaRPr sz="1200" b="1" kern="0" dirty="0">
              <a:solidFill>
                <a:schemeClr val="accent1"/>
              </a:solidFill>
              <a:latin typeface="Montserrat" panose="00000500000000000000" pitchFamily="50" charset="0"/>
              <a:ea typeface="Helvetica Neue Medium"/>
              <a:cs typeface="Helvetica Neue Medium"/>
              <a:sym typeface="Helvetica Neue Medium"/>
            </a:endParaRPr>
          </a:p>
        </p:txBody>
      </p:sp>
      <p:sp>
        <p:nvSpPr>
          <p:cNvPr id="1919" name="Placeholder Text"/>
          <p:cNvSpPr txBox="1"/>
          <p:nvPr/>
        </p:nvSpPr>
        <p:spPr>
          <a:xfrm>
            <a:off x="7100413" y="4303642"/>
            <a:ext cx="1067011" cy="22057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500" b="0">
                <a:solidFill>
                  <a:srgbClr val="495B6F"/>
                </a:solidFill>
                <a:latin typeface="Barlow Medium"/>
                <a:ea typeface="Barlow Medium"/>
                <a:cs typeface="Barlow Medium"/>
                <a:sym typeface="Barlow Medium"/>
              </a:defRPr>
            </a:lvl1pPr>
          </a:lstStyle>
          <a:p>
            <a:pPr algn="ctr" defTabSz="412750" hangingPunct="0"/>
            <a:r>
              <a:rPr lang="en-US" sz="1100" b="1" kern="0" dirty="0">
                <a:solidFill>
                  <a:schemeClr val="bg1"/>
                </a:solidFill>
                <a:latin typeface="Montserrat" panose="00000500000000000000" pitchFamily="50" charset="0"/>
              </a:rPr>
              <a:t>Topic C</a:t>
            </a:r>
            <a:endParaRPr sz="1100" b="1" kern="0" dirty="0">
              <a:solidFill>
                <a:schemeClr val="bg1"/>
              </a:solidFill>
              <a:latin typeface="Montserrat" panose="00000500000000000000" pitchFamily="50" charset="0"/>
            </a:endParaRPr>
          </a:p>
        </p:txBody>
      </p:sp>
      <p:sp>
        <p:nvSpPr>
          <p:cNvPr id="1943" name="Circle"/>
          <p:cNvSpPr/>
          <p:nvPr/>
        </p:nvSpPr>
        <p:spPr>
          <a:xfrm>
            <a:off x="7491043" y="3950695"/>
            <a:ext cx="285751" cy="285750"/>
          </a:xfrm>
          <a:prstGeom prst="ellipse">
            <a:avLst/>
          </a:prstGeom>
          <a:solidFill>
            <a:schemeClr val="bg1"/>
          </a:solidFill>
          <a:ln w="12700" cap="flat">
            <a:noFill/>
            <a:miter lim="400000"/>
          </a:ln>
          <a:effectLst/>
        </p:spPr>
        <p:txBody>
          <a:bodyPr wrap="square" lIns="0" tIns="0" rIns="0" bIns="0" numCol="1" anchor="ctr">
            <a:noAutofit/>
          </a:bodyPr>
          <a:lstStyle/>
          <a:p>
            <a:pPr algn="ctr" defTabSz="412750" hangingPunct="0">
              <a:defRPr sz="3200" b="0">
                <a:solidFill>
                  <a:srgbClr val="FFFFFF"/>
                </a:solidFill>
                <a:latin typeface="+mn-lt"/>
                <a:ea typeface="+mn-ea"/>
                <a:cs typeface="+mn-cs"/>
                <a:sym typeface="Helvetica Neue Medium"/>
              </a:defRPr>
            </a:pPr>
            <a:r>
              <a:rPr lang="en-US" sz="1200" b="1" kern="0" dirty="0">
                <a:solidFill>
                  <a:schemeClr val="accent4"/>
                </a:solidFill>
                <a:latin typeface="Montserrat" panose="00000500000000000000" pitchFamily="50" charset="0"/>
                <a:ea typeface="Helvetica Neue Medium"/>
                <a:cs typeface="Helvetica Neue Medium"/>
                <a:sym typeface="Helvetica Neue Medium"/>
              </a:rPr>
              <a:t>3</a:t>
            </a:r>
            <a:endParaRPr sz="1200" b="1" kern="0" dirty="0">
              <a:solidFill>
                <a:schemeClr val="accent4"/>
              </a:solidFill>
              <a:latin typeface="Montserrat" panose="00000500000000000000" pitchFamily="50" charset="0"/>
              <a:ea typeface="Helvetica Neue Medium"/>
              <a:cs typeface="Helvetica Neue Medium"/>
              <a:sym typeface="Helvetica Neue Medium"/>
            </a:endParaRPr>
          </a:p>
        </p:txBody>
      </p:sp>
      <p:grpSp>
        <p:nvGrpSpPr>
          <p:cNvPr id="5" name="Group 4">
            <a:extLst>
              <a:ext uri="{FF2B5EF4-FFF2-40B4-BE49-F238E27FC236}">
                <a16:creationId xmlns:a16="http://schemas.microsoft.com/office/drawing/2014/main" id="{BC361DA4-5425-43E5-8838-C7D86D31E93C}"/>
              </a:ext>
            </a:extLst>
          </p:cNvPr>
          <p:cNvGrpSpPr/>
          <p:nvPr/>
        </p:nvGrpSpPr>
        <p:grpSpPr>
          <a:xfrm>
            <a:off x="3838052" y="974202"/>
            <a:ext cx="4515896" cy="4909596"/>
            <a:chOff x="3839212" y="974203"/>
            <a:chExt cx="4515896" cy="4909596"/>
          </a:xfrm>
        </p:grpSpPr>
        <p:sp>
          <p:nvSpPr>
            <p:cNvPr id="88" name="Circle">
              <a:extLst>
                <a:ext uri="{FF2B5EF4-FFF2-40B4-BE49-F238E27FC236}">
                  <a16:creationId xmlns:a16="http://schemas.microsoft.com/office/drawing/2014/main" id="{6E0E7526-B2F7-4DE4-BD8B-D1C9663B6FAA}"/>
                </a:ext>
              </a:extLst>
            </p:cNvPr>
            <p:cNvSpPr/>
            <p:nvPr/>
          </p:nvSpPr>
          <p:spPr>
            <a:xfrm>
              <a:off x="5090162" y="974203"/>
              <a:ext cx="2013996" cy="2013995"/>
            </a:xfrm>
            <a:prstGeom prst="ellipse">
              <a:avLst/>
            </a:prstGeom>
            <a:noFill/>
            <a:ln w="6350" cap="flat">
              <a:gradFill>
                <a:gsLst>
                  <a:gs pos="86000">
                    <a:schemeClr val="accent1">
                      <a:alpha val="0"/>
                    </a:schemeClr>
                  </a:gs>
                  <a:gs pos="100000">
                    <a:schemeClr val="accent1"/>
                  </a:gs>
                </a:gsLst>
                <a:lin ang="5400000" scaled="0"/>
              </a:gradFill>
              <a:miter lim="400000"/>
            </a:ln>
            <a:effectLst/>
          </p:spPr>
          <p:txBody>
            <a:bodyPr wrap="square" lIns="0" tIns="0" rIns="0" bIns="0" numCol="1" anchor="ctr">
              <a:noAutofit/>
            </a:bodyPr>
            <a:lstStyle/>
            <a:p>
              <a:pPr algn="ctr" defTabSz="412750" hangingPunct="0"/>
              <a:endParaRPr sz="1600" kern="0">
                <a:solidFill>
                  <a:srgbClr val="FFFFFF"/>
                </a:solidFill>
                <a:latin typeface="Montserrat" panose="00000500000000000000" pitchFamily="50" charset="0"/>
                <a:sym typeface="Helvetica Neue Medium"/>
              </a:endParaRPr>
            </a:p>
          </p:txBody>
        </p:sp>
        <p:sp>
          <p:nvSpPr>
            <p:cNvPr id="90" name="Circle">
              <a:extLst>
                <a:ext uri="{FF2B5EF4-FFF2-40B4-BE49-F238E27FC236}">
                  <a16:creationId xmlns:a16="http://schemas.microsoft.com/office/drawing/2014/main" id="{0A47BA20-B356-459F-B163-DD48C87028F0}"/>
                </a:ext>
              </a:extLst>
            </p:cNvPr>
            <p:cNvSpPr/>
            <p:nvPr/>
          </p:nvSpPr>
          <p:spPr>
            <a:xfrm rot="10800000">
              <a:off x="6341112" y="3145903"/>
              <a:ext cx="2013996" cy="2013995"/>
            </a:xfrm>
            <a:prstGeom prst="ellipse">
              <a:avLst/>
            </a:prstGeom>
            <a:noFill/>
            <a:ln w="6350" cap="flat">
              <a:gradFill>
                <a:gsLst>
                  <a:gs pos="77000">
                    <a:schemeClr val="accent4">
                      <a:alpha val="0"/>
                    </a:schemeClr>
                  </a:gs>
                  <a:gs pos="88000">
                    <a:schemeClr val="accent4"/>
                  </a:gs>
                </a:gsLst>
                <a:lin ang="1800000" scaled="0"/>
              </a:gradFill>
              <a:miter lim="400000"/>
            </a:ln>
            <a:effectLst/>
          </p:spPr>
          <p:txBody>
            <a:bodyPr wrap="square" lIns="0" tIns="0" rIns="0" bIns="0" numCol="1" anchor="ctr">
              <a:noAutofit/>
            </a:bodyPr>
            <a:lstStyle/>
            <a:p>
              <a:pPr algn="ctr" defTabSz="412750" hangingPunct="0"/>
              <a:endParaRPr sz="1600" kern="0">
                <a:solidFill>
                  <a:srgbClr val="FFFFFF"/>
                </a:solidFill>
                <a:latin typeface="Montserrat" panose="00000500000000000000" pitchFamily="50" charset="0"/>
                <a:sym typeface="Helvetica Neue Medium"/>
              </a:endParaRPr>
            </a:p>
          </p:txBody>
        </p:sp>
        <p:sp>
          <p:nvSpPr>
            <p:cNvPr id="91" name="Circle">
              <a:extLst>
                <a:ext uri="{FF2B5EF4-FFF2-40B4-BE49-F238E27FC236}">
                  <a16:creationId xmlns:a16="http://schemas.microsoft.com/office/drawing/2014/main" id="{56850AAA-C176-4207-B06E-F0A1C95E5870}"/>
                </a:ext>
              </a:extLst>
            </p:cNvPr>
            <p:cNvSpPr/>
            <p:nvPr/>
          </p:nvSpPr>
          <p:spPr>
            <a:xfrm rot="10800000">
              <a:off x="5090162" y="3869803"/>
              <a:ext cx="2013996" cy="2013996"/>
            </a:xfrm>
            <a:prstGeom prst="ellipse">
              <a:avLst/>
            </a:prstGeom>
            <a:noFill/>
            <a:ln w="6350" cap="flat">
              <a:gradFill>
                <a:gsLst>
                  <a:gs pos="86000">
                    <a:schemeClr val="accent1">
                      <a:alpha val="0"/>
                    </a:schemeClr>
                  </a:gs>
                  <a:gs pos="100000">
                    <a:schemeClr val="accent1"/>
                  </a:gs>
                </a:gsLst>
                <a:lin ang="5400000" scaled="0"/>
              </a:gradFill>
              <a:miter lim="400000"/>
            </a:ln>
            <a:effectLst/>
          </p:spPr>
          <p:txBody>
            <a:bodyPr wrap="square" lIns="0" tIns="0" rIns="0" bIns="0" numCol="1" anchor="ctr">
              <a:noAutofit/>
            </a:bodyPr>
            <a:lstStyle/>
            <a:p>
              <a:pPr algn="ctr" defTabSz="412750" hangingPunct="0"/>
              <a:endParaRPr sz="1600" kern="0">
                <a:solidFill>
                  <a:srgbClr val="FFFFFF"/>
                </a:solidFill>
                <a:latin typeface="Montserrat" panose="00000500000000000000" pitchFamily="50" charset="0"/>
                <a:sym typeface="Helvetica Neue Medium"/>
              </a:endParaRPr>
            </a:p>
          </p:txBody>
        </p:sp>
        <p:sp>
          <p:nvSpPr>
            <p:cNvPr id="92" name="Circle">
              <a:extLst>
                <a:ext uri="{FF2B5EF4-FFF2-40B4-BE49-F238E27FC236}">
                  <a16:creationId xmlns:a16="http://schemas.microsoft.com/office/drawing/2014/main" id="{0450FA44-2997-4D55-919A-B2654B7A7990}"/>
                </a:ext>
              </a:extLst>
            </p:cNvPr>
            <p:cNvSpPr/>
            <p:nvPr/>
          </p:nvSpPr>
          <p:spPr>
            <a:xfrm rot="10800000">
              <a:off x="3839212" y="3145903"/>
              <a:ext cx="2013996" cy="2013995"/>
            </a:xfrm>
            <a:prstGeom prst="ellipse">
              <a:avLst/>
            </a:prstGeom>
            <a:noFill/>
            <a:ln w="6350" cap="flat">
              <a:gradFill>
                <a:gsLst>
                  <a:gs pos="77000">
                    <a:schemeClr val="accent3">
                      <a:alpha val="0"/>
                    </a:schemeClr>
                  </a:gs>
                  <a:gs pos="88000">
                    <a:schemeClr val="accent3"/>
                  </a:gs>
                </a:gsLst>
                <a:lin ang="8400000" scaled="0"/>
              </a:gradFill>
              <a:miter lim="400000"/>
            </a:ln>
            <a:effectLst/>
          </p:spPr>
          <p:txBody>
            <a:bodyPr wrap="square" lIns="0" tIns="0" rIns="0" bIns="0" numCol="1" anchor="ctr">
              <a:noAutofit/>
            </a:bodyPr>
            <a:lstStyle/>
            <a:p>
              <a:pPr algn="ctr" defTabSz="412750" hangingPunct="0"/>
              <a:endParaRPr sz="1600" kern="0">
                <a:solidFill>
                  <a:srgbClr val="FFFFFF"/>
                </a:solidFill>
                <a:latin typeface="Montserrat" panose="00000500000000000000" pitchFamily="50" charset="0"/>
                <a:sym typeface="Helvetica Neue Medium"/>
              </a:endParaRPr>
            </a:p>
          </p:txBody>
        </p:sp>
        <p:sp>
          <p:nvSpPr>
            <p:cNvPr id="93" name="Circle">
              <a:extLst>
                <a:ext uri="{FF2B5EF4-FFF2-40B4-BE49-F238E27FC236}">
                  <a16:creationId xmlns:a16="http://schemas.microsoft.com/office/drawing/2014/main" id="{B48F08ED-C786-4B09-A202-7F1CF3DFE442}"/>
                </a:ext>
              </a:extLst>
            </p:cNvPr>
            <p:cNvSpPr/>
            <p:nvPr/>
          </p:nvSpPr>
          <p:spPr>
            <a:xfrm rot="10800000">
              <a:off x="3839212" y="1698103"/>
              <a:ext cx="2013995" cy="2013995"/>
            </a:xfrm>
            <a:prstGeom prst="ellipse">
              <a:avLst/>
            </a:prstGeom>
            <a:noFill/>
            <a:ln w="6350" cap="flat">
              <a:gradFill>
                <a:gsLst>
                  <a:gs pos="77000">
                    <a:schemeClr val="accent4">
                      <a:alpha val="0"/>
                    </a:schemeClr>
                  </a:gs>
                  <a:gs pos="88000">
                    <a:schemeClr val="accent4"/>
                  </a:gs>
                </a:gsLst>
                <a:lin ang="12600000" scaled="0"/>
              </a:gradFill>
              <a:miter lim="400000"/>
            </a:ln>
            <a:effectLst/>
          </p:spPr>
          <p:txBody>
            <a:bodyPr wrap="square" lIns="0" tIns="0" rIns="0" bIns="0" numCol="1" anchor="ctr">
              <a:noAutofit/>
            </a:bodyPr>
            <a:lstStyle/>
            <a:p>
              <a:pPr algn="ctr" defTabSz="412750" hangingPunct="0"/>
              <a:endParaRPr sz="1600" kern="0">
                <a:solidFill>
                  <a:srgbClr val="FFFFFF"/>
                </a:solidFill>
                <a:latin typeface="Montserrat" panose="00000500000000000000" pitchFamily="50" charset="0"/>
                <a:sym typeface="Helvetica Neue Medium"/>
              </a:endParaRPr>
            </a:p>
          </p:txBody>
        </p:sp>
        <p:sp>
          <p:nvSpPr>
            <p:cNvPr id="89" name="Circle">
              <a:extLst>
                <a:ext uri="{FF2B5EF4-FFF2-40B4-BE49-F238E27FC236}">
                  <a16:creationId xmlns:a16="http://schemas.microsoft.com/office/drawing/2014/main" id="{CB7AC5D9-9E9B-4D0C-A434-D8B02B3FD0F0}"/>
                </a:ext>
              </a:extLst>
            </p:cNvPr>
            <p:cNvSpPr/>
            <p:nvPr/>
          </p:nvSpPr>
          <p:spPr>
            <a:xfrm rot="10800000">
              <a:off x="6341112" y="1698103"/>
              <a:ext cx="2013996" cy="2013996"/>
            </a:xfrm>
            <a:prstGeom prst="ellipse">
              <a:avLst/>
            </a:prstGeom>
            <a:noFill/>
            <a:ln w="6350" cap="flat">
              <a:gradFill>
                <a:gsLst>
                  <a:gs pos="77000">
                    <a:schemeClr val="accent3">
                      <a:alpha val="0"/>
                    </a:schemeClr>
                  </a:gs>
                  <a:gs pos="88000">
                    <a:schemeClr val="accent3"/>
                  </a:gs>
                </a:gsLst>
                <a:lin ang="19800000" scaled="0"/>
              </a:gradFill>
              <a:miter lim="400000"/>
            </a:ln>
            <a:effectLst/>
          </p:spPr>
          <p:txBody>
            <a:bodyPr wrap="square" lIns="0" tIns="0" rIns="0" bIns="0" numCol="1" anchor="ctr">
              <a:noAutofit/>
            </a:bodyPr>
            <a:lstStyle/>
            <a:p>
              <a:pPr algn="ctr" defTabSz="412750" hangingPunct="0">
                <a:defRPr sz="3200" b="0">
                  <a:solidFill>
                    <a:srgbClr val="FFFFFF"/>
                  </a:solidFill>
                  <a:latin typeface="+mn-lt"/>
                  <a:ea typeface="+mn-ea"/>
                  <a:cs typeface="+mn-cs"/>
                  <a:sym typeface="Helvetica Neue Medium"/>
                </a:defRPr>
              </a:pPr>
              <a:endParaRPr sz="1600" kern="0">
                <a:solidFill>
                  <a:srgbClr val="FFFFFF"/>
                </a:solidFill>
                <a:latin typeface="Montserrat" panose="00000500000000000000" pitchFamily="50" charset="0"/>
                <a:ea typeface="Helvetica Neue Medium"/>
                <a:cs typeface="Helvetica Neue Medium"/>
                <a:sym typeface="Helvetica Neue Medium"/>
              </a:endParaRPr>
            </a:p>
          </p:txBody>
        </p:sp>
      </p:grpSp>
      <p:sp>
        <p:nvSpPr>
          <p:cNvPr id="104" name="Rectangle 103">
            <a:extLst>
              <a:ext uri="{FF2B5EF4-FFF2-40B4-BE49-F238E27FC236}">
                <a16:creationId xmlns:a16="http://schemas.microsoft.com/office/drawing/2014/main" id="{B5DE93D2-694B-42EC-AFD1-CEF78C343014}"/>
              </a:ext>
            </a:extLst>
          </p:cNvPr>
          <p:cNvSpPr/>
          <p:nvPr/>
        </p:nvSpPr>
        <p:spPr>
          <a:xfrm>
            <a:off x="704299" y="1027660"/>
            <a:ext cx="2815228" cy="632674"/>
          </a:xfrm>
          <a:prstGeom prst="rect">
            <a:avLst/>
          </a:prstGeom>
        </p:spPr>
        <p:txBody>
          <a:bodyPr wrap="square" lIns="0" tIns="0" rIns="0" bIns="0">
            <a:spAutoFit/>
          </a:bodyPr>
          <a:lstStyle/>
          <a:p>
            <a:pPr algn="r">
              <a:lnSpc>
                <a:spcPts val="1700"/>
              </a:lnSpc>
            </a:pPr>
            <a:r>
              <a:rPr lang="en-US" sz="1100" dirty="0">
                <a:solidFill>
                  <a:schemeClr val="tx1">
                    <a:lumMod val="50000"/>
                    <a:lumOff val="50000"/>
                  </a:schemeClr>
                </a:solidFill>
                <a:latin typeface="Montserrat" panose="00000500000000000000" pitchFamily="50" charset="0"/>
              </a:rPr>
              <a:t>Lorem Ipsum is simply dummy text of the printing and typesetting industry. Industry's standard dummy text ever</a:t>
            </a:r>
          </a:p>
        </p:txBody>
      </p:sp>
      <p:grpSp>
        <p:nvGrpSpPr>
          <p:cNvPr id="20" name="Group 19">
            <a:extLst>
              <a:ext uri="{FF2B5EF4-FFF2-40B4-BE49-F238E27FC236}">
                <a16:creationId xmlns:a16="http://schemas.microsoft.com/office/drawing/2014/main" id="{D16C9D6A-1D15-4E8B-947B-C56260A4545B}"/>
              </a:ext>
            </a:extLst>
          </p:cNvPr>
          <p:cNvGrpSpPr/>
          <p:nvPr/>
        </p:nvGrpSpPr>
        <p:grpSpPr>
          <a:xfrm>
            <a:off x="1388213" y="666395"/>
            <a:ext cx="2604807" cy="246221"/>
            <a:chOff x="1388213" y="666395"/>
            <a:chExt cx="2604807" cy="246221"/>
          </a:xfrm>
        </p:grpSpPr>
        <p:sp>
          <p:nvSpPr>
            <p:cNvPr id="103" name="Rectangle 102">
              <a:extLst>
                <a:ext uri="{FF2B5EF4-FFF2-40B4-BE49-F238E27FC236}">
                  <a16:creationId xmlns:a16="http://schemas.microsoft.com/office/drawing/2014/main" id="{37220CBD-4362-4489-A191-3DEE1C2AF52A}"/>
                </a:ext>
              </a:extLst>
            </p:cNvPr>
            <p:cNvSpPr/>
            <p:nvPr/>
          </p:nvSpPr>
          <p:spPr>
            <a:xfrm>
              <a:off x="1388213" y="666395"/>
              <a:ext cx="2131313" cy="246221"/>
            </a:xfrm>
            <a:prstGeom prst="rect">
              <a:avLst/>
            </a:prstGeom>
          </p:spPr>
          <p:txBody>
            <a:bodyPr wrap="square" lIns="0" tIns="0" rIns="0" bIns="0" anchor="ctr">
              <a:spAutoFit/>
            </a:bodyPr>
            <a:lstStyle/>
            <a:p>
              <a:pPr algn="r"/>
              <a:r>
                <a:rPr lang="en-US" sz="1600" b="1" dirty="0">
                  <a:latin typeface="Montserrat" panose="00000500000000000000" pitchFamily="50" charset="0"/>
                </a:rPr>
                <a:t>Strategy Details</a:t>
              </a:r>
            </a:p>
          </p:txBody>
        </p:sp>
        <p:sp>
          <p:nvSpPr>
            <p:cNvPr id="105" name="Rectangle 104">
              <a:extLst>
                <a:ext uri="{FF2B5EF4-FFF2-40B4-BE49-F238E27FC236}">
                  <a16:creationId xmlns:a16="http://schemas.microsoft.com/office/drawing/2014/main" id="{99EDA081-075C-4A6B-9F8F-AA25F4F36350}"/>
                </a:ext>
              </a:extLst>
            </p:cNvPr>
            <p:cNvSpPr/>
            <p:nvPr/>
          </p:nvSpPr>
          <p:spPr>
            <a:xfrm>
              <a:off x="3644122" y="666395"/>
              <a:ext cx="348898" cy="246221"/>
            </a:xfrm>
            <a:prstGeom prst="rect">
              <a:avLst/>
            </a:prstGeom>
          </p:spPr>
          <p:txBody>
            <a:bodyPr wrap="square" lIns="0" tIns="0" rIns="0" bIns="0" anchor="ctr">
              <a:spAutoFit/>
            </a:bodyPr>
            <a:lstStyle/>
            <a:p>
              <a:pPr algn="ctr"/>
              <a:r>
                <a:rPr lang="en-US" sz="1600" b="1" dirty="0">
                  <a:solidFill>
                    <a:schemeClr val="accent4"/>
                  </a:solidFill>
                  <a:latin typeface="Montserrat" panose="00000500000000000000" pitchFamily="50" charset="0"/>
                </a:rPr>
                <a:t>06</a:t>
              </a:r>
            </a:p>
          </p:txBody>
        </p:sp>
      </p:grpSp>
      <p:sp>
        <p:nvSpPr>
          <p:cNvPr id="109" name="Rectangle 108">
            <a:extLst>
              <a:ext uri="{FF2B5EF4-FFF2-40B4-BE49-F238E27FC236}">
                <a16:creationId xmlns:a16="http://schemas.microsoft.com/office/drawing/2014/main" id="{29DAD6E2-EC58-4A4E-9F09-74EEFB753F75}"/>
              </a:ext>
            </a:extLst>
          </p:cNvPr>
          <p:cNvSpPr/>
          <p:nvPr/>
        </p:nvSpPr>
        <p:spPr>
          <a:xfrm>
            <a:off x="258692" y="3293296"/>
            <a:ext cx="2815228" cy="632674"/>
          </a:xfrm>
          <a:prstGeom prst="rect">
            <a:avLst/>
          </a:prstGeom>
        </p:spPr>
        <p:txBody>
          <a:bodyPr wrap="square" lIns="0" tIns="0" rIns="0" bIns="0">
            <a:spAutoFit/>
          </a:bodyPr>
          <a:lstStyle/>
          <a:p>
            <a:pPr algn="r">
              <a:lnSpc>
                <a:spcPts val="1700"/>
              </a:lnSpc>
            </a:pPr>
            <a:r>
              <a:rPr lang="en-US" sz="1100" dirty="0">
                <a:solidFill>
                  <a:schemeClr val="tx1">
                    <a:lumMod val="50000"/>
                    <a:lumOff val="50000"/>
                  </a:schemeClr>
                </a:solidFill>
                <a:latin typeface="Montserrat" panose="00000500000000000000" pitchFamily="50" charset="0"/>
              </a:rPr>
              <a:t>Lorem Ipsum is simply dummy text of the printing and typesetting industry. Industry's standard dummy text ever</a:t>
            </a:r>
          </a:p>
        </p:txBody>
      </p:sp>
      <p:grpSp>
        <p:nvGrpSpPr>
          <p:cNvPr id="16" name="Group 15">
            <a:extLst>
              <a:ext uri="{FF2B5EF4-FFF2-40B4-BE49-F238E27FC236}">
                <a16:creationId xmlns:a16="http://schemas.microsoft.com/office/drawing/2014/main" id="{5BA4C689-BF6B-4CF2-8D71-63CBF51362BA}"/>
              </a:ext>
            </a:extLst>
          </p:cNvPr>
          <p:cNvGrpSpPr/>
          <p:nvPr/>
        </p:nvGrpSpPr>
        <p:grpSpPr>
          <a:xfrm>
            <a:off x="942606" y="2932031"/>
            <a:ext cx="2604807" cy="246221"/>
            <a:chOff x="942606" y="2932031"/>
            <a:chExt cx="2604807" cy="246221"/>
          </a:xfrm>
        </p:grpSpPr>
        <p:sp>
          <p:nvSpPr>
            <p:cNvPr id="108" name="Rectangle 107">
              <a:extLst>
                <a:ext uri="{FF2B5EF4-FFF2-40B4-BE49-F238E27FC236}">
                  <a16:creationId xmlns:a16="http://schemas.microsoft.com/office/drawing/2014/main" id="{9EAB1C05-0303-460F-B73D-DE1C52C72317}"/>
                </a:ext>
              </a:extLst>
            </p:cNvPr>
            <p:cNvSpPr/>
            <p:nvPr/>
          </p:nvSpPr>
          <p:spPr>
            <a:xfrm>
              <a:off x="942606" y="2932031"/>
              <a:ext cx="2131313" cy="246221"/>
            </a:xfrm>
            <a:prstGeom prst="rect">
              <a:avLst/>
            </a:prstGeom>
          </p:spPr>
          <p:txBody>
            <a:bodyPr wrap="square" lIns="0" tIns="0" rIns="0" bIns="0" anchor="ctr">
              <a:spAutoFit/>
            </a:bodyPr>
            <a:lstStyle/>
            <a:p>
              <a:pPr algn="r"/>
              <a:r>
                <a:rPr lang="en-US" sz="1600" b="1" dirty="0">
                  <a:latin typeface="Montserrat" panose="00000500000000000000" pitchFamily="50" charset="0"/>
                </a:rPr>
                <a:t>Strategy Details</a:t>
              </a:r>
            </a:p>
          </p:txBody>
        </p:sp>
        <p:sp>
          <p:nvSpPr>
            <p:cNvPr id="110" name="Rectangle 109">
              <a:extLst>
                <a:ext uri="{FF2B5EF4-FFF2-40B4-BE49-F238E27FC236}">
                  <a16:creationId xmlns:a16="http://schemas.microsoft.com/office/drawing/2014/main" id="{5AD46BCF-4D67-441C-973B-5E8F5BC3950D}"/>
                </a:ext>
              </a:extLst>
            </p:cNvPr>
            <p:cNvSpPr/>
            <p:nvPr/>
          </p:nvSpPr>
          <p:spPr>
            <a:xfrm>
              <a:off x="3198515" y="2932031"/>
              <a:ext cx="348898" cy="246221"/>
            </a:xfrm>
            <a:prstGeom prst="rect">
              <a:avLst/>
            </a:prstGeom>
          </p:spPr>
          <p:txBody>
            <a:bodyPr wrap="square" lIns="0" tIns="0" rIns="0" bIns="0" anchor="ctr">
              <a:spAutoFit/>
            </a:bodyPr>
            <a:lstStyle/>
            <a:p>
              <a:pPr algn="ctr"/>
              <a:r>
                <a:rPr lang="en-US" sz="1600" b="1" dirty="0">
                  <a:solidFill>
                    <a:schemeClr val="accent3"/>
                  </a:solidFill>
                  <a:latin typeface="Montserrat" panose="00000500000000000000" pitchFamily="50" charset="0"/>
                </a:rPr>
                <a:t>05</a:t>
              </a:r>
            </a:p>
          </p:txBody>
        </p:sp>
      </p:grpSp>
      <p:sp>
        <p:nvSpPr>
          <p:cNvPr id="113" name="Rectangle 112">
            <a:extLst>
              <a:ext uri="{FF2B5EF4-FFF2-40B4-BE49-F238E27FC236}">
                <a16:creationId xmlns:a16="http://schemas.microsoft.com/office/drawing/2014/main" id="{4348574F-5DAE-4776-AAC9-553F484FFE9A}"/>
              </a:ext>
            </a:extLst>
          </p:cNvPr>
          <p:cNvSpPr/>
          <p:nvPr/>
        </p:nvSpPr>
        <p:spPr>
          <a:xfrm>
            <a:off x="704299" y="5558932"/>
            <a:ext cx="2815228" cy="632674"/>
          </a:xfrm>
          <a:prstGeom prst="rect">
            <a:avLst/>
          </a:prstGeom>
        </p:spPr>
        <p:txBody>
          <a:bodyPr wrap="square" lIns="0" tIns="0" rIns="0" bIns="0">
            <a:spAutoFit/>
          </a:bodyPr>
          <a:lstStyle/>
          <a:p>
            <a:pPr algn="r">
              <a:lnSpc>
                <a:spcPts val="1700"/>
              </a:lnSpc>
            </a:pPr>
            <a:r>
              <a:rPr lang="en-US" sz="1100" dirty="0">
                <a:solidFill>
                  <a:schemeClr val="tx1">
                    <a:lumMod val="50000"/>
                    <a:lumOff val="50000"/>
                  </a:schemeClr>
                </a:solidFill>
                <a:latin typeface="Montserrat" panose="00000500000000000000" pitchFamily="50" charset="0"/>
              </a:rPr>
              <a:t>Lorem Ipsum is simply dummy text of the printing and typesetting industry. Industry's standard dummy text ever</a:t>
            </a:r>
          </a:p>
        </p:txBody>
      </p:sp>
      <p:grpSp>
        <p:nvGrpSpPr>
          <p:cNvPr id="15" name="Group 14">
            <a:extLst>
              <a:ext uri="{FF2B5EF4-FFF2-40B4-BE49-F238E27FC236}">
                <a16:creationId xmlns:a16="http://schemas.microsoft.com/office/drawing/2014/main" id="{6063A194-DA75-4B63-8BCF-F5A083500158}"/>
              </a:ext>
            </a:extLst>
          </p:cNvPr>
          <p:cNvGrpSpPr/>
          <p:nvPr/>
        </p:nvGrpSpPr>
        <p:grpSpPr>
          <a:xfrm>
            <a:off x="1388213" y="5197667"/>
            <a:ext cx="2604807" cy="246221"/>
            <a:chOff x="1388213" y="5197667"/>
            <a:chExt cx="2604807" cy="246221"/>
          </a:xfrm>
        </p:grpSpPr>
        <p:sp>
          <p:nvSpPr>
            <p:cNvPr id="112" name="Rectangle 111">
              <a:extLst>
                <a:ext uri="{FF2B5EF4-FFF2-40B4-BE49-F238E27FC236}">
                  <a16:creationId xmlns:a16="http://schemas.microsoft.com/office/drawing/2014/main" id="{E8C7343F-4F64-4AE2-BCE6-EE27A773CD03}"/>
                </a:ext>
              </a:extLst>
            </p:cNvPr>
            <p:cNvSpPr/>
            <p:nvPr/>
          </p:nvSpPr>
          <p:spPr>
            <a:xfrm>
              <a:off x="1388213" y="5197667"/>
              <a:ext cx="2131313" cy="246221"/>
            </a:xfrm>
            <a:prstGeom prst="rect">
              <a:avLst/>
            </a:prstGeom>
          </p:spPr>
          <p:txBody>
            <a:bodyPr wrap="square" lIns="0" tIns="0" rIns="0" bIns="0" anchor="ctr">
              <a:spAutoFit/>
            </a:bodyPr>
            <a:lstStyle/>
            <a:p>
              <a:pPr algn="r"/>
              <a:r>
                <a:rPr lang="en-US" sz="1600" b="1" dirty="0">
                  <a:latin typeface="Montserrat" panose="00000500000000000000" pitchFamily="50" charset="0"/>
                </a:rPr>
                <a:t>Strategy Details</a:t>
              </a:r>
            </a:p>
          </p:txBody>
        </p:sp>
        <p:sp>
          <p:nvSpPr>
            <p:cNvPr id="114" name="Rectangle 113">
              <a:extLst>
                <a:ext uri="{FF2B5EF4-FFF2-40B4-BE49-F238E27FC236}">
                  <a16:creationId xmlns:a16="http://schemas.microsoft.com/office/drawing/2014/main" id="{1DB5F354-305B-4901-B041-C4C884470F16}"/>
                </a:ext>
              </a:extLst>
            </p:cNvPr>
            <p:cNvSpPr/>
            <p:nvPr/>
          </p:nvSpPr>
          <p:spPr>
            <a:xfrm>
              <a:off x="3644122" y="5197667"/>
              <a:ext cx="348898" cy="246221"/>
            </a:xfrm>
            <a:prstGeom prst="rect">
              <a:avLst/>
            </a:prstGeom>
          </p:spPr>
          <p:txBody>
            <a:bodyPr wrap="square" lIns="0" tIns="0" rIns="0" bIns="0" anchor="ctr">
              <a:spAutoFit/>
            </a:bodyPr>
            <a:lstStyle/>
            <a:p>
              <a:pPr algn="ctr"/>
              <a:r>
                <a:rPr lang="en-US" sz="1600" b="1" dirty="0">
                  <a:solidFill>
                    <a:schemeClr val="accent1"/>
                  </a:solidFill>
                  <a:latin typeface="Montserrat" panose="00000500000000000000" pitchFamily="50" charset="0"/>
                </a:rPr>
                <a:t>04</a:t>
              </a:r>
            </a:p>
          </p:txBody>
        </p:sp>
      </p:grpSp>
      <p:sp>
        <p:nvSpPr>
          <p:cNvPr id="152" name="Rectangle 151">
            <a:extLst>
              <a:ext uri="{FF2B5EF4-FFF2-40B4-BE49-F238E27FC236}">
                <a16:creationId xmlns:a16="http://schemas.microsoft.com/office/drawing/2014/main" id="{3720EA36-0C1F-4819-ADC5-BF06559CA611}"/>
              </a:ext>
            </a:extLst>
          </p:cNvPr>
          <p:cNvSpPr/>
          <p:nvPr/>
        </p:nvSpPr>
        <p:spPr>
          <a:xfrm flipH="1">
            <a:off x="8672474" y="1027660"/>
            <a:ext cx="2815228" cy="632674"/>
          </a:xfrm>
          <a:prstGeom prst="rect">
            <a:avLst/>
          </a:prstGeom>
        </p:spPr>
        <p:txBody>
          <a:bodyPr wrap="square" lIns="0" tIns="0" rIns="0" bIns="0">
            <a:spAutoFit/>
          </a:bodyPr>
          <a:lstStyle/>
          <a:p>
            <a:pPr>
              <a:lnSpc>
                <a:spcPts val="1700"/>
              </a:lnSpc>
            </a:pPr>
            <a:r>
              <a:rPr lang="en-US" sz="1100" dirty="0">
                <a:solidFill>
                  <a:schemeClr val="tx1">
                    <a:lumMod val="50000"/>
                    <a:lumOff val="50000"/>
                  </a:schemeClr>
                </a:solidFill>
                <a:latin typeface="Montserrat" panose="00000500000000000000" pitchFamily="50" charset="0"/>
              </a:rPr>
              <a:t>Lorem Ipsum is simply dummy text of the printing and typesetting industry. Industry's standard dummy text ever</a:t>
            </a:r>
          </a:p>
        </p:txBody>
      </p:sp>
      <p:grpSp>
        <p:nvGrpSpPr>
          <p:cNvPr id="22" name="Group 21">
            <a:extLst>
              <a:ext uri="{FF2B5EF4-FFF2-40B4-BE49-F238E27FC236}">
                <a16:creationId xmlns:a16="http://schemas.microsoft.com/office/drawing/2014/main" id="{C12276BB-5660-4573-A143-B0160C805FD3}"/>
              </a:ext>
            </a:extLst>
          </p:cNvPr>
          <p:cNvGrpSpPr/>
          <p:nvPr/>
        </p:nvGrpSpPr>
        <p:grpSpPr>
          <a:xfrm>
            <a:off x="8235000" y="666395"/>
            <a:ext cx="2568788" cy="246221"/>
            <a:chOff x="8235000" y="666395"/>
            <a:chExt cx="2568788" cy="246221"/>
          </a:xfrm>
        </p:grpSpPr>
        <p:sp>
          <p:nvSpPr>
            <p:cNvPr id="151" name="Rectangle 150">
              <a:extLst>
                <a:ext uri="{FF2B5EF4-FFF2-40B4-BE49-F238E27FC236}">
                  <a16:creationId xmlns:a16="http://schemas.microsoft.com/office/drawing/2014/main" id="{3B43D13C-06B5-4286-8EEE-27CC3D5D7D4A}"/>
                </a:ext>
              </a:extLst>
            </p:cNvPr>
            <p:cNvSpPr/>
            <p:nvPr/>
          </p:nvSpPr>
          <p:spPr>
            <a:xfrm flipH="1">
              <a:off x="8672475" y="666395"/>
              <a:ext cx="2131313" cy="246221"/>
            </a:xfrm>
            <a:prstGeom prst="rect">
              <a:avLst/>
            </a:prstGeom>
          </p:spPr>
          <p:txBody>
            <a:bodyPr wrap="square" lIns="0" tIns="0" rIns="0" bIns="0" anchor="ctr">
              <a:spAutoFit/>
            </a:bodyPr>
            <a:lstStyle/>
            <a:p>
              <a:r>
                <a:rPr lang="en-US" sz="1600" b="1" dirty="0">
                  <a:latin typeface="Montserrat" panose="00000500000000000000" pitchFamily="50" charset="0"/>
                </a:rPr>
                <a:t>Strategy Details</a:t>
              </a:r>
            </a:p>
          </p:txBody>
        </p:sp>
        <p:sp>
          <p:nvSpPr>
            <p:cNvPr id="153" name="Rectangle 152">
              <a:extLst>
                <a:ext uri="{FF2B5EF4-FFF2-40B4-BE49-F238E27FC236}">
                  <a16:creationId xmlns:a16="http://schemas.microsoft.com/office/drawing/2014/main" id="{FBED1221-2366-4D8D-85E2-237E75697C03}"/>
                </a:ext>
              </a:extLst>
            </p:cNvPr>
            <p:cNvSpPr/>
            <p:nvPr/>
          </p:nvSpPr>
          <p:spPr>
            <a:xfrm flipH="1">
              <a:off x="8235000" y="666395"/>
              <a:ext cx="276861" cy="246221"/>
            </a:xfrm>
            <a:prstGeom prst="rect">
              <a:avLst/>
            </a:prstGeom>
          </p:spPr>
          <p:txBody>
            <a:bodyPr wrap="square" lIns="0" tIns="0" rIns="0" bIns="0" anchor="ctr">
              <a:spAutoFit/>
            </a:bodyPr>
            <a:lstStyle/>
            <a:p>
              <a:pPr algn="ctr"/>
              <a:r>
                <a:rPr lang="en-US" sz="1600" b="1" dirty="0">
                  <a:solidFill>
                    <a:schemeClr val="accent1"/>
                  </a:solidFill>
                  <a:latin typeface="Montserrat" panose="00000500000000000000" pitchFamily="50" charset="0"/>
                </a:rPr>
                <a:t>01</a:t>
              </a:r>
            </a:p>
          </p:txBody>
        </p:sp>
      </p:grpSp>
      <p:sp>
        <p:nvSpPr>
          <p:cNvPr id="149" name="Rectangle 148">
            <a:extLst>
              <a:ext uri="{FF2B5EF4-FFF2-40B4-BE49-F238E27FC236}">
                <a16:creationId xmlns:a16="http://schemas.microsoft.com/office/drawing/2014/main" id="{B2B49F8B-F397-4DD6-83EB-7D7FF9818A39}"/>
              </a:ext>
            </a:extLst>
          </p:cNvPr>
          <p:cNvSpPr/>
          <p:nvPr/>
        </p:nvSpPr>
        <p:spPr>
          <a:xfrm flipH="1">
            <a:off x="9118081" y="3293296"/>
            <a:ext cx="2815228" cy="632674"/>
          </a:xfrm>
          <a:prstGeom prst="rect">
            <a:avLst/>
          </a:prstGeom>
        </p:spPr>
        <p:txBody>
          <a:bodyPr wrap="square" lIns="0" tIns="0" rIns="0" bIns="0">
            <a:spAutoFit/>
          </a:bodyPr>
          <a:lstStyle/>
          <a:p>
            <a:pPr>
              <a:lnSpc>
                <a:spcPts val="1700"/>
              </a:lnSpc>
            </a:pPr>
            <a:r>
              <a:rPr lang="en-US" sz="1100" dirty="0">
                <a:solidFill>
                  <a:schemeClr val="tx1">
                    <a:lumMod val="50000"/>
                    <a:lumOff val="50000"/>
                  </a:schemeClr>
                </a:solidFill>
                <a:latin typeface="Montserrat" panose="00000500000000000000" pitchFamily="50" charset="0"/>
              </a:rPr>
              <a:t>Lorem Ipsum is simply dummy text of the printing and typesetting industry. Industry's standard dummy text ever</a:t>
            </a:r>
          </a:p>
        </p:txBody>
      </p:sp>
      <p:grpSp>
        <p:nvGrpSpPr>
          <p:cNvPr id="23" name="Group 22">
            <a:extLst>
              <a:ext uri="{FF2B5EF4-FFF2-40B4-BE49-F238E27FC236}">
                <a16:creationId xmlns:a16="http://schemas.microsoft.com/office/drawing/2014/main" id="{A349F08A-1876-45CA-A6FB-3482C3933A25}"/>
              </a:ext>
            </a:extLst>
          </p:cNvPr>
          <p:cNvGrpSpPr/>
          <p:nvPr/>
        </p:nvGrpSpPr>
        <p:grpSpPr>
          <a:xfrm>
            <a:off x="8680607" y="2932031"/>
            <a:ext cx="2568788" cy="246221"/>
            <a:chOff x="8680607" y="2932031"/>
            <a:chExt cx="2568788" cy="246221"/>
          </a:xfrm>
        </p:grpSpPr>
        <p:sp>
          <p:nvSpPr>
            <p:cNvPr id="148" name="Rectangle 147">
              <a:extLst>
                <a:ext uri="{FF2B5EF4-FFF2-40B4-BE49-F238E27FC236}">
                  <a16:creationId xmlns:a16="http://schemas.microsoft.com/office/drawing/2014/main" id="{83B0946D-63A9-4A77-BDC6-8D99FE6A86DE}"/>
                </a:ext>
              </a:extLst>
            </p:cNvPr>
            <p:cNvSpPr/>
            <p:nvPr/>
          </p:nvSpPr>
          <p:spPr>
            <a:xfrm flipH="1">
              <a:off x="9118082" y="2932031"/>
              <a:ext cx="2131313" cy="246221"/>
            </a:xfrm>
            <a:prstGeom prst="rect">
              <a:avLst/>
            </a:prstGeom>
          </p:spPr>
          <p:txBody>
            <a:bodyPr wrap="square" lIns="0" tIns="0" rIns="0" bIns="0" anchor="ctr">
              <a:spAutoFit/>
            </a:bodyPr>
            <a:lstStyle/>
            <a:p>
              <a:r>
                <a:rPr lang="en-US" sz="1600" b="1" dirty="0">
                  <a:latin typeface="Montserrat" panose="00000500000000000000" pitchFamily="50" charset="0"/>
                </a:rPr>
                <a:t>Strategy Details</a:t>
              </a:r>
            </a:p>
          </p:txBody>
        </p:sp>
        <p:sp>
          <p:nvSpPr>
            <p:cNvPr id="150" name="Rectangle 149">
              <a:extLst>
                <a:ext uri="{FF2B5EF4-FFF2-40B4-BE49-F238E27FC236}">
                  <a16:creationId xmlns:a16="http://schemas.microsoft.com/office/drawing/2014/main" id="{EA8CA3F7-BC4C-4E65-AAA3-54B4DFDD3C99}"/>
                </a:ext>
              </a:extLst>
            </p:cNvPr>
            <p:cNvSpPr/>
            <p:nvPr/>
          </p:nvSpPr>
          <p:spPr>
            <a:xfrm flipH="1">
              <a:off x="8680607" y="2932031"/>
              <a:ext cx="276861" cy="246221"/>
            </a:xfrm>
            <a:prstGeom prst="rect">
              <a:avLst/>
            </a:prstGeom>
          </p:spPr>
          <p:txBody>
            <a:bodyPr wrap="square" lIns="0" tIns="0" rIns="0" bIns="0" anchor="ctr">
              <a:spAutoFit/>
            </a:bodyPr>
            <a:lstStyle/>
            <a:p>
              <a:pPr algn="ctr"/>
              <a:r>
                <a:rPr lang="en-US" sz="1600" b="1" dirty="0">
                  <a:solidFill>
                    <a:schemeClr val="accent3"/>
                  </a:solidFill>
                  <a:latin typeface="Montserrat" panose="00000500000000000000" pitchFamily="50" charset="0"/>
                </a:rPr>
                <a:t>02</a:t>
              </a:r>
            </a:p>
          </p:txBody>
        </p:sp>
      </p:grpSp>
      <p:sp>
        <p:nvSpPr>
          <p:cNvPr id="146" name="Rectangle 145">
            <a:extLst>
              <a:ext uri="{FF2B5EF4-FFF2-40B4-BE49-F238E27FC236}">
                <a16:creationId xmlns:a16="http://schemas.microsoft.com/office/drawing/2014/main" id="{14E38530-0C0A-4DF9-8991-C4DB16D00A77}"/>
              </a:ext>
            </a:extLst>
          </p:cNvPr>
          <p:cNvSpPr/>
          <p:nvPr/>
        </p:nvSpPr>
        <p:spPr>
          <a:xfrm flipH="1">
            <a:off x="8672474" y="5558932"/>
            <a:ext cx="2815228" cy="632674"/>
          </a:xfrm>
          <a:prstGeom prst="rect">
            <a:avLst/>
          </a:prstGeom>
        </p:spPr>
        <p:txBody>
          <a:bodyPr wrap="square" lIns="0" tIns="0" rIns="0" bIns="0">
            <a:spAutoFit/>
          </a:bodyPr>
          <a:lstStyle/>
          <a:p>
            <a:pPr>
              <a:lnSpc>
                <a:spcPts val="1700"/>
              </a:lnSpc>
            </a:pPr>
            <a:r>
              <a:rPr lang="en-US" sz="1100" dirty="0">
                <a:solidFill>
                  <a:schemeClr val="tx1">
                    <a:lumMod val="50000"/>
                    <a:lumOff val="50000"/>
                  </a:schemeClr>
                </a:solidFill>
                <a:latin typeface="Montserrat" panose="00000500000000000000" pitchFamily="50" charset="0"/>
              </a:rPr>
              <a:t>Lorem Ipsum is simply dummy text of the printing and typesetting industry. Industry's standard dummy text ever</a:t>
            </a:r>
          </a:p>
        </p:txBody>
      </p:sp>
      <p:grpSp>
        <p:nvGrpSpPr>
          <p:cNvPr id="24" name="Group 23">
            <a:extLst>
              <a:ext uri="{FF2B5EF4-FFF2-40B4-BE49-F238E27FC236}">
                <a16:creationId xmlns:a16="http://schemas.microsoft.com/office/drawing/2014/main" id="{714C4720-3E1E-4D26-AFB4-9C333D217383}"/>
              </a:ext>
            </a:extLst>
          </p:cNvPr>
          <p:cNvGrpSpPr/>
          <p:nvPr/>
        </p:nvGrpSpPr>
        <p:grpSpPr>
          <a:xfrm>
            <a:off x="8235000" y="5197667"/>
            <a:ext cx="2568788" cy="246221"/>
            <a:chOff x="8235000" y="5197667"/>
            <a:chExt cx="2568788" cy="246221"/>
          </a:xfrm>
        </p:grpSpPr>
        <p:sp>
          <p:nvSpPr>
            <p:cNvPr id="145" name="Rectangle 144">
              <a:extLst>
                <a:ext uri="{FF2B5EF4-FFF2-40B4-BE49-F238E27FC236}">
                  <a16:creationId xmlns:a16="http://schemas.microsoft.com/office/drawing/2014/main" id="{304D9FCB-2690-4A64-9F61-7C1E75C509E1}"/>
                </a:ext>
              </a:extLst>
            </p:cNvPr>
            <p:cNvSpPr/>
            <p:nvPr/>
          </p:nvSpPr>
          <p:spPr>
            <a:xfrm flipH="1">
              <a:off x="8672475" y="5197667"/>
              <a:ext cx="2131313" cy="246221"/>
            </a:xfrm>
            <a:prstGeom prst="rect">
              <a:avLst/>
            </a:prstGeom>
          </p:spPr>
          <p:txBody>
            <a:bodyPr wrap="square" lIns="0" tIns="0" rIns="0" bIns="0" anchor="ctr">
              <a:spAutoFit/>
            </a:bodyPr>
            <a:lstStyle/>
            <a:p>
              <a:r>
                <a:rPr lang="en-US" sz="1600" b="1" dirty="0">
                  <a:latin typeface="Montserrat" panose="00000500000000000000" pitchFamily="50" charset="0"/>
                </a:rPr>
                <a:t>Strategy Details</a:t>
              </a:r>
            </a:p>
          </p:txBody>
        </p:sp>
        <p:sp>
          <p:nvSpPr>
            <p:cNvPr id="147" name="Rectangle 146">
              <a:extLst>
                <a:ext uri="{FF2B5EF4-FFF2-40B4-BE49-F238E27FC236}">
                  <a16:creationId xmlns:a16="http://schemas.microsoft.com/office/drawing/2014/main" id="{C4609F3A-BF61-44AE-847C-B6B7FC0C4A2A}"/>
                </a:ext>
              </a:extLst>
            </p:cNvPr>
            <p:cNvSpPr/>
            <p:nvPr/>
          </p:nvSpPr>
          <p:spPr>
            <a:xfrm flipH="1">
              <a:off x="8235000" y="5197667"/>
              <a:ext cx="276861" cy="246221"/>
            </a:xfrm>
            <a:prstGeom prst="rect">
              <a:avLst/>
            </a:prstGeom>
          </p:spPr>
          <p:txBody>
            <a:bodyPr wrap="square" lIns="0" tIns="0" rIns="0" bIns="0" anchor="ctr">
              <a:spAutoFit/>
            </a:bodyPr>
            <a:lstStyle/>
            <a:p>
              <a:pPr algn="ctr"/>
              <a:r>
                <a:rPr lang="en-US" sz="1600" b="1" dirty="0">
                  <a:solidFill>
                    <a:schemeClr val="accent4"/>
                  </a:solidFill>
                  <a:latin typeface="Montserrat" panose="00000500000000000000" pitchFamily="50" charset="0"/>
                </a:rPr>
                <a:t>03</a:t>
              </a:r>
            </a:p>
          </p:txBody>
        </p:sp>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00"/>
                                        </p:tgtEl>
                                        <p:attrNameLst>
                                          <p:attrName>style.visibility</p:attrName>
                                        </p:attrNameLst>
                                      </p:cBhvr>
                                      <p:to>
                                        <p:strVal val="visible"/>
                                      </p:to>
                                    </p:set>
                                    <p:animEffect transition="in" filter="fade">
                                      <p:cBhvr>
                                        <p:cTn id="7" dur="1500"/>
                                        <p:tgtEl>
                                          <p:spTgt spid="1900"/>
                                        </p:tgtEl>
                                      </p:cBhvr>
                                    </p:animEffect>
                                  </p:childTnLst>
                                </p:cTn>
                              </p:par>
                              <p:par>
                                <p:cTn id="8" presetID="42" presetClass="path" presetSubtype="0" accel="50000" decel="50000" fill="hold" grpId="1" nodeType="withEffect">
                                  <p:stCondLst>
                                    <p:cond delay="0"/>
                                  </p:stCondLst>
                                  <p:childTnLst>
                                    <p:animMotion origin="layout" path="M 0 -0.09769 L 0 -3.33333E-6 " pathEditMode="relative" rAng="0" ptsTypes="AA">
                                      <p:cBhvr>
                                        <p:cTn id="9" dur="1500" fill="hold"/>
                                        <p:tgtEl>
                                          <p:spTgt spid="1900"/>
                                        </p:tgtEl>
                                        <p:attrNameLst>
                                          <p:attrName>ppt_x</p:attrName>
                                          <p:attrName>ppt_y</p:attrName>
                                        </p:attrNameLst>
                                      </p:cBhvr>
                                      <p:rCtr x="0" y="5231"/>
                                    </p:animMotion>
                                  </p:childTnLst>
                                </p:cTn>
                              </p:par>
                              <p:par>
                                <p:cTn id="10" presetID="10" presetClass="entr" presetSubtype="0" fill="hold" grpId="0" nodeType="withEffect">
                                  <p:stCondLst>
                                    <p:cond delay="0"/>
                                  </p:stCondLst>
                                  <p:childTnLst>
                                    <p:set>
                                      <p:cBhvr>
                                        <p:cTn id="11" dur="1" fill="hold">
                                          <p:stCondLst>
                                            <p:cond delay="0"/>
                                          </p:stCondLst>
                                        </p:cTn>
                                        <p:tgtEl>
                                          <p:spTgt spid="1902"/>
                                        </p:tgtEl>
                                        <p:attrNameLst>
                                          <p:attrName>style.visibility</p:attrName>
                                        </p:attrNameLst>
                                      </p:cBhvr>
                                      <p:to>
                                        <p:strVal val="visible"/>
                                      </p:to>
                                    </p:set>
                                    <p:animEffect transition="in" filter="fade">
                                      <p:cBhvr>
                                        <p:cTn id="12" dur="1500"/>
                                        <p:tgtEl>
                                          <p:spTgt spid="1902"/>
                                        </p:tgtEl>
                                      </p:cBhvr>
                                    </p:animEffect>
                                  </p:childTnLst>
                                </p:cTn>
                              </p:par>
                              <p:par>
                                <p:cTn id="13" presetID="42" presetClass="path" presetSubtype="0" accel="50000" decel="50000" fill="hold" grpId="1" nodeType="withEffect">
                                  <p:stCondLst>
                                    <p:cond delay="0"/>
                                  </p:stCondLst>
                                  <p:childTnLst>
                                    <p:animMotion origin="layout" path="M 0.04649 -0.05347 L -4.16667E-6 -4.44444E-6 " pathEditMode="relative" rAng="0" ptsTypes="AA">
                                      <p:cBhvr>
                                        <p:cTn id="14" dur="1500" fill="hold"/>
                                        <p:tgtEl>
                                          <p:spTgt spid="1902"/>
                                        </p:tgtEl>
                                        <p:attrNameLst>
                                          <p:attrName>ppt_x</p:attrName>
                                          <p:attrName>ppt_y</p:attrName>
                                        </p:attrNameLst>
                                      </p:cBhvr>
                                      <p:rCtr x="-2331" y="2662"/>
                                    </p:animMotion>
                                  </p:childTnLst>
                                </p:cTn>
                              </p:par>
                              <p:par>
                                <p:cTn id="15" presetID="10" presetClass="entr" presetSubtype="0" fill="hold" grpId="0" nodeType="withEffect">
                                  <p:stCondLst>
                                    <p:cond delay="0"/>
                                  </p:stCondLst>
                                  <p:childTnLst>
                                    <p:set>
                                      <p:cBhvr>
                                        <p:cTn id="16" dur="1" fill="hold">
                                          <p:stCondLst>
                                            <p:cond delay="0"/>
                                          </p:stCondLst>
                                        </p:cTn>
                                        <p:tgtEl>
                                          <p:spTgt spid="1905"/>
                                        </p:tgtEl>
                                        <p:attrNameLst>
                                          <p:attrName>style.visibility</p:attrName>
                                        </p:attrNameLst>
                                      </p:cBhvr>
                                      <p:to>
                                        <p:strVal val="visible"/>
                                      </p:to>
                                    </p:set>
                                    <p:animEffect transition="in" filter="fade">
                                      <p:cBhvr>
                                        <p:cTn id="17" dur="1500"/>
                                        <p:tgtEl>
                                          <p:spTgt spid="1905"/>
                                        </p:tgtEl>
                                      </p:cBhvr>
                                    </p:animEffect>
                                  </p:childTnLst>
                                </p:cTn>
                              </p:par>
                              <p:par>
                                <p:cTn id="18" presetID="42" presetClass="path" presetSubtype="0" accel="50000" decel="50000" fill="hold" grpId="1" nodeType="withEffect">
                                  <p:stCondLst>
                                    <p:cond delay="0"/>
                                  </p:stCondLst>
                                  <p:childTnLst>
                                    <p:animMotion origin="layout" path="M 0.04649 0.04699 L -4.16667E-6 4.44444E-6 " pathEditMode="relative" rAng="0" ptsTypes="AA">
                                      <p:cBhvr>
                                        <p:cTn id="19" dur="1500" fill="hold"/>
                                        <p:tgtEl>
                                          <p:spTgt spid="1905"/>
                                        </p:tgtEl>
                                        <p:attrNameLst>
                                          <p:attrName>ppt_x</p:attrName>
                                          <p:attrName>ppt_y</p:attrName>
                                        </p:attrNameLst>
                                      </p:cBhvr>
                                      <p:rCtr x="-2331" y="-2361"/>
                                    </p:animMotion>
                                  </p:childTnLst>
                                </p:cTn>
                              </p:par>
                              <p:par>
                                <p:cTn id="20" presetID="10" presetClass="entr" presetSubtype="0" fill="hold" grpId="0" nodeType="withEffect">
                                  <p:stCondLst>
                                    <p:cond delay="0"/>
                                  </p:stCondLst>
                                  <p:childTnLst>
                                    <p:set>
                                      <p:cBhvr>
                                        <p:cTn id="21" dur="1" fill="hold">
                                          <p:stCondLst>
                                            <p:cond delay="0"/>
                                          </p:stCondLst>
                                        </p:cTn>
                                        <p:tgtEl>
                                          <p:spTgt spid="1908"/>
                                        </p:tgtEl>
                                        <p:attrNameLst>
                                          <p:attrName>style.visibility</p:attrName>
                                        </p:attrNameLst>
                                      </p:cBhvr>
                                      <p:to>
                                        <p:strVal val="visible"/>
                                      </p:to>
                                    </p:set>
                                    <p:animEffect transition="in" filter="fade">
                                      <p:cBhvr>
                                        <p:cTn id="22" dur="1500"/>
                                        <p:tgtEl>
                                          <p:spTgt spid="1908"/>
                                        </p:tgtEl>
                                      </p:cBhvr>
                                    </p:animEffect>
                                  </p:childTnLst>
                                </p:cTn>
                              </p:par>
                              <p:par>
                                <p:cTn id="23" presetID="42" presetClass="path" presetSubtype="0" accel="50000" decel="50000" fill="hold" grpId="1" nodeType="withEffect">
                                  <p:stCondLst>
                                    <p:cond delay="0"/>
                                  </p:stCondLst>
                                  <p:childTnLst>
                                    <p:animMotion origin="layout" path="M -0.00273 0.09607 L 0 -1.11111E-6 " pathEditMode="relative" rAng="0" ptsTypes="AA">
                                      <p:cBhvr>
                                        <p:cTn id="24" dur="1500" fill="hold"/>
                                        <p:tgtEl>
                                          <p:spTgt spid="1908"/>
                                        </p:tgtEl>
                                        <p:attrNameLst>
                                          <p:attrName>ppt_x</p:attrName>
                                          <p:attrName>ppt_y</p:attrName>
                                        </p:attrNameLst>
                                      </p:cBhvr>
                                      <p:rCtr x="130" y="-4815"/>
                                    </p:animMotion>
                                  </p:childTnLst>
                                </p:cTn>
                              </p:par>
                              <p:par>
                                <p:cTn id="25" presetID="10" presetClass="entr" presetSubtype="0" fill="hold" grpId="0" nodeType="withEffect">
                                  <p:stCondLst>
                                    <p:cond delay="0"/>
                                  </p:stCondLst>
                                  <p:childTnLst>
                                    <p:set>
                                      <p:cBhvr>
                                        <p:cTn id="26" dur="1" fill="hold">
                                          <p:stCondLst>
                                            <p:cond delay="0"/>
                                          </p:stCondLst>
                                        </p:cTn>
                                        <p:tgtEl>
                                          <p:spTgt spid="1911"/>
                                        </p:tgtEl>
                                        <p:attrNameLst>
                                          <p:attrName>style.visibility</p:attrName>
                                        </p:attrNameLst>
                                      </p:cBhvr>
                                      <p:to>
                                        <p:strVal val="visible"/>
                                      </p:to>
                                    </p:set>
                                    <p:animEffect transition="in" filter="fade">
                                      <p:cBhvr>
                                        <p:cTn id="27" dur="1500"/>
                                        <p:tgtEl>
                                          <p:spTgt spid="1911"/>
                                        </p:tgtEl>
                                      </p:cBhvr>
                                    </p:animEffect>
                                  </p:childTnLst>
                                </p:cTn>
                              </p:par>
                              <p:par>
                                <p:cTn id="28" presetID="42" presetClass="path" presetSubtype="0" accel="50000" decel="50000" fill="hold" grpId="1" nodeType="withEffect">
                                  <p:stCondLst>
                                    <p:cond delay="0"/>
                                  </p:stCondLst>
                                  <p:childTnLst>
                                    <p:animMotion origin="layout" path="M -0.05052 0.04699 L 4.16667E-6 4.44444E-6 " pathEditMode="relative" rAng="0" ptsTypes="AA">
                                      <p:cBhvr>
                                        <p:cTn id="29" dur="1500" fill="hold"/>
                                        <p:tgtEl>
                                          <p:spTgt spid="1911"/>
                                        </p:tgtEl>
                                        <p:attrNameLst>
                                          <p:attrName>ppt_x</p:attrName>
                                          <p:attrName>ppt_y</p:attrName>
                                        </p:attrNameLst>
                                      </p:cBhvr>
                                      <p:rCtr x="2526" y="-2361"/>
                                    </p:animMotion>
                                  </p:childTnLst>
                                </p:cTn>
                              </p:par>
                              <p:par>
                                <p:cTn id="30" presetID="10" presetClass="entr" presetSubtype="0" fill="hold" grpId="0" nodeType="withEffect">
                                  <p:stCondLst>
                                    <p:cond delay="0"/>
                                  </p:stCondLst>
                                  <p:childTnLst>
                                    <p:set>
                                      <p:cBhvr>
                                        <p:cTn id="31" dur="1" fill="hold">
                                          <p:stCondLst>
                                            <p:cond delay="0"/>
                                          </p:stCondLst>
                                        </p:cTn>
                                        <p:tgtEl>
                                          <p:spTgt spid="1914"/>
                                        </p:tgtEl>
                                        <p:attrNameLst>
                                          <p:attrName>style.visibility</p:attrName>
                                        </p:attrNameLst>
                                      </p:cBhvr>
                                      <p:to>
                                        <p:strVal val="visible"/>
                                      </p:to>
                                    </p:set>
                                    <p:animEffect transition="in" filter="fade">
                                      <p:cBhvr>
                                        <p:cTn id="32" dur="1500"/>
                                        <p:tgtEl>
                                          <p:spTgt spid="1914"/>
                                        </p:tgtEl>
                                      </p:cBhvr>
                                    </p:animEffect>
                                  </p:childTnLst>
                                </p:cTn>
                              </p:par>
                              <p:par>
                                <p:cTn id="33" presetID="42" presetClass="path" presetSubtype="0" accel="50000" decel="50000" fill="hold" grpId="1" nodeType="withEffect">
                                  <p:stCondLst>
                                    <p:cond delay="0"/>
                                  </p:stCondLst>
                                  <p:childTnLst>
                                    <p:animMotion origin="layout" path="M -0.05066 -0.05347 L 4.16667E-6 -4.44444E-6 " pathEditMode="relative" rAng="0" ptsTypes="AA">
                                      <p:cBhvr>
                                        <p:cTn id="34" dur="1500" fill="hold"/>
                                        <p:tgtEl>
                                          <p:spTgt spid="1914"/>
                                        </p:tgtEl>
                                        <p:attrNameLst>
                                          <p:attrName>ppt_x</p:attrName>
                                          <p:attrName>ppt_y</p:attrName>
                                        </p:attrNameLst>
                                      </p:cBhvr>
                                      <p:rCtr x="2526" y="2662"/>
                                    </p:animMotion>
                                  </p:childTnLst>
                                </p:cTn>
                              </p:par>
                              <p:par>
                                <p:cTn id="35" presetID="10" presetClass="entr" presetSubtype="0" fill="hold" nodeType="withEffect">
                                  <p:stCondLst>
                                    <p:cond delay="100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1500"/>
                                        <p:tgtEl>
                                          <p:spTgt spid="5"/>
                                        </p:tgtEl>
                                      </p:cBhvr>
                                    </p:animEffect>
                                  </p:childTnLst>
                                </p:cTn>
                              </p:par>
                              <p:par>
                                <p:cTn id="38" presetID="49" presetClass="entr" presetSubtype="0" decel="100000" fill="hold" grpId="0" nodeType="withEffect">
                                  <p:stCondLst>
                                    <p:cond delay="1750"/>
                                  </p:stCondLst>
                                  <p:childTnLst>
                                    <p:set>
                                      <p:cBhvr>
                                        <p:cTn id="39" dur="1" fill="hold">
                                          <p:stCondLst>
                                            <p:cond delay="0"/>
                                          </p:stCondLst>
                                        </p:cTn>
                                        <p:tgtEl>
                                          <p:spTgt spid="1923"/>
                                        </p:tgtEl>
                                        <p:attrNameLst>
                                          <p:attrName>style.visibility</p:attrName>
                                        </p:attrNameLst>
                                      </p:cBhvr>
                                      <p:to>
                                        <p:strVal val="visible"/>
                                      </p:to>
                                    </p:set>
                                    <p:anim calcmode="lin" valueType="num">
                                      <p:cBhvr>
                                        <p:cTn id="40" dur="1250" fill="hold"/>
                                        <p:tgtEl>
                                          <p:spTgt spid="1923"/>
                                        </p:tgtEl>
                                        <p:attrNameLst>
                                          <p:attrName>ppt_w</p:attrName>
                                        </p:attrNameLst>
                                      </p:cBhvr>
                                      <p:tavLst>
                                        <p:tav tm="0">
                                          <p:val>
                                            <p:fltVal val="0"/>
                                          </p:val>
                                        </p:tav>
                                        <p:tav tm="100000">
                                          <p:val>
                                            <p:strVal val="#ppt_w"/>
                                          </p:val>
                                        </p:tav>
                                      </p:tavLst>
                                    </p:anim>
                                    <p:anim calcmode="lin" valueType="num">
                                      <p:cBhvr>
                                        <p:cTn id="41" dur="1250" fill="hold"/>
                                        <p:tgtEl>
                                          <p:spTgt spid="1923"/>
                                        </p:tgtEl>
                                        <p:attrNameLst>
                                          <p:attrName>ppt_h</p:attrName>
                                        </p:attrNameLst>
                                      </p:cBhvr>
                                      <p:tavLst>
                                        <p:tav tm="0">
                                          <p:val>
                                            <p:fltVal val="0"/>
                                          </p:val>
                                        </p:tav>
                                        <p:tav tm="100000">
                                          <p:val>
                                            <p:strVal val="#ppt_h"/>
                                          </p:val>
                                        </p:tav>
                                      </p:tavLst>
                                    </p:anim>
                                    <p:anim calcmode="lin" valueType="num">
                                      <p:cBhvr>
                                        <p:cTn id="42" dur="1250" fill="hold"/>
                                        <p:tgtEl>
                                          <p:spTgt spid="1923"/>
                                        </p:tgtEl>
                                        <p:attrNameLst>
                                          <p:attrName>style.rotation</p:attrName>
                                        </p:attrNameLst>
                                      </p:cBhvr>
                                      <p:tavLst>
                                        <p:tav tm="0">
                                          <p:val>
                                            <p:fltVal val="360"/>
                                          </p:val>
                                        </p:tav>
                                        <p:tav tm="100000">
                                          <p:val>
                                            <p:fltVal val="0"/>
                                          </p:val>
                                        </p:tav>
                                      </p:tavLst>
                                    </p:anim>
                                    <p:animEffect transition="in" filter="fade">
                                      <p:cBhvr>
                                        <p:cTn id="43" dur="1250"/>
                                        <p:tgtEl>
                                          <p:spTgt spid="1923"/>
                                        </p:tgtEl>
                                      </p:cBhvr>
                                    </p:animEffect>
                                  </p:childTnLst>
                                </p:cTn>
                              </p:par>
                              <p:par>
                                <p:cTn id="44" presetID="49" presetClass="entr" presetSubtype="0" decel="100000" fill="hold" grpId="0" nodeType="withEffect">
                                  <p:stCondLst>
                                    <p:cond delay="1750"/>
                                  </p:stCondLst>
                                  <p:childTnLst>
                                    <p:set>
                                      <p:cBhvr>
                                        <p:cTn id="45" dur="1" fill="hold">
                                          <p:stCondLst>
                                            <p:cond delay="0"/>
                                          </p:stCondLst>
                                        </p:cTn>
                                        <p:tgtEl>
                                          <p:spTgt spid="1927"/>
                                        </p:tgtEl>
                                        <p:attrNameLst>
                                          <p:attrName>style.visibility</p:attrName>
                                        </p:attrNameLst>
                                      </p:cBhvr>
                                      <p:to>
                                        <p:strVal val="visible"/>
                                      </p:to>
                                    </p:set>
                                    <p:anim calcmode="lin" valueType="num">
                                      <p:cBhvr>
                                        <p:cTn id="46" dur="1250" fill="hold"/>
                                        <p:tgtEl>
                                          <p:spTgt spid="1927"/>
                                        </p:tgtEl>
                                        <p:attrNameLst>
                                          <p:attrName>ppt_w</p:attrName>
                                        </p:attrNameLst>
                                      </p:cBhvr>
                                      <p:tavLst>
                                        <p:tav tm="0">
                                          <p:val>
                                            <p:fltVal val="0"/>
                                          </p:val>
                                        </p:tav>
                                        <p:tav tm="100000">
                                          <p:val>
                                            <p:strVal val="#ppt_w"/>
                                          </p:val>
                                        </p:tav>
                                      </p:tavLst>
                                    </p:anim>
                                    <p:anim calcmode="lin" valueType="num">
                                      <p:cBhvr>
                                        <p:cTn id="47" dur="1250" fill="hold"/>
                                        <p:tgtEl>
                                          <p:spTgt spid="1927"/>
                                        </p:tgtEl>
                                        <p:attrNameLst>
                                          <p:attrName>ppt_h</p:attrName>
                                        </p:attrNameLst>
                                      </p:cBhvr>
                                      <p:tavLst>
                                        <p:tav tm="0">
                                          <p:val>
                                            <p:fltVal val="0"/>
                                          </p:val>
                                        </p:tav>
                                        <p:tav tm="100000">
                                          <p:val>
                                            <p:strVal val="#ppt_h"/>
                                          </p:val>
                                        </p:tav>
                                      </p:tavLst>
                                    </p:anim>
                                    <p:anim calcmode="lin" valueType="num">
                                      <p:cBhvr>
                                        <p:cTn id="48" dur="1250" fill="hold"/>
                                        <p:tgtEl>
                                          <p:spTgt spid="1927"/>
                                        </p:tgtEl>
                                        <p:attrNameLst>
                                          <p:attrName>style.rotation</p:attrName>
                                        </p:attrNameLst>
                                      </p:cBhvr>
                                      <p:tavLst>
                                        <p:tav tm="0">
                                          <p:val>
                                            <p:fltVal val="360"/>
                                          </p:val>
                                        </p:tav>
                                        <p:tav tm="100000">
                                          <p:val>
                                            <p:fltVal val="0"/>
                                          </p:val>
                                        </p:tav>
                                      </p:tavLst>
                                    </p:anim>
                                    <p:animEffect transition="in" filter="fade">
                                      <p:cBhvr>
                                        <p:cTn id="49" dur="1250"/>
                                        <p:tgtEl>
                                          <p:spTgt spid="1927"/>
                                        </p:tgtEl>
                                      </p:cBhvr>
                                    </p:animEffect>
                                  </p:childTnLst>
                                </p:cTn>
                              </p:par>
                              <p:par>
                                <p:cTn id="50" presetID="49" presetClass="entr" presetSubtype="0" decel="100000" fill="hold" grpId="0" nodeType="withEffect">
                                  <p:stCondLst>
                                    <p:cond delay="1750"/>
                                  </p:stCondLst>
                                  <p:childTnLst>
                                    <p:set>
                                      <p:cBhvr>
                                        <p:cTn id="51" dur="1" fill="hold">
                                          <p:stCondLst>
                                            <p:cond delay="0"/>
                                          </p:stCondLst>
                                        </p:cTn>
                                        <p:tgtEl>
                                          <p:spTgt spid="1943"/>
                                        </p:tgtEl>
                                        <p:attrNameLst>
                                          <p:attrName>style.visibility</p:attrName>
                                        </p:attrNameLst>
                                      </p:cBhvr>
                                      <p:to>
                                        <p:strVal val="visible"/>
                                      </p:to>
                                    </p:set>
                                    <p:anim calcmode="lin" valueType="num">
                                      <p:cBhvr>
                                        <p:cTn id="52" dur="1250" fill="hold"/>
                                        <p:tgtEl>
                                          <p:spTgt spid="1943"/>
                                        </p:tgtEl>
                                        <p:attrNameLst>
                                          <p:attrName>ppt_w</p:attrName>
                                        </p:attrNameLst>
                                      </p:cBhvr>
                                      <p:tavLst>
                                        <p:tav tm="0">
                                          <p:val>
                                            <p:fltVal val="0"/>
                                          </p:val>
                                        </p:tav>
                                        <p:tav tm="100000">
                                          <p:val>
                                            <p:strVal val="#ppt_w"/>
                                          </p:val>
                                        </p:tav>
                                      </p:tavLst>
                                    </p:anim>
                                    <p:anim calcmode="lin" valueType="num">
                                      <p:cBhvr>
                                        <p:cTn id="53" dur="1250" fill="hold"/>
                                        <p:tgtEl>
                                          <p:spTgt spid="1943"/>
                                        </p:tgtEl>
                                        <p:attrNameLst>
                                          <p:attrName>ppt_h</p:attrName>
                                        </p:attrNameLst>
                                      </p:cBhvr>
                                      <p:tavLst>
                                        <p:tav tm="0">
                                          <p:val>
                                            <p:fltVal val="0"/>
                                          </p:val>
                                        </p:tav>
                                        <p:tav tm="100000">
                                          <p:val>
                                            <p:strVal val="#ppt_h"/>
                                          </p:val>
                                        </p:tav>
                                      </p:tavLst>
                                    </p:anim>
                                    <p:anim calcmode="lin" valueType="num">
                                      <p:cBhvr>
                                        <p:cTn id="54" dur="1250" fill="hold"/>
                                        <p:tgtEl>
                                          <p:spTgt spid="1943"/>
                                        </p:tgtEl>
                                        <p:attrNameLst>
                                          <p:attrName>style.rotation</p:attrName>
                                        </p:attrNameLst>
                                      </p:cBhvr>
                                      <p:tavLst>
                                        <p:tav tm="0">
                                          <p:val>
                                            <p:fltVal val="360"/>
                                          </p:val>
                                        </p:tav>
                                        <p:tav tm="100000">
                                          <p:val>
                                            <p:fltVal val="0"/>
                                          </p:val>
                                        </p:tav>
                                      </p:tavLst>
                                    </p:anim>
                                    <p:animEffect transition="in" filter="fade">
                                      <p:cBhvr>
                                        <p:cTn id="55" dur="1250"/>
                                        <p:tgtEl>
                                          <p:spTgt spid="1943"/>
                                        </p:tgtEl>
                                      </p:cBhvr>
                                    </p:animEffect>
                                  </p:childTnLst>
                                </p:cTn>
                              </p:par>
                              <p:par>
                                <p:cTn id="56" presetID="49" presetClass="entr" presetSubtype="0" decel="100000" fill="hold" grpId="0" nodeType="withEffect">
                                  <p:stCondLst>
                                    <p:cond delay="1750"/>
                                  </p:stCondLst>
                                  <p:childTnLst>
                                    <p:set>
                                      <p:cBhvr>
                                        <p:cTn id="57" dur="1" fill="hold">
                                          <p:stCondLst>
                                            <p:cond delay="0"/>
                                          </p:stCondLst>
                                        </p:cTn>
                                        <p:tgtEl>
                                          <p:spTgt spid="1935"/>
                                        </p:tgtEl>
                                        <p:attrNameLst>
                                          <p:attrName>style.visibility</p:attrName>
                                        </p:attrNameLst>
                                      </p:cBhvr>
                                      <p:to>
                                        <p:strVal val="visible"/>
                                      </p:to>
                                    </p:set>
                                    <p:anim calcmode="lin" valueType="num">
                                      <p:cBhvr>
                                        <p:cTn id="58" dur="1250" fill="hold"/>
                                        <p:tgtEl>
                                          <p:spTgt spid="1935"/>
                                        </p:tgtEl>
                                        <p:attrNameLst>
                                          <p:attrName>ppt_w</p:attrName>
                                        </p:attrNameLst>
                                      </p:cBhvr>
                                      <p:tavLst>
                                        <p:tav tm="0">
                                          <p:val>
                                            <p:fltVal val="0"/>
                                          </p:val>
                                        </p:tav>
                                        <p:tav tm="100000">
                                          <p:val>
                                            <p:strVal val="#ppt_w"/>
                                          </p:val>
                                        </p:tav>
                                      </p:tavLst>
                                    </p:anim>
                                    <p:anim calcmode="lin" valueType="num">
                                      <p:cBhvr>
                                        <p:cTn id="59" dur="1250" fill="hold"/>
                                        <p:tgtEl>
                                          <p:spTgt spid="1935"/>
                                        </p:tgtEl>
                                        <p:attrNameLst>
                                          <p:attrName>ppt_h</p:attrName>
                                        </p:attrNameLst>
                                      </p:cBhvr>
                                      <p:tavLst>
                                        <p:tav tm="0">
                                          <p:val>
                                            <p:fltVal val="0"/>
                                          </p:val>
                                        </p:tav>
                                        <p:tav tm="100000">
                                          <p:val>
                                            <p:strVal val="#ppt_h"/>
                                          </p:val>
                                        </p:tav>
                                      </p:tavLst>
                                    </p:anim>
                                    <p:anim calcmode="lin" valueType="num">
                                      <p:cBhvr>
                                        <p:cTn id="60" dur="1250" fill="hold"/>
                                        <p:tgtEl>
                                          <p:spTgt spid="1935"/>
                                        </p:tgtEl>
                                        <p:attrNameLst>
                                          <p:attrName>style.rotation</p:attrName>
                                        </p:attrNameLst>
                                      </p:cBhvr>
                                      <p:tavLst>
                                        <p:tav tm="0">
                                          <p:val>
                                            <p:fltVal val="360"/>
                                          </p:val>
                                        </p:tav>
                                        <p:tav tm="100000">
                                          <p:val>
                                            <p:fltVal val="0"/>
                                          </p:val>
                                        </p:tav>
                                      </p:tavLst>
                                    </p:anim>
                                    <p:animEffect transition="in" filter="fade">
                                      <p:cBhvr>
                                        <p:cTn id="61" dur="1250"/>
                                        <p:tgtEl>
                                          <p:spTgt spid="1935"/>
                                        </p:tgtEl>
                                      </p:cBhvr>
                                    </p:animEffect>
                                  </p:childTnLst>
                                </p:cTn>
                              </p:par>
                              <p:par>
                                <p:cTn id="62" presetID="49" presetClass="entr" presetSubtype="0" decel="100000" fill="hold" grpId="0" nodeType="withEffect">
                                  <p:stCondLst>
                                    <p:cond delay="1750"/>
                                  </p:stCondLst>
                                  <p:childTnLst>
                                    <p:set>
                                      <p:cBhvr>
                                        <p:cTn id="63" dur="1" fill="hold">
                                          <p:stCondLst>
                                            <p:cond delay="0"/>
                                          </p:stCondLst>
                                        </p:cTn>
                                        <p:tgtEl>
                                          <p:spTgt spid="1939"/>
                                        </p:tgtEl>
                                        <p:attrNameLst>
                                          <p:attrName>style.visibility</p:attrName>
                                        </p:attrNameLst>
                                      </p:cBhvr>
                                      <p:to>
                                        <p:strVal val="visible"/>
                                      </p:to>
                                    </p:set>
                                    <p:anim calcmode="lin" valueType="num">
                                      <p:cBhvr>
                                        <p:cTn id="64" dur="1250" fill="hold"/>
                                        <p:tgtEl>
                                          <p:spTgt spid="1939"/>
                                        </p:tgtEl>
                                        <p:attrNameLst>
                                          <p:attrName>ppt_w</p:attrName>
                                        </p:attrNameLst>
                                      </p:cBhvr>
                                      <p:tavLst>
                                        <p:tav tm="0">
                                          <p:val>
                                            <p:fltVal val="0"/>
                                          </p:val>
                                        </p:tav>
                                        <p:tav tm="100000">
                                          <p:val>
                                            <p:strVal val="#ppt_w"/>
                                          </p:val>
                                        </p:tav>
                                      </p:tavLst>
                                    </p:anim>
                                    <p:anim calcmode="lin" valueType="num">
                                      <p:cBhvr>
                                        <p:cTn id="65" dur="1250" fill="hold"/>
                                        <p:tgtEl>
                                          <p:spTgt spid="1939"/>
                                        </p:tgtEl>
                                        <p:attrNameLst>
                                          <p:attrName>ppt_h</p:attrName>
                                        </p:attrNameLst>
                                      </p:cBhvr>
                                      <p:tavLst>
                                        <p:tav tm="0">
                                          <p:val>
                                            <p:fltVal val="0"/>
                                          </p:val>
                                        </p:tav>
                                        <p:tav tm="100000">
                                          <p:val>
                                            <p:strVal val="#ppt_h"/>
                                          </p:val>
                                        </p:tav>
                                      </p:tavLst>
                                    </p:anim>
                                    <p:anim calcmode="lin" valueType="num">
                                      <p:cBhvr>
                                        <p:cTn id="66" dur="1250" fill="hold"/>
                                        <p:tgtEl>
                                          <p:spTgt spid="1939"/>
                                        </p:tgtEl>
                                        <p:attrNameLst>
                                          <p:attrName>style.rotation</p:attrName>
                                        </p:attrNameLst>
                                      </p:cBhvr>
                                      <p:tavLst>
                                        <p:tav tm="0">
                                          <p:val>
                                            <p:fltVal val="360"/>
                                          </p:val>
                                        </p:tav>
                                        <p:tav tm="100000">
                                          <p:val>
                                            <p:fltVal val="0"/>
                                          </p:val>
                                        </p:tav>
                                      </p:tavLst>
                                    </p:anim>
                                    <p:animEffect transition="in" filter="fade">
                                      <p:cBhvr>
                                        <p:cTn id="67" dur="1250"/>
                                        <p:tgtEl>
                                          <p:spTgt spid="1939"/>
                                        </p:tgtEl>
                                      </p:cBhvr>
                                    </p:animEffect>
                                  </p:childTnLst>
                                </p:cTn>
                              </p:par>
                              <p:par>
                                <p:cTn id="68" presetID="49" presetClass="entr" presetSubtype="0" decel="100000" fill="hold" grpId="0" nodeType="withEffect">
                                  <p:stCondLst>
                                    <p:cond delay="1750"/>
                                  </p:stCondLst>
                                  <p:childTnLst>
                                    <p:set>
                                      <p:cBhvr>
                                        <p:cTn id="69" dur="1" fill="hold">
                                          <p:stCondLst>
                                            <p:cond delay="0"/>
                                          </p:stCondLst>
                                        </p:cTn>
                                        <p:tgtEl>
                                          <p:spTgt spid="1931"/>
                                        </p:tgtEl>
                                        <p:attrNameLst>
                                          <p:attrName>style.visibility</p:attrName>
                                        </p:attrNameLst>
                                      </p:cBhvr>
                                      <p:to>
                                        <p:strVal val="visible"/>
                                      </p:to>
                                    </p:set>
                                    <p:anim calcmode="lin" valueType="num">
                                      <p:cBhvr>
                                        <p:cTn id="70" dur="1250" fill="hold"/>
                                        <p:tgtEl>
                                          <p:spTgt spid="1931"/>
                                        </p:tgtEl>
                                        <p:attrNameLst>
                                          <p:attrName>ppt_w</p:attrName>
                                        </p:attrNameLst>
                                      </p:cBhvr>
                                      <p:tavLst>
                                        <p:tav tm="0">
                                          <p:val>
                                            <p:fltVal val="0"/>
                                          </p:val>
                                        </p:tav>
                                        <p:tav tm="100000">
                                          <p:val>
                                            <p:strVal val="#ppt_w"/>
                                          </p:val>
                                        </p:tav>
                                      </p:tavLst>
                                    </p:anim>
                                    <p:anim calcmode="lin" valueType="num">
                                      <p:cBhvr>
                                        <p:cTn id="71" dur="1250" fill="hold"/>
                                        <p:tgtEl>
                                          <p:spTgt spid="1931"/>
                                        </p:tgtEl>
                                        <p:attrNameLst>
                                          <p:attrName>ppt_h</p:attrName>
                                        </p:attrNameLst>
                                      </p:cBhvr>
                                      <p:tavLst>
                                        <p:tav tm="0">
                                          <p:val>
                                            <p:fltVal val="0"/>
                                          </p:val>
                                        </p:tav>
                                        <p:tav tm="100000">
                                          <p:val>
                                            <p:strVal val="#ppt_h"/>
                                          </p:val>
                                        </p:tav>
                                      </p:tavLst>
                                    </p:anim>
                                    <p:anim calcmode="lin" valueType="num">
                                      <p:cBhvr>
                                        <p:cTn id="72" dur="1250" fill="hold"/>
                                        <p:tgtEl>
                                          <p:spTgt spid="1931"/>
                                        </p:tgtEl>
                                        <p:attrNameLst>
                                          <p:attrName>style.rotation</p:attrName>
                                        </p:attrNameLst>
                                      </p:cBhvr>
                                      <p:tavLst>
                                        <p:tav tm="0">
                                          <p:val>
                                            <p:fltVal val="360"/>
                                          </p:val>
                                        </p:tav>
                                        <p:tav tm="100000">
                                          <p:val>
                                            <p:fltVal val="0"/>
                                          </p:val>
                                        </p:tav>
                                      </p:tavLst>
                                    </p:anim>
                                    <p:animEffect transition="in" filter="fade">
                                      <p:cBhvr>
                                        <p:cTn id="73" dur="1250"/>
                                        <p:tgtEl>
                                          <p:spTgt spid="1931"/>
                                        </p:tgtEl>
                                      </p:cBhvr>
                                    </p:animEffect>
                                  </p:childTnLst>
                                </p:cTn>
                              </p:par>
                              <p:par>
                                <p:cTn id="74" presetID="12" presetClass="entr" presetSubtype="1" fill="hold" grpId="0" nodeType="withEffect">
                                  <p:stCondLst>
                                    <p:cond delay="1750"/>
                                  </p:stCondLst>
                                  <p:childTnLst>
                                    <p:set>
                                      <p:cBhvr>
                                        <p:cTn id="75" dur="1" fill="hold">
                                          <p:stCondLst>
                                            <p:cond delay="0"/>
                                          </p:stCondLst>
                                        </p:cTn>
                                        <p:tgtEl>
                                          <p:spTgt spid="1917"/>
                                        </p:tgtEl>
                                        <p:attrNameLst>
                                          <p:attrName>style.visibility</p:attrName>
                                        </p:attrNameLst>
                                      </p:cBhvr>
                                      <p:to>
                                        <p:strVal val="visible"/>
                                      </p:to>
                                    </p:set>
                                    <p:anim calcmode="lin" valueType="num">
                                      <p:cBhvr additive="base">
                                        <p:cTn id="76" dur="1250"/>
                                        <p:tgtEl>
                                          <p:spTgt spid="1917"/>
                                        </p:tgtEl>
                                        <p:attrNameLst>
                                          <p:attrName>ppt_y</p:attrName>
                                        </p:attrNameLst>
                                      </p:cBhvr>
                                      <p:tavLst>
                                        <p:tav tm="0">
                                          <p:val>
                                            <p:strVal val="#ppt_y-#ppt_h*1.125000"/>
                                          </p:val>
                                        </p:tav>
                                        <p:tav tm="100000">
                                          <p:val>
                                            <p:strVal val="#ppt_y"/>
                                          </p:val>
                                        </p:tav>
                                      </p:tavLst>
                                    </p:anim>
                                    <p:animEffect transition="in" filter="wipe(down)">
                                      <p:cBhvr>
                                        <p:cTn id="77" dur="1250"/>
                                        <p:tgtEl>
                                          <p:spTgt spid="1917"/>
                                        </p:tgtEl>
                                      </p:cBhvr>
                                    </p:animEffect>
                                  </p:childTnLst>
                                </p:cTn>
                              </p:par>
                              <p:par>
                                <p:cTn id="78" presetID="12" presetClass="entr" presetSubtype="1" fill="hold" grpId="0" nodeType="withEffect">
                                  <p:stCondLst>
                                    <p:cond delay="1750"/>
                                  </p:stCondLst>
                                  <p:childTnLst>
                                    <p:set>
                                      <p:cBhvr>
                                        <p:cTn id="79" dur="1" fill="hold">
                                          <p:stCondLst>
                                            <p:cond delay="0"/>
                                          </p:stCondLst>
                                        </p:cTn>
                                        <p:tgtEl>
                                          <p:spTgt spid="1921"/>
                                        </p:tgtEl>
                                        <p:attrNameLst>
                                          <p:attrName>style.visibility</p:attrName>
                                        </p:attrNameLst>
                                      </p:cBhvr>
                                      <p:to>
                                        <p:strVal val="visible"/>
                                      </p:to>
                                    </p:set>
                                    <p:anim calcmode="lin" valueType="num">
                                      <p:cBhvr additive="base">
                                        <p:cTn id="80" dur="1250"/>
                                        <p:tgtEl>
                                          <p:spTgt spid="1921"/>
                                        </p:tgtEl>
                                        <p:attrNameLst>
                                          <p:attrName>ppt_y</p:attrName>
                                        </p:attrNameLst>
                                      </p:cBhvr>
                                      <p:tavLst>
                                        <p:tav tm="0">
                                          <p:val>
                                            <p:strVal val="#ppt_y-#ppt_h*1.125000"/>
                                          </p:val>
                                        </p:tav>
                                        <p:tav tm="100000">
                                          <p:val>
                                            <p:strVal val="#ppt_y"/>
                                          </p:val>
                                        </p:tav>
                                      </p:tavLst>
                                    </p:anim>
                                    <p:animEffect transition="in" filter="wipe(down)">
                                      <p:cBhvr>
                                        <p:cTn id="81" dur="1250"/>
                                        <p:tgtEl>
                                          <p:spTgt spid="1921"/>
                                        </p:tgtEl>
                                      </p:cBhvr>
                                    </p:animEffect>
                                  </p:childTnLst>
                                </p:cTn>
                              </p:par>
                              <p:par>
                                <p:cTn id="82" presetID="12" presetClass="entr" presetSubtype="1" fill="hold" grpId="0" nodeType="withEffect">
                                  <p:stCondLst>
                                    <p:cond delay="1750"/>
                                  </p:stCondLst>
                                  <p:childTnLst>
                                    <p:set>
                                      <p:cBhvr>
                                        <p:cTn id="83" dur="1" fill="hold">
                                          <p:stCondLst>
                                            <p:cond delay="0"/>
                                          </p:stCondLst>
                                        </p:cTn>
                                        <p:tgtEl>
                                          <p:spTgt spid="1919"/>
                                        </p:tgtEl>
                                        <p:attrNameLst>
                                          <p:attrName>style.visibility</p:attrName>
                                        </p:attrNameLst>
                                      </p:cBhvr>
                                      <p:to>
                                        <p:strVal val="visible"/>
                                      </p:to>
                                    </p:set>
                                    <p:anim calcmode="lin" valueType="num">
                                      <p:cBhvr additive="base">
                                        <p:cTn id="84" dur="1250"/>
                                        <p:tgtEl>
                                          <p:spTgt spid="1919"/>
                                        </p:tgtEl>
                                        <p:attrNameLst>
                                          <p:attrName>ppt_y</p:attrName>
                                        </p:attrNameLst>
                                      </p:cBhvr>
                                      <p:tavLst>
                                        <p:tav tm="0">
                                          <p:val>
                                            <p:strVal val="#ppt_y-#ppt_h*1.125000"/>
                                          </p:val>
                                        </p:tav>
                                        <p:tav tm="100000">
                                          <p:val>
                                            <p:strVal val="#ppt_y"/>
                                          </p:val>
                                        </p:tav>
                                      </p:tavLst>
                                    </p:anim>
                                    <p:animEffect transition="in" filter="wipe(down)">
                                      <p:cBhvr>
                                        <p:cTn id="85" dur="1250"/>
                                        <p:tgtEl>
                                          <p:spTgt spid="1919"/>
                                        </p:tgtEl>
                                      </p:cBhvr>
                                    </p:animEffect>
                                  </p:childTnLst>
                                </p:cTn>
                              </p:par>
                              <p:par>
                                <p:cTn id="86" presetID="12" presetClass="entr" presetSubtype="1" fill="hold" grpId="0" nodeType="withEffect">
                                  <p:stCondLst>
                                    <p:cond delay="1750"/>
                                  </p:stCondLst>
                                  <p:childTnLst>
                                    <p:set>
                                      <p:cBhvr>
                                        <p:cTn id="87" dur="1" fill="hold">
                                          <p:stCondLst>
                                            <p:cond delay="0"/>
                                          </p:stCondLst>
                                        </p:cTn>
                                        <p:tgtEl>
                                          <p:spTgt spid="1918"/>
                                        </p:tgtEl>
                                        <p:attrNameLst>
                                          <p:attrName>style.visibility</p:attrName>
                                        </p:attrNameLst>
                                      </p:cBhvr>
                                      <p:to>
                                        <p:strVal val="visible"/>
                                      </p:to>
                                    </p:set>
                                    <p:anim calcmode="lin" valueType="num">
                                      <p:cBhvr additive="base">
                                        <p:cTn id="88" dur="1250"/>
                                        <p:tgtEl>
                                          <p:spTgt spid="1918"/>
                                        </p:tgtEl>
                                        <p:attrNameLst>
                                          <p:attrName>ppt_y</p:attrName>
                                        </p:attrNameLst>
                                      </p:cBhvr>
                                      <p:tavLst>
                                        <p:tav tm="0">
                                          <p:val>
                                            <p:strVal val="#ppt_y-#ppt_h*1.125000"/>
                                          </p:val>
                                        </p:tav>
                                        <p:tav tm="100000">
                                          <p:val>
                                            <p:strVal val="#ppt_y"/>
                                          </p:val>
                                        </p:tav>
                                      </p:tavLst>
                                    </p:anim>
                                    <p:animEffect transition="in" filter="wipe(down)">
                                      <p:cBhvr>
                                        <p:cTn id="89" dur="1250"/>
                                        <p:tgtEl>
                                          <p:spTgt spid="1918"/>
                                        </p:tgtEl>
                                      </p:cBhvr>
                                    </p:animEffect>
                                  </p:childTnLst>
                                </p:cTn>
                              </p:par>
                              <p:par>
                                <p:cTn id="90" presetID="12" presetClass="entr" presetSubtype="1" fill="hold" grpId="0" nodeType="withEffect">
                                  <p:stCondLst>
                                    <p:cond delay="1750"/>
                                  </p:stCondLst>
                                  <p:childTnLst>
                                    <p:set>
                                      <p:cBhvr>
                                        <p:cTn id="91" dur="1" fill="hold">
                                          <p:stCondLst>
                                            <p:cond delay="0"/>
                                          </p:stCondLst>
                                        </p:cTn>
                                        <p:tgtEl>
                                          <p:spTgt spid="1920"/>
                                        </p:tgtEl>
                                        <p:attrNameLst>
                                          <p:attrName>style.visibility</p:attrName>
                                        </p:attrNameLst>
                                      </p:cBhvr>
                                      <p:to>
                                        <p:strVal val="visible"/>
                                      </p:to>
                                    </p:set>
                                    <p:anim calcmode="lin" valueType="num">
                                      <p:cBhvr additive="base">
                                        <p:cTn id="92" dur="1250"/>
                                        <p:tgtEl>
                                          <p:spTgt spid="1920"/>
                                        </p:tgtEl>
                                        <p:attrNameLst>
                                          <p:attrName>ppt_y</p:attrName>
                                        </p:attrNameLst>
                                      </p:cBhvr>
                                      <p:tavLst>
                                        <p:tav tm="0">
                                          <p:val>
                                            <p:strVal val="#ppt_y-#ppt_h*1.125000"/>
                                          </p:val>
                                        </p:tav>
                                        <p:tav tm="100000">
                                          <p:val>
                                            <p:strVal val="#ppt_y"/>
                                          </p:val>
                                        </p:tav>
                                      </p:tavLst>
                                    </p:anim>
                                    <p:animEffect transition="in" filter="wipe(down)">
                                      <p:cBhvr>
                                        <p:cTn id="93" dur="1250"/>
                                        <p:tgtEl>
                                          <p:spTgt spid="1920"/>
                                        </p:tgtEl>
                                      </p:cBhvr>
                                    </p:animEffect>
                                  </p:childTnLst>
                                </p:cTn>
                              </p:par>
                              <p:par>
                                <p:cTn id="94" presetID="12" presetClass="entr" presetSubtype="1" fill="hold" grpId="0" nodeType="withEffect">
                                  <p:stCondLst>
                                    <p:cond delay="1750"/>
                                  </p:stCondLst>
                                  <p:childTnLst>
                                    <p:set>
                                      <p:cBhvr>
                                        <p:cTn id="95" dur="1" fill="hold">
                                          <p:stCondLst>
                                            <p:cond delay="0"/>
                                          </p:stCondLst>
                                        </p:cTn>
                                        <p:tgtEl>
                                          <p:spTgt spid="1922"/>
                                        </p:tgtEl>
                                        <p:attrNameLst>
                                          <p:attrName>style.visibility</p:attrName>
                                        </p:attrNameLst>
                                      </p:cBhvr>
                                      <p:to>
                                        <p:strVal val="visible"/>
                                      </p:to>
                                    </p:set>
                                    <p:anim calcmode="lin" valueType="num">
                                      <p:cBhvr additive="base">
                                        <p:cTn id="96" dur="1250"/>
                                        <p:tgtEl>
                                          <p:spTgt spid="1922"/>
                                        </p:tgtEl>
                                        <p:attrNameLst>
                                          <p:attrName>ppt_y</p:attrName>
                                        </p:attrNameLst>
                                      </p:cBhvr>
                                      <p:tavLst>
                                        <p:tav tm="0">
                                          <p:val>
                                            <p:strVal val="#ppt_y-#ppt_h*1.125000"/>
                                          </p:val>
                                        </p:tav>
                                        <p:tav tm="100000">
                                          <p:val>
                                            <p:strVal val="#ppt_y"/>
                                          </p:val>
                                        </p:tav>
                                      </p:tavLst>
                                    </p:anim>
                                    <p:animEffect transition="in" filter="wipe(down)">
                                      <p:cBhvr>
                                        <p:cTn id="97" dur="1250"/>
                                        <p:tgtEl>
                                          <p:spTgt spid="1922"/>
                                        </p:tgtEl>
                                      </p:cBhvr>
                                    </p:animEffect>
                                  </p:childTnLst>
                                </p:cTn>
                              </p:par>
                              <p:par>
                                <p:cTn id="98" presetID="10" presetClass="entr" presetSubtype="0" fill="hold" nodeType="withEffect">
                                  <p:stCondLst>
                                    <p:cond delay="3000"/>
                                  </p:stCondLst>
                                  <p:childTnLst>
                                    <p:set>
                                      <p:cBhvr>
                                        <p:cTn id="99" dur="1" fill="hold">
                                          <p:stCondLst>
                                            <p:cond delay="0"/>
                                          </p:stCondLst>
                                        </p:cTn>
                                        <p:tgtEl>
                                          <p:spTgt spid="3"/>
                                        </p:tgtEl>
                                        <p:attrNameLst>
                                          <p:attrName>style.visibility</p:attrName>
                                        </p:attrNameLst>
                                      </p:cBhvr>
                                      <p:to>
                                        <p:strVal val="visible"/>
                                      </p:to>
                                    </p:set>
                                    <p:animEffect transition="in" filter="fade">
                                      <p:cBhvr>
                                        <p:cTn id="100" dur="1000"/>
                                        <p:tgtEl>
                                          <p:spTgt spid="3"/>
                                        </p:tgtEl>
                                      </p:cBhvr>
                                    </p:animEffect>
                                  </p:childTnLst>
                                </p:cTn>
                              </p:par>
                              <p:par>
                                <p:cTn id="101" presetID="22" presetClass="entr" presetSubtype="8" fill="hold" nodeType="withEffect">
                                  <p:stCondLst>
                                    <p:cond delay="3000"/>
                                  </p:stCondLst>
                                  <p:childTnLst>
                                    <p:set>
                                      <p:cBhvr>
                                        <p:cTn id="102" dur="1" fill="hold">
                                          <p:stCondLst>
                                            <p:cond delay="0"/>
                                          </p:stCondLst>
                                        </p:cTn>
                                        <p:tgtEl>
                                          <p:spTgt spid="22"/>
                                        </p:tgtEl>
                                        <p:attrNameLst>
                                          <p:attrName>style.visibility</p:attrName>
                                        </p:attrNameLst>
                                      </p:cBhvr>
                                      <p:to>
                                        <p:strVal val="visible"/>
                                      </p:to>
                                    </p:set>
                                    <p:animEffect transition="in" filter="wipe(left)">
                                      <p:cBhvr>
                                        <p:cTn id="103" dur="1000"/>
                                        <p:tgtEl>
                                          <p:spTgt spid="22"/>
                                        </p:tgtEl>
                                      </p:cBhvr>
                                    </p:animEffect>
                                  </p:childTnLst>
                                </p:cTn>
                              </p:par>
                              <p:par>
                                <p:cTn id="104" presetID="22" presetClass="entr" presetSubtype="8" fill="hold" nodeType="withEffect">
                                  <p:stCondLst>
                                    <p:cond delay="3000"/>
                                  </p:stCondLst>
                                  <p:childTnLst>
                                    <p:set>
                                      <p:cBhvr>
                                        <p:cTn id="105" dur="1" fill="hold">
                                          <p:stCondLst>
                                            <p:cond delay="0"/>
                                          </p:stCondLst>
                                        </p:cTn>
                                        <p:tgtEl>
                                          <p:spTgt spid="23"/>
                                        </p:tgtEl>
                                        <p:attrNameLst>
                                          <p:attrName>style.visibility</p:attrName>
                                        </p:attrNameLst>
                                      </p:cBhvr>
                                      <p:to>
                                        <p:strVal val="visible"/>
                                      </p:to>
                                    </p:set>
                                    <p:animEffect transition="in" filter="wipe(left)">
                                      <p:cBhvr>
                                        <p:cTn id="106" dur="1000"/>
                                        <p:tgtEl>
                                          <p:spTgt spid="23"/>
                                        </p:tgtEl>
                                      </p:cBhvr>
                                    </p:animEffect>
                                  </p:childTnLst>
                                </p:cTn>
                              </p:par>
                              <p:par>
                                <p:cTn id="107" presetID="22" presetClass="entr" presetSubtype="8" fill="hold" nodeType="withEffect">
                                  <p:stCondLst>
                                    <p:cond delay="3000"/>
                                  </p:stCondLst>
                                  <p:childTnLst>
                                    <p:set>
                                      <p:cBhvr>
                                        <p:cTn id="108" dur="1" fill="hold">
                                          <p:stCondLst>
                                            <p:cond delay="0"/>
                                          </p:stCondLst>
                                        </p:cTn>
                                        <p:tgtEl>
                                          <p:spTgt spid="24"/>
                                        </p:tgtEl>
                                        <p:attrNameLst>
                                          <p:attrName>style.visibility</p:attrName>
                                        </p:attrNameLst>
                                      </p:cBhvr>
                                      <p:to>
                                        <p:strVal val="visible"/>
                                      </p:to>
                                    </p:set>
                                    <p:animEffect transition="in" filter="wipe(left)">
                                      <p:cBhvr>
                                        <p:cTn id="109" dur="1000"/>
                                        <p:tgtEl>
                                          <p:spTgt spid="24"/>
                                        </p:tgtEl>
                                      </p:cBhvr>
                                    </p:animEffect>
                                  </p:childTnLst>
                                </p:cTn>
                              </p:par>
                              <p:par>
                                <p:cTn id="110" presetID="22" presetClass="entr" presetSubtype="2" fill="hold" nodeType="withEffect">
                                  <p:stCondLst>
                                    <p:cond delay="3000"/>
                                  </p:stCondLst>
                                  <p:childTnLst>
                                    <p:set>
                                      <p:cBhvr>
                                        <p:cTn id="111" dur="1" fill="hold">
                                          <p:stCondLst>
                                            <p:cond delay="0"/>
                                          </p:stCondLst>
                                        </p:cTn>
                                        <p:tgtEl>
                                          <p:spTgt spid="15"/>
                                        </p:tgtEl>
                                        <p:attrNameLst>
                                          <p:attrName>style.visibility</p:attrName>
                                        </p:attrNameLst>
                                      </p:cBhvr>
                                      <p:to>
                                        <p:strVal val="visible"/>
                                      </p:to>
                                    </p:set>
                                    <p:animEffect transition="in" filter="wipe(right)">
                                      <p:cBhvr>
                                        <p:cTn id="112" dur="1000"/>
                                        <p:tgtEl>
                                          <p:spTgt spid="15"/>
                                        </p:tgtEl>
                                      </p:cBhvr>
                                    </p:animEffect>
                                  </p:childTnLst>
                                </p:cTn>
                              </p:par>
                              <p:par>
                                <p:cTn id="113" presetID="22" presetClass="entr" presetSubtype="2" fill="hold" nodeType="withEffect">
                                  <p:stCondLst>
                                    <p:cond delay="3000"/>
                                  </p:stCondLst>
                                  <p:childTnLst>
                                    <p:set>
                                      <p:cBhvr>
                                        <p:cTn id="114" dur="1" fill="hold">
                                          <p:stCondLst>
                                            <p:cond delay="0"/>
                                          </p:stCondLst>
                                        </p:cTn>
                                        <p:tgtEl>
                                          <p:spTgt spid="16"/>
                                        </p:tgtEl>
                                        <p:attrNameLst>
                                          <p:attrName>style.visibility</p:attrName>
                                        </p:attrNameLst>
                                      </p:cBhvr>
                                      <p:to>
                                        <p:strVal val="visible"/>
                                      </p:to>
                                    </p:set>
                                    <p:animEffect transition="in" filter="wipe(right)">
                                      <p:cBhvr>
                                        <p:cTn id="115" dur="1000"/>
                                        <p:tgtEl>
                                          <p:spTgt spid="16"/>
                                        </p:tgtEl>
                                      </p:cBhvr>
                                    </p:animEffect>
                                  </p:childTnLst>
                                </p:cTn>
                              </p:par>
                              <p:par>
                                <p:cTn id="116" presetID="22" presetClass="entr" presetSubtype="2" fill="hold" nodeType="withEffect">
                                  <p:stCondLst>
                                    <p:cond delay="3000"/>
                                  </p:stCondLst>
                                  <p:childTnLst>
                                    <p:set>
                                      <p:cBhvr>
                                        <p:cTn id="117" dur="1" fill="hold">
                                          <p:stCondLst>
                                            <p:cond delay="0"/>
                                          </p:stCondLst>
                                        </p:cTn>
                                        <p:tgtEl>
                                          <p:spTgt spid="20"/>
                                        </p:tgtEl>
                                        <p:attrNameLst>
                                          <p:attrName>style.visibility</p:attrName>
                                        </p:attrNameLst>
                                      </p:cBhvr>
                                      <p:to>
                                        <p:strVal val="visible"/>
                                      </p:to>
                                    </p:set>
                                    <p:animEffect transition="in" filter="wipe(right)">
                                      <p:cBhvr>
                                        <p:cTn id="118" dur="1000"/>
                                        <p:tgtEl>
                                          <p:spTgt spid="20"/>
                                        </p:tgtEl>
                                      </p:cBhvr>
                                    </p:animEffect>
                                  </p:childTnLst>
                                </p:cTn>
                              </p:par>
                              <p:par>
                                <p:cTn id="119" presetID="12" presetClass="entr" presetSubtype="1" fill="hold" grpId="0" nodeType="withEffect">
                                  <p:stCondLst>
                                    <p:cond delay="3000"/>
                                  </p:stCondLst>
                                  <p:childTnLst>
                                    <p:set>
                                      <p:cBhvr>
                                        <p:cTn id="120" dur="1" fill="hold">
                                          <p:stCondLst>
                                            <p:cond delay="0"/>
                                          </p:stCondLst>
                                        </p:cTn>
                                        <p:tgtEl>
                                          <p:spTgt spid="152"/>
                                        </p:tgtEl>
                                        <p:attrNameLst>
                                          <p:attrName>style.visibility</p:attrName>
                                        </p:attrNameLst>
                                      </p:cBhvr>
                                      <p:to>
                                        <p:strVal val="visible"/>
                                      </p:to>
                                    </p:set>
                                    <p:anim calcmode="lin" valueType="num">
                                      <p:cBhvr additive="base">
                                        <p:cTn id="121" dur="1000"/>
                                        <p:tgtEl>
                                          <p:spTgt spid="152"/>
                                        </p:tgtEl>
                                        <p:attrNameLst>
                                          <p:attrName>ppt_y</p:attrName>
                                        </p:attrNameLst>
                                      </p:cBhvr>
                                      <p:tavLst>
                                        <p:tav tm="0">
                                          <p:val>
                                            <p:strVal val="#ppt_y-#ppt_h*1.125000"/>
                                          </p:val>
                                        </p:tav>
                                        <p:tav tm="100000">
                                          <p:val>
                                            <p:strVal val="#ppt_y"/>
                                          </p:val>
                                        </p:tav>
                                      </p:tavLst>
                                    </p:anim>
                                    <p:animEffect transition="in" filter="wipe(down)">
                                      <p:cBhvr>
                                        <p:cTn id="122" dur="1000"/>
                                        <p:tgtEl>
                                          <p:spTgt spid="152"/>
                                        </p:tgtEl>
                                      </p:cBhvr>
                                    </p:animEffect>
                                  </p:childTnLst>
                                </p:cTn>
                              </p:par>
                              <p:par>
                                <p:cTn id="123" presetID="12" presetClass="entr" presetSubtype="1" fill="hold" grpId="0" nodeType="withEffect">
                                  <p:stCondLst>
                                    <p:cond delay="3000"/>
                                  </p:stCondLst>
                                  <p:childTnLst>
                                    <p:set>
                                      <p:cBhvr>
                                        <p:cTn id="124" dur="1" fill="hold">
                                          <p:stCondLst>
                                            <p:cond delay="0"/>
                                          </p:stCondLst>
                                        </p:cTn>
                                        <p:tgtEl>
                                          <p:spTgt spid="149"/>
                                        </p:tgtEl>
                                        <p:attrNameLst>
                                          <p:attrName>style.visibility</p:attrName>
                                        </p:attrNameLst>
                                      </p:cBhvr>
                                      <p:to>
                                        <p:strVal val="visible"/>
                                      </p:to>
                                    </p:set>
                                    <p:anim calcmode="lin" valueType="num">
                                      <p:cBhvr additive="base">
                                        <p:cTn id="125" dur="1000"/>
                                        <p:tgtEl>
                                          <p:spTgt spid="149"/>
                                        </p:tgtEl>
                                        <p:attrNameLst>
                                          <p:attrName>ppt_y</p:attrName>
                                        </p:attrNameLst>
                                      </p:cBhvr>
                                      <p:tavLst>
                                        <p:tav tm="0">
                                          <p:val>
                                            <p:strVal val="#ppt_y-#ppt_h*1.125000"/>
                                          </p:val>
                                        </p:tav>
                                        <p:tav tm="100000">
                                          <p:val>
                                            <p:strVal val="#ppt_y"/>
                                          </p:val>
                                        </p:tav>
                                      </p:tavLst>
                                    </p:anim>
                                    <p:animEffect transition="in" filter="wipe(down)">
                                      <p:cBhvr>
                                        <p:cTn id="126" dur="1000"/>
                                        <p:tgtEl>
                                          <p:spTgt spid="149"/>
                                        </p:tgtEl>
                                      </p:cBhvr>
                                    </p:animEffect>
                                  </p:childTnLst>
                                </p:cTn>
                              </p:par>
                              <p:par>
                                <p:cTn id="127" presetID="12" presetClass="entr" presetSubtype="1" fill="hold" grpId="0" nodeType="withEffect">
                                  <p:stCondLst>
                                    <p:cond delay="3000"/>
                                  </p:stCondLst>
                                  <p:childTnLst>
                                    <p:set>
                                      <p:cBhvr>
                                        <p:cTn id="128" dur="1" fill="hold">
                                          <p:stCondLst>
                                            <p:cond delay="0"/>
                                          </p:stCondLst>
                                        </p:cTn>
                                        <p:tgtEl>
                                          <p:spTgt spid="146"/>
                                        </p:tgtEl>
                                        <p:attrNameLst>
                                          <p:attrName>style.visibility</p:attrName>
                                        </p:attrNameLst>
                                      </p:cBhvr>
                                      <p:to>
                                        <p:strVal val="visible"/>
                                      </p:to>
                                    </p:set>
                                    <p:anim calcmode="lin" valueType="num">
                                      <p:cBhvr additive="base">
                                        <p:cTn id="129" dur="1000"/>
                                        <p:tgtEl>
                                          <p:spTgt spid="146"/>
                                        </p:tgtEl>
                                        <p:attrNameLst>
                                          <p:attrName>ppt_y</p:attrName>
                                        </p:attrNameLst>
                                      </p:cBhvr>
                                      <p:tavLst>
                                        <p:tav tm="0">
                                          <p:val>
                                            <p:strVal val="#ppt_y-#ppt_h*1.125000"/>
                                          </p:val>
                                        </p:tav>
                                        <p:tav tm="100000">
                                          <p:val>
                                            <p:strVal val="#ppt_y"/>
                                          </p:val>
                                        </p:tav>
                                      </p:tavLst>
                                    </p:anim>
                                    <p:animEffect transition="in" filter="wipe(down)">
                                      <p:cBhvr>
                                        <p:cTn id="130" dur="1000"/>
                                        <p:tgtEl>
                                          <p:spTgt spid="146"/>
                                        </p:tgtEl>
                                      </p:cBhvr>
                                    </p:animEffect>
                                  </p:childTnLst>
                                </p:cTn>
                              </p:par>
                              <p:par>
                                <p:cTn id="131" presetID="12" presetClass="entr" presetSubtype="1" fill="hold" grpId="0" nodeType="withEffect">
                                  <p:stCondLst>
                                    <p:cond delay="3000"/>
                                  </p:stCondLst>
                                  <p:childTnLst>
                                    <p:set>
                                      <p:cBhvr>
                                        <p:cTn id="132" dur="1" fill="hold">
                                          <p:stCondLst>
                                            <p:cond delay="0"/>
                                          </p:stCondLst>
                                        </p:cTn>
                                        <p:tgtEl>
                                          <p:spTgt spid="113"/>
                                        </p:tgtEl>
                                        <p:attrNameLst>
                                          <p:attrName>style.visibility</p:attrName>
                                        </p:attrNameLst>
                                      </p:cBhvr>
                                      <p:to>
                                        <p:strVal val="visible"/>
                                      </p:to>
                                    </p:set>
                                    <p:anim calcmode="lin" valueType="num">
                                      <p:cBhvr additive="base">
                                        <p:cTn id="133" dur="1000"/>
                                        <p:tgtEl>
                                          <p:spTgt spid="113"/>
                                        </p:tgtEl>
                                        <p:attrNameLst>
                                          <p:attrName>ppt_y</p:attrName>
                                        </p:attrNameLst>
                                      </p:cBhvr>
                                      <p:tavLst>
                                        <p:tav tm="0">
                                          <p:val>
                                            <p:strVal val="#ppt_y-#ppt_h*1.125000"/>
                                          </p:val>
                                        </p:tav>
                                        <p:tav tm="100000">
                                          <p:val>
                                            <p:strVal val="#ppt_y"/>
                                          </p:val>
                                        </p:tav>
                                      </p:tavLst>
                                    </p:anim>
                                    <p:animEffect transition="in" filter="wipe(down)">
                                      <p:cBhvr>
                                        <p:cTn id="134" dur="1000"/>
                                        <p:tgtEl>
                                          <p:spTgt spid="113"/>
                                        </p:tgtEl>
                                      </p:cBhvr>
                                    </p:animEffect>
                                  </p:childTnLst>
                                </p:cTn>
                              </p:par>
                              <p:par>
                                <p:cTn id="135" presetID="12" presetClass="entr" presetSubtype="1" fill="hold" grpId="0" nodeType="withEffect">
                                  <p:stCondLst>
                                    <p:cond delay="3000"/>
                                  </p:stCondLst>
                                  <p:childTnLst>
                                    <p:set>
                                      <p:cBhvr>
                                        <p:cTn id="136" dur="1" fill="hold">
                                          <p:stCondLst>
                                            <p:cond delay="0"/>
                                          </p:stCondLst>
                                        </p:cTn>
                                        <p:tgtEl>
                                          <p:spTgt spid="109"/>
                                        </p:tgtEl>
                                        <p:attrNameLst>
                                          <p:attrName>style.visibility</p:attrName>
                                        </p:attrNameLst>
                                      </p:cBhvr>
                                      <p:to>
                                        <p:strVal val="visible"/>
                                      </p:to>
                                    </p:set>
                                    <p:anim calcmode="lin" valueType="num">
                                      <p:cBhvr additive="base">
                                        <p:cTn id="137" dur="1000"/>
                                        <p:tgtEl>
                                          <p:spTgt spid="109"/>
                                        </p:tgtEl>
                                        <p:attrNameLst>
                                          <p:attrName>ppt_y</p:attrName>
                                        </p:attrNameLst>
                                      </p:cBhvr>
                                      <p:tavLst>
                                        <p:tav tm="0">
                                          <p:val>
                                            <p:strVal val="#ppt_y-#ppt_h*1.125000"/>
                                          </p:val>
                                        </p:tav>
                                        <p:tav tm="100000">
                                          <p:val>
                                            <p:strVal val="#ppt_y"/>
                                          </p:val>
                                        </p:tav>
                                      </p:tavLst>
                                    </p:anim>
                                    <p:animEffect transition="in" filter="wipe(down)">
                                      <p:cBhvr>
                                        <p:cTn id="138" dur="1000"/>
                                        <p:tgtEl>
                                          <p:spTgt spid="109"/>
                                        </p:tgtEl>
                                      </p:cBhvr>
                                    </p:animEffect>
                                  </p:childTnLst>
                                </p:cTn>
                              </p:par>
                              <p:par>
                                <p:cTn id="139" presetID="12" presetClass="entr" presetSubtype="1" fill="hold" grpId="0" nodeType="withEffect">
                                  <p:stCondLst>
                                    <p:cond delay="3000"/>
                                  </p:stCondLst>
                                  <p:childTnLst>
                                    <p:set>
                                      <p:cBhvr>
                                        <p:cTn id="140" dur="1" fill="hold">
                                          <p:stCondLst>
                                            <p:cond delay="0"/>
                                          </p:stCondLst>
                                        </p:cTn>
                                        <p:tgtEl>
                                          <p:spTgt spid="104"/>
                                        </p:tgtEl>
                                        <p:attrNameLst>
                                          <p:attrName>style.visibility</p:attrName>
                                        </p:attrNameLst>
                                      </p:cBhvr>
                                      <p:to>
                                        <p:strVal val="visible"/>
                                      </p:to>
                                    </p:set>
                                    <p:anim calcmode="lin" valueType="num">
                                      <p:cBhvr additive="base">
                                        <p:cTn id="141" dur="1000"/>
                                        <p:tgtEl>
                                          <p:spTgt spid="104"/>
                                        </p:tgtEl>
                                        <p:attrNameLst>
                                          <p:attrName>ppt_y</p:attrName>
                                        </p:attrNameLst>
                                      </p:cBhvr>
                                      <p:tavLst>
                                        <p:tav tm="0">
                                          <p:val>
                                            <p:strVal val="#ppt_y-#ppt_h*1.125000"/>
                                          </p:val>
                                        </p:tav>
                                        <p:tav tm="100000">
                                          <p:val>
                                            <p:strVal val="#ppt_y"/>
                                          </p:val>
                                        </p:tav>
                                      </p:tavLst>
                                    </p:anim>
                                    <p:animEffect transition="in" filter="wipe(down)">
                                      <p:cBhvr>
                                        <p:cTn id="142" dur="100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00" grpId="0" animBg="1"/>
      <p:bldP spid="1900" grpId="1" animBg="1"/>
      <p:bldP spid="1902" grpId="0" animBg="1"/>
      <p:bldP spid="1902" grpId="1" animBg="1"/>
      <p:bldP spid="1905" grpId="0" animBg="1"/>
      <p:bldP spid="1905" grpId="1" animBg="1"/>
      <p:bldP spid="1908" grpId="0" animBg="1"/>
      <p:bldP spid="1908" grpId="1" animBg="1"/>
      <p:bldP spid="1911" grpId="0" animBg="1"/>
      <p:bldP spid="1911" grpId="1" animBg="1"/>
      <p:bldP spid="1914" grpId="0" animBg="1"/>
      <p:bldP spid="1914" grpId="1" animBg="1"/>
      <p:bldP spid="1917" grpId="0"/>
      <p:bldP spid="1923" grpId="0" animBg="1"/>
      <p:bldP spid="1921" grpId="0"/>
      <p:bldP spid="1927" grpId="0" animBg="1"/>
      <p:bldP spid="1922" grpId="0"/>
      <p:bldP spid="1931" grpId="0" animBg="1"/>
      <p:bldP spid="1920" grpId="0"/>
      <p:bldP spid="1939" grpId="0" animBg="1"/>
      <p:bldP spid="1918" grpId="0"/>
      <p:bldP spid="1935" grpId="0" animBg="1"/>
      <p:bldP spid="1919" grpId="0"/>
      <p:bldP spid="1943" grpId="0" animBg="1"/>
      <p:bldP spid="104" grpId="0"/>
      <p:bldP spid="109" grpId="0"/>
      <p:bldP spid="113" grpId="0"/>
      <p:bldP spid="152" grpId="0"/>
      <p:bldP spid="149" grpId="0"/>
      <p:bldP spid="14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Arc 29">
            <a:extLst>
              <a:ext uri="{FF2B5EF4-FFF2-40B4-BE49-F238E27FC236}">
                <a16:creationId xmlns:a16="http://schemas.microsoft.com/office/drawing/2014/main" id="{B3CF96BA-1CD8-4DA7-9F9F-4A4CC729C069}"/>
              </a:ext>
            </a:extLst>
          </p:cNvPr>
          <p:cNvSpPr/>
          <p:nvPr/>
        </p:nvSpPr>
        <p:spPr>
          <a:xfrm flipH="1">
            <a:off x="3382771" y="1194657"/>
            <a:ext cx="4468686" cy="4468686"/>
          </a:xfrm>
          <a:prstGeom prst="arc">
            <a:avLst>
              <a:gd name="adj1" fmla="val 18922329"/>
              <a:gd name="adj2" fmla="val 2678793"/>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E47621BF-5866-4E53-9374-CAFEA2BB1EBC}"/>
              </a:ext>
            </a:extLst>
          </p:cNvPr>
          <p:cNvSpPr/>
          <p:nvPr/>
        </p:nvSpPr>
        <p:spPr>
          <a:xfrm flipH="1">
            <a:off x="3860380" y="1685513"/>
            <a:ext cx="345613" cy="34561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accent3"/>
                </a:solidFill>
                <a:latin typeface="Montserrat" panose="00000500000000000000" pitchFamily="50" charset="0"/>
              </a:rPr>
              <a:t>1</a:t>
            </a:r>
          </a:p>
        </p:txBody>
      </p:sp>
      <p:sp>
        <p:nvSpPr>
          <p:cNvPr id="32" name="Oval 31">
            <a:extLst>
              <a:ext uri="{FF2B5EF4-FFF2-40B4-BE49-F238E27FC236}">
                <a16:creationId xmlns:a16="http://schemas.microsoft.com/office/drawing/2014/main" id="{7AB273F9-15D9-4143-9B98-A6EA0EE58479}"/>
              </a:ext>
            </a:extLst>
          </p:cNvPr>
          <p:cNvSpPr/>
          <p:nvPr/>
        </p:nvSpPr>
        <p:spPr>
          <a:xfrm flipH="1">
            <a:off x="3860380" y="4826875"/>
            <a:ext cx="345613" cy="34561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accent3"/>
                </a:solidFill>
                <a:latin typeface="Montserrat" panose="00000500000000000000" pitchFamily="50" charset="0"/>
              </a:rPr>
              <a:t>3</a:t>
            </a:r>
          </a:p>
        </p:txBody>
      </p:sp>
      <p:sp>
        <p:nvSpPr>
          <p:cNvPr id="33" name="Oval 32">
            <a:extLst>
              <a:ext uri="{FF2B5EF4-FFF2-40B4-BE49-F238E27FC236}">
                <a16:creationId xmlns:a16="http://schemas.microsoft.com/office/drawing/2014/main" id="{A2DA94F5-3CEA-4EF9-BE1E-678AA095AFAF}"/>
              </a:ext>
            </a:extLst>
          </p:cNvPr>
          <p:cNvSpPr/>
          <p:nvPr/>
        </p:nvSpPr>
        <p:spPr>
          <a:xfrm flipH="1">
            <a:off x="3214523" y="3256195"/>
            <a:ext cx="345613" cy="345613"/>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accent3"/>
                </a:solidFill>
                <a:latin typeface="Montserrat" panose="00000500000000000000" pitchFamily="50" charset="0"/>
              </a:rPr>
              <a:t>2</a:t>
            </a:r>
          </a:p>
        </p:txBody>
      </p:sp>
      <p:sp>
        <p:nvSpPr>
          <p:cNvPr id="45" name="Oval 44">
            <a:extLst>
              <a:ext uri="{FF2B5EF4-FFF2-40B4-BE49-F238E27FC236}">
                <a16:creationId xmlns:a16="http://schemas.microsoft.com/office/drawing/2014/main" id="{63928C1D-F789-40E1-8522-8FADDD55070B}"/>
              </a:ext>
            </a:extLst>
          </p:cNvPr>
          <p:cNvSpPr/>
          <p:nvPr/>
        </p:nvSpPr>
        <p:spPr>
          <a:xfrm>
            <a:off x="4135006" y="2146300"/>
            <a:ext cx="2565400" cy="2565400"/>
          </a:xfrm>
          <a:prstGeom prst="ellipse">
            <a:avLst/>
          </a:prstGeom>
          <a:gradFill flip="none" rotWithShape="1">
            <a:gsLst>
              <a:gs pos="0">
                <a:schemeClr val="accent1">
                  <a:lumMod val="20000"/>
                  <a:lumOff val="80000"/>
                </a:schemeClr>
              </a:gs>
              <a:gs pos="100000">
                <a:schemeClr val="accent3"/>
              </a:gs>
            </a:gsLst>
            <a:path path="circle">
              <a:fillToRect r="100000" b="100000"/>
            </a:path>
            <a:tileRect l="-100000" t="-100000"/>
          </a:gra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354F0E20-91CD-45F6-B64B-D6140D21433A}"/>
              </a:ext>
            </a:extLst>
          </p:cNvPr>
          <p:cNvSpPr/>
          <p:nvPr/>
        </p:nvSpPr>
        <p:spPr>
          <a:xfrm>
            <a:off x="5417706" y="2146300"/>
            <a:ext cx="2565400" cy="2565400"/>
          </a:xfrm>
          <a:prstGeom prst="ellipse">
            <a:avLst/>
          </a:prstGeom>
          <a:gradFill flip="none" rotWithShape="1">
            <a:gsLst>
              <a:gs pos="0">
                <a:schemeClr val="accent2">
                  <a:lumMod val="10000"/>
                  <a:lumOff val="90000"/>
                </a:schemeClr>
              </a:gs>
              <a:gs pos="100000">
                <a:schemeClr val="accent4"/>
              </a:gs>
            </a:gsLst>
            <a:path path="circle">
              <a:fillToRect r="100000" b="100000"/>
            </a:path>
            <a:tileRect l="-100000" t="-100000"/>
          </a:gra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9288F77B-BAE5-4A6E-AA6F-9F479E86BF4C}"/>
              </a:ext>
            </a:extLst>
          </p:cNvPr>
          <p:cNvSpPr/>
          <p:nvPr/>
        </p:nvSpPr>
        <p:spPr>
          <a:xfrm>
            <a:off x="5417706" y="2319305"/>
            <a:ext cx="1282700" cy="2219393"/>
          </a:xfrm>
          <a:custGeom>
            <a:avLst/>
            <a:gdLst>
              <a:gd name="connsiteX0" fmla="*/ 641350 w 1282700"/>
              <a:gd name="connsiteY0" fmla="*/ 0 h 2219393"/>
              <a:gd name="connsiteX1" fmla="*/ 717170 w 1282700"/>
              <a:gd name="connsiteY1" fmla="*/ 46061 h 2219393"/>
              <a:gd name="connsiteX2" fmla="*/ 1282700 w 1282700"/>
              <a:gd name="connsiteY2" fmla="*/ 1109696 h 2219393"/>
              <a:gd name="connsiteX3" fmla="*/ 717170 w 1282700"/>
              <a:gd name="connsiteY3" fmla="*/ 2173331 h 2219393"/>
              <a:gd name="connsiteX4" fmla="*/ 641350 w 1282700"/>
              <a:gd name="connsiteY4" fmla="*/ 2219393 h 2219393"/>
              <a:gd name="connsiteX5" fmla="*/ 565530 w 1282700"/>
              <a:gd name="connsiteY5" fmla="*/ 2173331 h 2219393"/>
              <a:gd name="connsiteX6" fmla="*/ 0 w 1282700"/>
              <a:gd name="connsiteY6" fmla="*/ 1109696 h 2219393"/>
              <a:gd name="connsiteX7" fmla="*/ 565530 w 1282700"/>
              <a:gd name="connsiteY7" fmla="*/ 46061 h 2219393"/>
              <a:gd name="connsiteX8" fmla="*/ 641350 w 1282700"/>
              <a:gd name="connsiteY8" fmla="*/ 0 h 2219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2700" h="2219393">
                <a:moveTo>
                  <a:pt x="641350" y="0"/>
                </a:moveTo>
                <a:lnTo>
                  <a:pt x="717170" y="46061"/>
                </a:lnTo>
                <a:cubicBezTo>
                  <a:pt x="1058371" y="276572"/>
                  <a:pt x="1282700" y="666936"/>
                  <a:pt x="1282700" y="1109696"/>
                </a:cubicBezTo>
                <a:cubicBezTo>
                  <a:pt x="1282700" y="1552456"/>
                  <a:pt x="1058371" y="1942821"/>
                  <a:pt x="717170" y="2173331"/>
                </a:cubicBezTo>
                <a:lnTo>
                  <a:pt x="641350" y="2219393"/>
                </a:lnTo>
                <a:lnTo>
                  <a:pt x="565530" y="2173331"/>
                </a:lnTo>
                <a:cubicBezTo>
                  <a:pt x="224330" y="1942821"/>
                  <a:pt x="0" y="1552456"/>
                  <a:pt x="0" y="1109696"/>
                </a:cubicBezTo>
                <a:cubicBezTo>
                  <a:pt x="0" y="666936"/>
                  <a:pt x="224330" y="276572"/>
                  <a:pt x="565530" y="46061"/>
                </a:cubicBezTo>
                <a:lnTo>
                  <a:pt x="641350" y="0"/>
                </a:lnTo>
                <a:close/>
              </a:path>
            </a:pathLst>
          </a:custGeom>
          <a:gradFill flip="none" rotWithShape="1">
            <a:gsLst>
              <a:gs pos="0">
                <a:schemeClr val="accent1">
                  <a:lumMod val="60000"/>
                  <a:lumOff val="40000"/>
                </a:schemeClr>
              </a:gs>
              <a:gs pos="100000">
                <a:schemeClr val="accent1"/>
              </a:gs>
            </a:gsLst>
            <a:path path="circle">
              <a:fillToRect r="100000" b="100000"/>
            </a:path>
            <a:tileRect l="-100000" t="-100000"/>
          </a:gra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Arc 17">
            <a:extLst>
              <a:ext uri="{FF2B5EF4-FFF2-40B4-BE49-F238E27FC236}">
                <a16:creationId xmlns:a16="http://schemas.microsoft.com/office/drawing/2014/main" id="{BF232455-ACD1-41BC-91F3-9BBA7F907AED}"/>
              </a:ext>
            </a:extLst>
          </p:cNvPr>
          <p:cNvSpPr/>
          <p:nvPr/>
        </p:nvSpPr>
        <p:spPr>
          <a:xfrm>
            <a:off x="4442413" y="1194657"/>
            <a:ext cx="4468686" cy="4468686"/>
          </a:xfrm>
          <a:prstGeom prst="arc">
            <a:avLst>
              <a:gd name="adj1" fmla="val 18922329"/>
              <a:gd name="adj2" fmla="val 2678793"/>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lumMod val="75000"/>
                </a:schemeClr>
              </a:solidFill>
            </a:endParaRPr>
          </a:p>
        </p:txBody>
      </p:sp>
      <p:sp>
        <p:nvSpPr>
          <p:cNvPr id="24" name="Oval 23">
            <a:extLst>
              <a:ext uri="{FF2B5EF4-FFF2-40B4-BE49-F238E27FC236}">
                <a16:creationId xmlns:a16="http://schemas.microsoft.com/office/drawing/2014/main" id="{65457660-20E3-4BF6-AF86-F3F0A3BC4AC8}"/>
              </a:ext>
            </a:extLst>
          </p:cNvPr>
          <p:cNvSpPr/>
          <p:nvPr/>
        </p:nvSpPr>
        <p:spPr>
          <a:xfrm>
            <a:off x="8087877" y="1685513"/>
            <a:ext cx="345613" cy="345613"/>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accent4">
                    <a:lumMod val="75000"/>
                  </a:schemeClr>
                </a:solidFill>
                <a:latin typeface="Montserrat" panose="00000500000000000000" pitchFamily="50" charset="0"/>
              </a:rPr>
              <a:t>4</a:t>
            </a:r>
          </a:p>
        </p:txBody>
      </p:sp>
      <p:sp>
        <p:nvSpPr>
          <p:cNvPr id="26" name="Oval 25">
            <a:extLst>
              <a:ext uri="{FF2B5EF4-FFF2-40B4-BE49-F238E27FC236}">
                <a16:creationId xmlns:a16="http://schemas.microsoft.com/office/drawing/2014/main" id="{8DA0B4CD-7EAC-4ED5-9EFC-D6374A7DE342}"/>
              </a:ext>
            </a:extLst>
          </p:cNvPr>
          <p:cNvSpPr/>
          <p:nvPr/>
        </p:nvSpPr>
        <p:spPr>
          <a:xfrm>
            <a:off x="8087877" y="4826875"/>
            <a:ext cx="345613" cy="345613"/>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accent4">
                    <a:lumMod val="75000"/>
                  </a:schemeClr>
                </a:solidFill>
                <a:latin typeface="Montserrat" panose="00000500000000000000" pitchFamily="50" charset="0"/>
              </a:rPr>
              <a:t>6</a:t>
            </a:r>
          </a:p>
        </p:txBody>
      </p:sp>
      <p:sp>
        <p:nvSpPr>
          <p:cNvPr id="27" name="Oval 26">
            <a:extLst>
              <a:ext uri="{FF2B5EF4-FFF2-40B4-BE49-F238E27FC236}">
                <a16:creationId xmlns:a16="http://schemas.microsoft.com/office/drawing/2014/main" id="{FB0ED1A2-D9DD-45AC-88BC-A2BB42152C5F}"/>
              </a:ext>
            </a:extLst>
          </p:cNvPr>
          <p:cNvSpPr/>
          <p:nvPr/>
        </p:nvSpPr>
        <p:spPr>
          <a:xfrm>
            <a:off x="8733734" y="3256195"/>
            <a:ext cx="345613" cy="345613"/>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accent4">
                    <a:lumMod val="75000"/>
                  </a:schemeClr>
                </a:solidFill>
                <a:latin typeface="Montserrat" panose="00000500000000000000" pitchFamily="50" charset="0"/>
              </a:rPr>
              <a:t>5</a:t>
            </a:r>
          </a:p>
        </p:txBody>
      </p:sp>
      <p:sp>
        <p:nvSpPr>
          <p:cNvPr id="28" name="TextBox 27">
            <a:extLst>
              <a:ext uri="{FF2B5EF4-FFF2-40B4-BE49-F238E27FC236}">
                <a16:creationId xmlns:a16="http://schemas.microsoft.com/office/drawing/2014/main" id="{40990373-E1AD-4755-886E-4CCF46E532A7}"/>
              </a:ext>
            </a:extLst>
          </p:cNvPr>
          <p:cNvSpPr txBox="1"/>
          <p:nvPr/>
        </p:nvSpPr>
        <p:spPr>
          <a:xfrm>
            <a:off x="4496046" y="3152001"/>
            <a:ext cx="646331" cy="553998"/>
          </a:xfrm>
          <a:prstGeom prst="rect">
            <a:avLst/>
          </a:prstGeom>
          <a:noFill/>
        </p:spPr>
        <p:txBody>
          <a:bodyPr wrap="none" rtlCol="0" anchor="ctr" anchorCtr="0">
            <a:spAutoFit/>
          </a:bodyPr>
          <a:lstStyle/>
          <a:p>
            <a:pPr algn="ctr"/>
            <a:r>
              <a:rPr lang="en-US" sz="1500" b="1" dirty="0">
                <a:solidFill>
                  <a:schemeClr val="accent1"/>
                </a:solidFill>
                <a:latin typeface="Montserrat" panose="00000500000000000000" pitchFamily="50" charset="0"/>
              </a:rPr>
              <a:t>Step</a:t>
            </a:r>
          </a:p>
          <a:p>
            <a:pPr algn="ctr"/>
            <a:r>
              <a:rPr lang="en-US" sz="1500" b="1" dirty="0">
                <a:solidFill>
                  <a:schemeClr val="accent1"/>
                </a:solidFill>
                <a:latin typeface="Montserrat" panose="00000500000000000000" pitchFamily="50" charset="0"/>
              </a:rPr>
              <a:t>One</a:t>
            </a:r>
          </a:p>
        </p:txBody>
      </p:sp>
      <p:sp>
        <p:nvSpPr>
          <p:cNvPr id="35" name="TextBox 34">
            <a:extLst>
              <a:ext uri="{FF2B5EF4-FFF2-40B4-BE49-F238E27FC236}">
                <a16:creationId xmlns:a16="http://schemas.microsoft.com/office/drawing/2014/main" id="{70A70347-B436-4CC4-8C58-19706174CBC4}"/>
              </a:ext>
            </a:extLst>
          </p:cNvPr>
          <p:cNvSpPr txBox="1"/>
          <p:nvPr/>
        </p:nvSpPr>
        <p:spPr>
          <a:xfrm>
            <a:off x="6975735" y="3152001"/>
            <a:ext cx="646331" cy="553998"/>
          </a:xfrm>
          <a:prstGeom prst="rect">
            <a:avLst/>
          </a:prstGeom>
          <a:noFill/>
        </p:spPr>
        <p:txBody>
          <a:bodyPr wrap="none" rtlCol="0" anchor="ctr" anchorCtr="0">
            <a:spAutoFit/>
          </a:bodyPr>
          <a:lstStyle/>
          <a:p>
            <a:pPr algn="ctr"/>
            <a:r>
              <a:rPr lang="en-US" sz="1500" b="1" dirty="0">
                <a:solidFill>
                  <a:schemeClr val="accent4">
                    <a:lumMod val="75000"/>
                  </a:schemeClr>
                </a:solidFill>
                <a:latin typeface="Montserrat" panose="00000500000000000000" pitchFamily="50" charset="0"/>
              </a:rPr>
              <a:t>Step</a:t>
            </a:r>
          </a:p>
          <a:p>
            <a:pPr algn="ctr"/>
            <a:r>
              <a:rPr lang="en-US" sz="1500" b="1" dirty="0">
                <a:solidFill>
                  <a:schemeClr val="accent4">
                    <a:lumMod val="75000"/>
                  </a:schemeClr>
                </a:solidFill>
                <a:latin typeface="Montserrat" panose="00000500000000000000" pitchFamily="50" charset="0"/>
              </a:rPr>
              <a:t>Two</a:t>
            </a:r>
          </a:p>
        </p:txBody>
      </p:sp>
      <p:sp>
        <p:nvSpPr>
          <p:cNvPr id="36" name="TextBox 35">
            <a:extLst>
              <a:ext uri="{FF2B5EF4-FFF2-40B4-BE49-F238E27FC236}">
                <a16:creationId xmlns:a16="http://schemas.microsoft.com/office/drawing/2014/main" id="{D7B17372-1E5A-4A43-BB1E-73A9E7F7B99B}"/>
              </a:ext>
            </a:extLst>
          </p:cNvPr>
          <p:cNvSpPr txBox="1"/>
          <p:nvPr/>
        </p:nvSpPr>
        <p:spPr>
          <a:xfrm>
            <a:off x="5747915" y="3152001"/>
            <a:ext cx="622286" cy="553998"/>
          </a:xfrm>
          <a:prstGeom prst="rect">
            <a:avLst/>
          </a:prstGeom>
          <a:noFill/>
        </p:spPr>
        <p:txBody>
          <a:bodyPr wrap="none" rtlCol="0" anchor="ctr" anchorCtr="0">
            <a:spAutoFit/>
          </a:bodyPr>
          <a:lstStyle/>
          <a:p>
            <a:pPr algn="ctr"/>
            <a:r>
              <a:rPr lang="en-US" sz="1500" b="1" dirty="0">
                <a:solidFill>
                  <a:schemeClr val="bg1"/>
                </a:solidFill>
                <a:latin typeface="Montserrat" panose="00000500000000000000" pitchFamily="50" charset="0"/>
              </a:rPr>
              <a:t>Info</a:t>
            </a:r>
          </a:p>
          <a:p>
            <a:pPr algn="ctr"/>
            <a:r>
              <a:rPr lang="en-US" sz="1500" b="1" dirty="0">
                <a:solidFill>
                  <a:schemeClr val="bg1"/>
                </a:solidFill>
                <a:latin typeface="Montserrat" panose="00000500000000000000" pitchFamily="50" charset="0"/>
              </a:rPr>
              <a:t>Text</a:t>
            </a:r>
          </a:p>
        </p:txBody>
      </p:sp>
      <p:grpSp>
        <p:nvGrpSpPr>
          <p:cNvPr id="41" name="Group 40">
            <a:extLst>
              <a:ext uri="{FF2B5EF4-FFF2-40B4-BE49-F238E27FC236}">
                <a16:creationId xmlns:a16="http://schemas.microsoft.com/office/drawing/2014/main" id="{1E5F4DF7-70DA-46C3-BD30-C7BEE86D3D78}"/>
              </a:ext>
            </a:extLst>
          </p:cNvPr>
          <p:cNvGrpSpPr/>
          <p:nvPr/>
        </p:nvGrpSpPr>
        <p:grpSpPr>
          <a:xfrm>
            <a:off x="61279" y="3026647"/>
            <a:ext cx="2915329" cy="804707"/>
            <a:chOff x="381000" y="1284523"/>
            <a:chExt cx="2915329" cy="804707"/>
          </a:xfrm>
        </p:grpSpPr>
        <p:sp>
          <p:nvSpPr>
            <p:cNvPr id="42" name="TextBox 41">
              <a:extLst>
                <a:ext uri="{FF2B5EF4-FFF2-40B4-BE49-F238E27FC236}">
                  <a16:creationId xmlns:a16="http://schemas.microsoft.com/office/drawing/2014/main" id="{B047D682-4E36-4A57-8ED4-3C12F82BA6A1}"/>
                </a:ext>
              </a:extLst>
            </p:cNvPr>
            <p:cNvSpPr txBox="1"/>
            <p:nvPr/>
          </p:nvSpPr>
          <p:spPr>
            <a:xfrm>
              <a:off x="1510263" y="1284523"/>
              <a:ext cx="1786066" cy="323165"/>
            </a:xfrm>
            <a:prstGeom prst="rect">
              <a:avLst/>
            </a:prstGeom>
            <a:noFill/>
          </p:spPr>
          <p:txBody>
            <a:bodyPr wrap="none" rtlCol="0">
              <a:spAutoFit/>
            </a:bodyPr>
            <a:lstStyle/>
            <a:p>
              <a:r>
                <a:rPr lang="en-US" sz="1500" b="1" dirty="0">
                  <a:solidFill>
                    <a:schemeClr val="accent1"/>
                  </a:solidFill>
                  <a:latin typeface="Montserrat" panose="00000500000000000000" pitchFamily="50" charset="0"/>
                </a:rPr>
                <a:t>Write Title Here</a:t>
              </a:r>
            </a:p>
          </p:txBody>
        </p:sp>
        <p:sp>
          <p:nvSpPr>
            <p:cNvPr id="43" name="TextBox 42">
              <a:extLst>
                <a:ext uri="{FF2B5EF4-FFF2-40B4-BE49-F238E27FC236}">
                  <a16:creationId xmlns:a16="http://schemas.microsoft.com/office/drawing/2014/main" id="{D89A2CAE-154D-4E21-934B-A3FAF14FBFCA}"/>
                </a:ext>
              </a:extLst>
            </p:cNvPr>
            <p:cNvSpPr txBox="1"/>
            <p:nvPr/>
          </p:nvSpPr>
          <p:spPr>
            <a:xfrm>
              <a:off x="381000" y="1607688"/>
              <a:ext cx="2915329" cy="481542"/>
            </a:xfrm>
            <a:prstGeom prst="rect">
              <a:avLst/>
            </a:prstGeom>
            <a:noFill/>
          </p:spPr>
          <p:txBody>
            <a:bodyPr wrap="square" rtlCol="0">
              <a:spAutoFit/>
            </a:bodyPr>
            <a:lstStyle/>
            <a:p>
              <a:pPr algn="r">
                <a:lnSpc>
                  <a:spcPts val="1600"/>
                </a:lnSpc>
              </a:pPr>
              <a:r>
                <a:rPr lang="en-US" sz="1000" dirty="0">
                  <a:solidFill>
                    <a:schemeClr val="tx1">
                      <a:lumMod val="75000"/>
                      <a:lumOff val="25000"/>
                    </a:schemeClr>
                  </a:solidFill>
                  <a:latin typeface="Montserrat" panose="00000500000000000000" pitchFamily="50" charset="0"/>
                </a:rPr>
                <a:t>Lorem ipsum dolor sit </a:t>
              </a:r>
              <a:r>
                <a:rPr lang="en-US" sz="1000" dirty="0" err="1">
                  <a:solidFill>
                    <a:schemeClr val="tx1">
                      <a:lumMod val="75000"/>
                      <a:lumOff val="25000"/>
                    </a:schemeClr>
                  </a:solidFill>
                  <a:latin typeface="Montserrat" panose="00000500000000000000" pitchFamily="50" charset="0"/>
                </a:rPr>
                <a:t>ame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consectetur</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adipiscing</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elit</a:t>
              </a:r>
              <a:r>
                <a:rPr lang="en-US" sz="1000" dirty="0">
                  <a:solidFill>
                    <a:schemeClr val="tx1">
                      <a:lumMod val="75000"/>
                      <a:lumOff val="25000"/>
                    </a:schemeClr>
                  </a:solidFill>
                  <a:latin typeface="Montserrat" panose="00000500000000000000" pitchFamily="50" charset="0"/>
                </a:rPr>
                <a:t>, sed do </a:t>
              </a:r>
              <a:r>
                <a:rPr lang="en-US" sz="1000" dirty="0" err="1">
                  <a:solidFill>
                    <a:schemeClr val="tx1">
                      <a:lumMod val="75000"/>
                      <a:lumOff val="25000"/>
                    </a:schemeClr>
                  </a:solidFill>
                  <a:latin typeface="Montserrat" panose="00000500000000000000" pitchFamily="50" charset="0"/>
                </a:rPr>
                <a:t>eiusmod</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tempor</a:t>
              </a:r>
              <a:endParaRPr lang="en-US" sz="1000" dirty="0">
                <a:solidFill>
                  <a:schemeClr val="tx1">
                    <a:lumMod val="75000"/>
                    <a:lumOff val="25000"/>
                  </a:schemeClr>
                </a:solidFill>
                <a:latin typeface="Montserrat" panose="00000500000000000000" pitchFamily="50" charset="0"/>
              </a:endParaRPr>
            </a:p>
          </p:txBody>
        </p:sp>
      </p:grpSp>
      <p:grpSp>
        <p:nvGrpSpPr>
          <p:cNvPr id="53" name="Group 52">
            <a:extLst>
              <a:ext uri="{FF2B5EF4-FFF2-40B4-BE49-F238E27FC236}">
                <a16:creationId xmlns:a16="http://schemas.microsoft.com/office/drawing/2014/main" id="{8C27F9A2-D173-4CF1-A400-991B063D6765}"/>
              </a:ext>
            </a:extLst>
          </p:cNvPr>
          <p:cNvGrpSpPr/>
          <p:nvPr/>
        </p:nvGrpSpPr>
        <p:grpSpPr>
          <a:xfrm flipH="1">
            <a:off x="9215392" y="3026646"/>
            <a:ext cx="2915329" cy="804707"/>
            <a:chOff x="381000" y="1284523"/>
            <a:chExt cx="2915329" cy="804707"/>
          </a:xfrm>
        </p:grpSpPr>
        <p:sp>
          <p:nvSpPr>
            <p:cNvPr id="54" name="TextBox 53">
              <a:extLst>
                <a:ext uri="{FF2B5EF4-FFF2-40B4-BE49-F238E27FC236}">
                  <a16:creationId xmlns:a16="http://schemas.microsoft.com/office/drawing/2014/main" id="{AF1E7BFB-C807-4F46-BD45-1466FED0C442}"/>
                </a:ext>
              </a:extLst>
            </p:cNvPr>
            <p:cNvSpPr txBox="1"/>
            <p:nvPr/>
          </p:nvSpPr>
          <p:spPr>
            <a:xfrm>
              <a:off x="1510263" y="1284523"/>
              <a:ext cx="1786066" cy="323165"/>
            </a:xfrm>
            <a:prstGeom prst="rect">
              <a:avLst/>
            </a:prstGeom>
            <a:noFill/>
          </p:spPr>
          <p:txBody>
            <a:bodyPr wrap="none" rtlCol="0">
              <a:spAutoFit/>
            </a:bodyPr>
            <a:lstStyle/>
            <a:p>
              <a:r>
                <a:rPr lang="en-US" sz="1500" b="1" dirty="0">
                  <a:solidFill>
                    <a:schemeClr val="accent4">
                      <a:lumMod val="75000"/>
                    </a:schemeClr>
                  </a:solidFill>
                  <a:latin typeface="Montserrat" panose="00000500000000000000" pitchFamily="50" charset="0"/>
                </a:rPr>
                <a:t>Write Title Here</a:t>
              </a:r>
            </a:p>
          </p:txBody>
        </p:sp>
        <p:sp>
          <p:nvSpPr>
            <p:cNvPr id="55" name="TextBox 54">
              <a:extLst>
                <a:ext uri="{FF2B5EF4-FFF2-40B4-BE49-F238E27FC236}">
                  <a16:creationId xmlns:a16="http://schemas.microsoft.com/office/drawing/2014/main" id="{188695FF-78C4-4FA6-813A-16FE09D3C52B}"/>
                </a:ext>
              </a:extLst>
            </p:cNvPr>
            <p:cNvSpPr txBox="1"/>
            <p:nvPr/>
          </p:nvSpPr>
          <p:spPr>
            <a:xfrm>
              <a:off x="381000" y="1607688"/>
              <a:ext cx="2915329" cy="481542"/>
            </a:xfrm>
            <a:prstGeom prst="rect">
              <a:avLst/>
            </a:prstGeom>
            <a:noFill/>
          </p:spPr>
          <p:txBody>
            <a:bodyPr wrap="square" rtlCol="0">
              <a:spAutoFit/>
            </a:bodyPr>
            <a:lstStyle/>
            <a:p>
              <a:pPr>
                <a:lnSpc>
                  <a:spcPts val="1600"/>
                </a:lnSpc>
              </a:pPr>
              <a:r>
                <a:rPr lang="en-US" sz="1000" dirty="0">
                  <a:solidFill>
                    <a:schemeClr val="tx1">
                      <a:lumMod val="75000"/>
                      <a:lumOff val="25000"/>
                    </a:schemeClr>
                  </a:solidFill>
                  <a:latin typeface="Montserrat" panose="00000500000000000000" pitchFamily="50" charset="0"/>
                </a:rPr>
                <a:t>Lorem ipsum dolor sit </a:t>
              </a:r>
              <a:r>
                <a:rPr lang="en-US" sz="1000" dirty="0" err="1">
                  <a:solidFill>
                    <a:schemeClr val="tx1">
                      <a:lumMod val="75000"/>
                      <a:lumOff val="25000"/>
                    </a:schemeClr>
                  </a:solidFill>
                  <a:latin typeface="Montserrat" panose="00000500000000000000" pitchFamily="50" charset="0"/>
                </a:rPr>
                <a:t>ame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consectetur</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adipiscing</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elit</a:t>
              </a:r>
              <a:r>
                <a:rPr lang="en-US" sz="1000" dirty="0">
                  <a:solidFill>
                    <a:schemeClr val="tx1">
                      <a:lumMod val="75000"/>
                      <a:lumOff val="25000"/>
                    </a:schemeClr>
                  </a:solidFill>
                  <a:latin typeface="Montserrat" panose="00000500000000000000" pitchFamily="50" charset="0"/>
                </a:rPr>
                <a:t>, sed do </a:t>
              </a:r>
              <a:r>
                <a:rPr lang="en-US" sz="1000" dirty="0" err="1">
                  <a:solidFill>
                    <a:schemeClr val="tx1">
                      <a:lumMod val="75000"/>
                      <a:lumOff val="25000"/>
                    </a:schemeClr>
                  </a:solidFill>
                  <a:latin typeface="Montserrat" panose="00000500000000000000" pitchFamily="50" charset="0"/>
                </a:rPr>
                <a:t>eiusmod</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tempor</a:t>
              </a:r>
              <a:endParaRPr lang="en-US" sz="1000" dirty="0">
                <a:solidFill>
                  <a:schemeClr val="tx1">
                    <a:lumMod val="75000"/>
                    <a:lumOff val="25000"/>
                  </a:schemeClr>
                </a:solidFill>
                <a:latin typeface="Montserrat" panose="00000500000000000000" pitchFamily="50" charset="0"/>
              </a:endParaRPr>
            </a:p>
          </p:txBody>
        </p:sp>
      </p:grpSp>
      <p:grpSp>
        <p:nvGrpSpPr>
          <p:cNvPr id="37" name="Group 36">
            <a:extLst>
              <a:ext uri="{FF2B5EF4-FFF2-40B4-BE49-F238E27FC236}">
                <a16:creationId xmlns:a16="http://schemas.microsoft.com/office/drawing/2014/main" id="{7C6CFF6E-78FB-45C5-875B-241D1D9DC09E}"/>
              </a:ext>
            </a:extLst>
          </p:cNvPr>
          <p:cNvGrpSpPr/>
          <p:nvPr/>
        </p:nvGrpSpPr>
        <p:grpSpPr>
          <a:xfrm>
            <a:off x="552543" y="1019469"/>
            <a:ext cx="2915329" cy="804707"/>
            <a:chOff x="381000" y="1284523"/>
            <a:chExt cx="2915329" cy="804707"/>
          </a:xfrm>
        </p:grpSpPr>
        <p:sp>
          <p:nvSpPr>
            <p:cNvPr id="34" name="TextBox 33">
              <a:extLst>
                <a:ext uri="{FF2B5EF4-FFF2-40B4-BE49-F238E27FC236}">
                  <a16:creationId xmlns:a16="http://schemas.microsoft.com/office/drawing/2014/main" id="{6680C346-4CE9-4B76-B5EC-9121F4F94DD9}"/>
                </a:ext>
              </a:extLst>
            </p:cNvPr>
            <p:cNvSpPr txBox="1"/>
            <p:nvPr/>
          </p:nvSpPr>
          <p:spPr>
            <a:xfrm>
              <a:off x="1510263" y="1284523"/>
              <a:ext cx="1786066" cy="323165"/>
            </a:xfrm>
            <a:prstGeom prst="rect">
              <a:avLst/>
            </a:prstGeom>
            <a:noFill/>
          </p:spPr>
          <p:txBody>
            <a:bodyPr wrap="none" rtlCol="0">
              <a:spAutoFit/>
            </a:bodyPr>
            <a:lstStyle/>
            <a:p>
              <a:r>
                <a:rPr lang="en-US" sz="1500" b="1" dirty="0">
                  <a:solidFill>
                    <a:schemeClr val="accent1"/>
                  </a:solidFill>
                  <a:latin typeface="Montserrat" panose="00000500000000000000" pitchFamily="50" charset="0"/>
                </a:rPr>
                <a:t>Write Title Here</a:t>
              </a:r>
            </a:p>
          </p:txBody>
        </p:sp>
        <p:sp>
          <p:nvSpPr>
            <p:cNvPr id="38" name="TextBox 37">
              <a:extLst>
                <a:ext uri="{FF2B5EF4-FFF2-40B4-BE49-F238E27FC236}">
                  <a16:creationId xmlns:a16="http://schemas.microsoft.com/office/drawing/2014/main" id="{890C5FDC-9F76-4261-B1B0-3DF6E464E7B3}"/>
                </a:ext>
              </a:extLst>
            </p:cNvPr>
            <p:cNvSpPr txBox="1"/>
            <p:nvPr/>
          </p:nvSpPr>
          <p:spPr>
            <a:xfrm>
              <a:off x="381000" y="1607688"/>
              <a:ext cx="2915329" cy="481542"/>
            </a:xfrm>
            <a:prstGeom prst="rect">
              <a:avLst/>
            </a:prstGeom>
            <a:noFill/>
          </p:spPr>
          <p:txBody>
            <a:bodyPr wrap="square" rtlCol="0">
              <a:spAutoFit/>
            </a:bodyPr>
            <a:lstStyle/>
            <a:p>
              <a:pPr algn="r">
                <a:lnSpc>
                  <a:spcPts val="1600"/>
                </a:lnSpc>
              </a:pPr>
              <a:r>
                <a:rPr lang="en-US" sz="1000" dirty="0">
                  <a:solidFill>
                    <a:schemeClr val="tx1">
                      <a:lumMod val="75000"/>
                      <a:lumOff val="25000"/>
                    </a:schemeClr>
                  </a:solidFill>
                  <a:latin typeface="Montserrat" panose="00000500000000000000" pitchFamily="50" charset="0"/>
                </a:rPr>
                <a:t>Lorem ipsum dolor sit </a:t>
              </a:r>
              <a:r>
                <a:rPr lang="en-US" sz="1000" dirty="0" err="1">
                  <a:solidFill>
                    <a:schemeClr val="tx1">
                      <a:lumMod val="75000"/>
                      <a:lumOff val="25000"/>
                    </a:schemeClr>
                  </a:solidFill>
                  <a:latin typeface="Montserrat" panose="00000500000000000000" pitchFamily="50" charset="0"/>
                </a:rPr>
                <a:t>ame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consectetur</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adipiscing</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elit</a:t>
              </a:r>
              <a:r>
                <a:rPr lang="en-US" sz="1000" dirty="0">
                  <a:solidFill>
                    <a:schemeClr val="tx1">
                      <a:lumMod val="75000"/>
                      <a:lumOff val="25000"/>
                    </a:schemeClr>
                  </a:solidFill>
                  <a:latin typeface="Montserrat" panose="00000500000000000000" pitchFamily="50" charset="0"/>
                </a:rPr>
                <a:t>, sed do </a:t>
              </a:r>
              <a:r>
                <a:rPr lang="en-US" sz="1000" dirty="0" err="1">
                  <a:solidFill>
                    <a:schemeClr val="tx1">
                      <a:lumMod val="75000"/>
                      <a:lumOff val="25000"/>
                    </a:schemeClr>
                  </a:solidFill>
                  <a:latin typeface="Montserrat" panose="00000500000000000000" pitchFamily="50" charset="0"/>
                </a:rPr>
                <a:t>eiusmod</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tempor</a:t>
              </a:r>
              <a:endParaRPr lang="en-US" sz="1000" dirty="0">
                <a:solidFill>
                  <a:schemeClr val="tx1">
                    <a:lumMod val="75000"/>
                    <a:lumOff val="25000"/>
                  </a:schemeClr>
                </a:solidFill>
                <a:latin typeface="Montserrat" panose="00000500000000000000" pitchFamily="50" charset="0"/>
              </a:endParaRPr>
            </a:p>
          </p:txBody>
        </p:sp>
      </p:grpSp>
      <p:grpSp>
        <p:nvGrpSpPr>
          <p:cNvPr id="50" name="Group 49">
            <a:extLst>
              <a:ext uri="{FF2B5EF4-FFF2-40B4-BE49-F238E27FC236}">
                <a16:creationId xmlns:a16="http://schemas.microsoft.com/office/drawing/2014/main" id="{D94DD263-A24B-45BC-8A5B-32B55913E79C}"/>
              </a:ext>
            </a:extLst>
          </p:cNvPr>
          <p:cNvGrpSpPr/>
          <p:nvPr/>
        </p:nvGrpSpPr>
        <p:grpSpPr>
          <a:xfrm flipH="1">
            <a:off x="8650240" y="1019469"/>
            <a:ext cx="2915329" cy="804707"/>
            <a:chOff x="381000" y="1284523"/>
            <a:chExt cx="2915329" cy="804707"/>
          </a:xfrm>
        </p:grpSpPr>
        <p:sp>
          <p:nvSpPr>
            <p:cNvPr id="51" name="TextBox 50">
              <a:extLst>
                <a:ext uri="{FF2B5EF4-FFF2-40B4-BE49-F238E27FC236}">
                  <a16:creationId xmlns:a16="http://schemas.microsoft.com/office/drawing/2014/main" id="{27BA4D40-4D6F-4E18-BA1C-DDC47502D8A4}"/>
                </a:ext>
              </a:extLst>
            </p:cNvPr>
            <p:cNvSpPr txBox="1"/>
            <p:nvPr/>
          </p:nvSpPr>
          <p:spPr>
            <a:xfrm>
              <a:off x="1510263" y="1284523"/>
              <a:ext cx="1786066" cy="323165"/>
            </a:xfrm>
            <a:prstGeom prst="rect">
              <a:avLst/>
            </a:prstGeom>
            <a:noFill/>
          </p:spPr>
          <p:txBody>
            <a:bodyPr wrap="none" rtlCol="0">
              <a:spAutoFit/>
            </a:bodyPr>
            <a:lstStyle/>
            <a:p>
              <a:r>
                <a:rPr lang="en-US" sz="1500" b="1" dirty="0">
                  <a:solidFill>
                    <a:schemeClr val="accent4">
                      <a:lumMod val="75000"/>
                    </a:schemeClr>
                  </a:solidFill>
                  <a:latin typeface="Montserrat" panose="00000500000000000000" pitchFamily="50" charset="0"/>
                </a:rPr>
                <a:t>Write Title Here</a:t>
              </a:r>
            </a:p>
          </p:txBody>
        </p:sp>
        <p:sp>
          <p:nvSpPr>
            <p:cNvPr id="52" name="TextBox 51">
              <a:extLst>
                <a:ext uri="{FF2B5EF4-FFF2-40B4-BE49-F238E27FC236}">
                  <a16:creationId xmlns:a16="http://schemas.microsoft.com/office/drawing/2014/main" id="{92156F3F-202C-459E-A992-78B00893A21D}"/>
                </a:ext>
              </a:extLst>
            </p:cNvPr>
            <p:cNvSpPr txBox="1"/>
            <p:nvPr/>
          </p:nvSpPr>
          <p:spPr>
            <a:xfrm>
              <a:off x="381000" y="1607688"/>
              <a:ext cx="2915329" cy="481542"/>
            </a:xfrm>
            <a:prstGeom prst="rect">
              <a:avLst/>
            </a:prstGeom>
            <a:noFill/>
          </p:spPr>
          <p:txBody>
            <a:bodyPr wrap="square" rtlCol="0">
              <a:spAutoFit/>
            </a:bodyPr>
            <a:lstStyle/>
            <a:p>
              <a:pPr>
                <a:lnSpc>
                  <a:spcPts val="1600"/>
                </a:lnSpc>
              </a:pPr>
              <a:r>
                <a:rPr lang="en-US" sz="1000" dirty="0">
                  <a:solidFill>
                    <a:schemeClr val="tx1">
                      <a:lumMod val="75000"/>
                      <a:lumOff val="25000"/>
                    </a:schemeClr>
                  </a:solidFill>
                  <a:latin typeface="Montserrat" panose="00000500000000000000" pitchFamily="50" charset="0"/>
                </a:rPr>
                <a:t>Lorem ipsum dolor sit </a:t>
              </a:r>
              <a:r>
                <a:rPr lang="en-US" sz="1000" dirty="0" err="1">
                  <a:solidFill>
                    <a:schemeClr val="tx1">
                      <a:lumMod val="75000"/>
                      <a:lumOff val="25000"/>
                    </a:schemeClr>
                  </a:solidFill>
                  <a:latin typeface="Montserrat" panose="00000500000000000000" pitchFamily="50" charset="0"/>
                </a:rPr>
                <a:t>ame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consectetur</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adipiscing</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elit</a:t>
              </a:r>
              <a:r>
                <a:rPr lang="en-US" sz="1000" dirty="0">
                  <a:solidFill>
                    <a:schemeClr val="tx1">
                      <a:lumMod val="75000"/>
                      <a:lumOff val="25000"/>
                    </a:schemeClr>
                  </a:solidFill>
                  <a:latin typeface="Montserrat" panose="00000500000000000000" pitchFamily="50" charset="0"/>
                </a:rPr>
                <a:t>, sed do </a:t>
              </a:r>
              <a:r>
                <a:rPr lang="en-US" sz="1000" dirty="0" err="1">
                  <a:solidFill>
                    <a:schemeClr val="tx1">
                      <a:lumMod val="75000"/>
                      <a:lumOff val="25000"/>
                    </a:schemeClr>
                  </a:solidFill>
                  <a:latin typeface="Montserrat" panose="00000500000000000000" pitchFamily="50" charset="0"/>
                </a:rPr>
                <a:t>eiusmod</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tempor</a:t>
              </a:r>
              <a:endParaRPr lang="en-US" sz="1000" dirty="0">
                <a:solidFill>
                  <a:schemeClr val="tx1">
                    <a:lumMod val="75000"/>
                    <a:lumOff val="25000"/>
                  </a:schemeClr>
                </a:solidFill>
                <a:latin typeface="Montserrat" panose="00000500000000000000" pitchFamily="50" charset="0"/>
              </a:endParaRPr>
            </a:p>
          </p:txBody>
        </p:sp>
      </p:grpSp>
      <p:grpSp>
        <p:nvGrpSpPr>
          <p:cNvPr id="47" name="Group 46">
            <a:extLst>
              <a:ext uri="{FF2B5EF4-FFF2-40B4-BE49-F238E27FC236}">
                <a16:creationId xmlns:a16="http://schemas.microsoft.com/office/drawing/2014/main" id="{CBA14F3D-2CD7-4714-8528-246233FE050E}"/>
              </a:ext>
            </a:extLst>
          </p:cNvPr>
          <p:cNvGrpSpPr/>
          <p:nvPr/>
        </p:nvGrpSpPr>
        <p:grpSpPr>
          <a:xfrm>
            <a:off x="552543" y="5033824"/>
            <a:ext cx="2915329" cy="804707"/>
            <a:chOff x="381000" y="1284523"/>
            <a:chExt cx="2915329" cy="804707"/>
          </a:xfrm>
        </p:grpSpPr>
        <p:sp>
          <p:nvSpPr>
            <p:cNvPr id="48" name="TextBox 47">
              <a:extLst>
                <a:ext uri="{FF2B5EF4-FFF2-40B4-BE49-F238E27FC236}">
                  <a16:creationId xmlns:a16="http://schemas.microsoft.com/office/drawing/2014/main" id="{65320A92-7116-4663-92E3-009BD6650C27}"/>
                </a:ext>
              </a:extLst>
            </p:cNvPr>
            <p:cNvSpPr txBox="1"/>
            <p:nvPr/>
          </p:nvSpPr>
          <p:spPr>
            <a:xfrm>
              <a:off x="1510263" y="1284523"/>
              <a:ext cx="1786066" cy="323165"/>
            </a:xfrm>
            <a:prstGeom prst="rect">
              <a:avLst/>
            </a:prstGeom>
            <a:noFill/>
          </p:spPr>
          <p:txBody>
            <a:bodyPr wrap="none" rtlCol="0">
              <a:spAutoFit/>
            </a:bodyPr>
            <a:lstStyle/>
            <a:p>
              <a:r>
                <a:rPr lang="en-US" sz="1500" b="1" dirty="0">
                  <a:solidFill>
                    <a:schemeClr val="accent1"/>
                  </a:solidFill>
                  <a:latin typeface="Montserrat" panose="00000500000000000000" pitchFamily="50" charset="0"/>
                </a:rPr>
                <a:t>Write Title Here</a:t>
              </a:r>
            </a:p>
          </p:txBody>
        </p:sp>
        <p:sp>
          <p:nvSpPr>
            <p:cNvPr id="49" name="TextBox 48">
              <a:extLst>
                <a:ext uri="{FF2B5EF4-FFF2-40B4-BE49-F238E27FC236}">
                  <a16:creationId xmlns:a16="http://schemas.microsoft.com/office/drawing/2014/main" id="{288BD0DB-A313-477F-8CCC-D63AA40A4A4D}"/>
                </a:ext>
              </a:extLst>
            </p:cNvPr>
            <p:cNvSpPr txBox="1"/>
            <p:nvPr/>
          </p:nvSpPr>
          <p:spPr>
            <a:xfrm>
              <a:off x="381000" y="1607688"/>
              <a:ext cx="2915329" cy="481542"/>
            </a:xfrm>
            <a:prstGeom prst="rect">
              <a:avLst/>
            </a:prstGeom>
            <a:noFill/>
          </p:spPr>
          <p:txBody>
            <a:bodyPr wrap="square" rtlCol="0">
              <a:spAutoFit/>
            </a:bodyPr>
            <a:lstStyle/>
            <a:p>
              <a:pPr algn="r">
                <a:lnSpc>
                  <a:spcPts val="1600"/>
                </a:lnSpc>
              </a:pPr>
              <a:r>
                <a:rPr lang="en-US" sz="1000" dirty="0">
                  <a:solidFill>
                    <a:schemeClr val="tx1">
                      <a:lumMod val="75000"/>
                      <a:lumOff val="25000"/>
                    </a:schemeClr>
                  </a:solidFill>
                  <a:latin typeface="Montserrat" panose="00000500000000000000" pitchFamily="50" charset="0"/>
                </a:rPr>
                <a:t>Lorem ipsum dolor sit </a:t>
              </a:r>
              <a:r>
                <a:rPr lang="en-US" sz="1000" dirty="0" err="1">
                  <a:solidFill>
                    <a:schemeClr val="tx1">
                      <a:lumMod val="75000"/>
                      <a:lumOff val="25000"/>
                    </a:schemeClr>
                  </a:solidFill>
                  <a:latin typeface="Montserrat" panose="00000500000000000000" pitchFamily="50" charset="0"/>
                </a:rPr>
                <a:t>ame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consectetur</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adipiscing</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elit</a:t>
              </a:r>
              <a:r>
                <a:rPr lang="en-US" sz="1000" dirty="0">
                  <a:solidFill>
                    <a:schemeClr val="tx1">
                      <a:lumMod val="75000"/>
                      <a:lumOff val="25000"/>
                    </a:schemeClr>
                  </a:solidFill>
                  <a:latin typeface="Montserrat" panose="00000500000000000000" pitchFamily="50" charset="0"/>
                </a:rPr>
                <a:t>, sed do </a:t>
              </a:r>
              <a:r>
                <a:rPr lang="en-US" sz="1000" dirty="0" err="1">
                  <a:solidFill>
                    <a:schemeClr val="tx1">
                      <a:lumMod val="75000"/>
                      <a:lumOff val="25000"/>
                    </a:schemeClr>
                  </a:solidFill>
                  <a:latin typeface="Montserrat" panose="00000500000000000000" pitchFamily="50" charset="0"/>
                </a:rPr>
                <a:t>eiusmod</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tempor</a:t>
              </a:r>
              <a:endParaRPr lang="en-US" sz="1000" dirty="0">
                <a:solidFill>
                  <a:schemeClr val="tx1">
                    <a:lumMod val="75000"/>
                    <a:lumOff val="25000"/>
                  </a:schemeClr>
                </a:solidFill>
                <a:latin typeface="Montserrat" panose="00000500000000000000" pitchFamily="50" charset="0"/>
              </a:endParaRPr>
            </a:p>
          </p:txBody>
        </p:sp>
      </p:grpSp>
      <p:grpSp>
        <p:nvGrpSpPr>
          <p:cNvPr id="56" name="Group 55">
            <a:extLst>
              <a:ext uri="{FF2B5EF4-FFF2-40B4-BE49-F238E27FC236}">
                <a16:creationId xmlns:a16="http://schemas.microsoft.com/office/drawing/2014/main" id="{E14A0256-C490-4D4B-855E-13904C1CE2A8}"/>
              </a:ext>
            </a:extLst>
          </p:cNvPr>
          <p:cNvGrpSpPr/>
          <p:nvPr/>
        </p:nvGrpSpPr>
        <p:grpSpPr>
          <a:xfrm flipH="1">
            <a:off x="8650240" y="5033824"/>
            <a:ext cx="2915329" cy="804707"/>
            <a:chOff x="381000" y="1284523"/>
            <a:chExt cx="2915329" cy="804707"/>
          </a:xfrm>
        </p:grpSpPr>
        <p:sp>
          <p:nvSpPr>
            <p:cNvPr id="57" name="TextBox 56">
              <a:extLst>
                <a:ext uri="{FF2B5EF4-FFF2-40B4-BE49-F238E27FC236}">
                  <a16:creationId xmlns:a16="http://schemas.microsoft.com/office/drawing/2014/main" id="{E1A17022-57EE-4BB7-822D-FBC05860209F}"/>
                </a:ext>
              </a:extLst>
            </p:cNvPr>
            <p:cNvSpPr txBox="1"/>
            <p:nvPr/>
          </p:nvSpPr>
          <p:spPr>
            <a:xfrm>
              <a:off x="1510263" y="1284523"/>
              <a:ext cx="1786066" cy="323165"/>
            </a:xfrm>
            <a:prstGeom prst="rect">
              <a:avLst/>
            </a:prstGeom>
            <a:noFill/>
          </p:spPr>
          <p:txBody>
            <a:bodyPr wrap="none" rtlCol="0">
              <a:spAutoFit/>
            </a:bodyPr>
            <a:lstStyle/>
            <a:p>
              <a:r>
                <a:rPr lang="en-US" sz="1500" b="1" dirty="0">
                  <a:solidFill>
                    <a:schemeClr val="accent4">
                      <a:lumMod val="75000"/>
                    </a:schemeClr>
                  </a:solidFill>
                  <a:latin typeface="Montserrat" panose="00000500000000000000" pitchFamily="50" charset="0"/>
                </a:rPr>
                <a:t>Write Title Here</a:t>
              </a:r>
            </a:p>
          </p:txBody>
        </p:sp>
        <p:sp>
          <p:nvSpPr>
            <p:cNvPr id="58" name="TextBox 57">
              <a:extLst>
                <a:ext uri="{FF2B5EF4-FFF2-40B4-BE49-F238E27FC236}">
                  <a16:creationId xmlns:a16="http://schemas.microsoft.com/office/drawing/2014/main" id="{089E6CF0-6F92-4DA3-AA55-A6A13433424F}"/>
                </a:ext>
              </a:extLst>
            </p:cNvPr>
            <p:cNvSpPr txBox="1"/>
            <p:nvPr/>
          </p:nvSpPr>
          <p:spPr>
            <a:xfrm>
              <a:off x="381000" y="1607688"/>
              <a:ext cx="2915329" cy="481542"/>
            </a:xfrm>
            <a:prstGeom prst="rect">
              <a:avLst/>
            </a:prstGeom>
            <a:noFill/>
          </p:spPr>
          <p:txBody>
            <a:bodyPr wrap="square" rtlCol="0">
              <a:spAutoFit/>
            </a:bodyPr>
            <a:lstStyle/>
            <a:p>
              <a:pPr>
                <a:lnSpc>
                  <a:spcPts val="1600"/>
                </a:lnSpc>
              </a:pPr>
              <a:r>
                <a:rPr lang="en-US" sz="1000" dirty="0">
                  <a:solidFill>
                    <a:schemeClr val="tx1">
                      <a:lumMod val="75000"/>
                      <a:lumOff val="25000"/>
                    </a:schemeClr>
                  </a:solidFill>
                  <a:latin typeface="Montserrat" panose="00000500000000000000" pitchFamily="50" charset="0"/>
                </a:rPr>
                <a:t>Lorem ipsum dolor sit </a:t>
              </a:r>
              <a:r>
                <a:rPr lang="en-US" sz="1000" dirty="0" err="1">
                  <a:solidFill>
                    <a:schemeClr val="tx1">
                      <a:lumMod val="75000"/>
                      <a:lumOff val="25000"/>
                    </a:schemeClr>
                  </a:solidFill>
                  <a:latin typeface="Montserrat" panose="00000500000000000000" pitchFamily="50" charset="0"/>
                </a:rPr>
                <a:t>amet</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consectetur</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adipiscing</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elit</a:t>
              </a:r>
              <a:r>
                <a:rPr lang="en-US" sz="1000" dirty="0">
                  <a:solidFill>
                    <a:schemeClr val="tx1">
                      <a:lumMod val="75000"/>
                      <a:lumOff val="25000"/>
                    </a:schemeClr>
                  </a:solidFill>
                  <a:latin typeface="Montserrat" panose="00000500000000000000" pitchFamily="50" charset="0"/>
                </a:rPr>
                <a:t>, sed do </a:t>
              </a:r>
              <a:r>
                <a:rPr lang="en-US" sz="1000" dirty="0" err="1">
                  <a:solidFill>
                    <a:schemeClr val="tx1">
                      <a:lumMod val="75000"/>
                      <a:lumOff val="25000"/>
                    </a:schemeClr>
                  </a:solidFill>
                  <a:latin typeface="Montserrat" panose="00000500000000000000" pitchFamily="50" charset="0"/>
                </a:rPr>
                <a:t>eiusmod</a:t>
              </a:r>
              <a:r>
                <a:rPr lang="en-US" sz="1000" dirty="0">
                  <a:solidFill>
                    <a:schemeClr val="tx1">
                      <a:lumMod val="75000"/>
                      <a:lumOff val="25000"/>
                    </a:schemeClr>
                  </a:solidFill>
                  <a:latin typeface="Montserrat" panose="00000500000000000000" pitchFamily="50" charset="0"/>
                </a:rPr>
                <a:t> </a:t>
              </a:r>
              <a:r>
                <a:rPr lang="en-US" sz="1000" dirty="0" err="1">
                  <a:solidFill>
                    <a:schemeClr val="tx1">
                      <a:lumMod val="75000"/>
                      <a:lumOff val="25000"/>
                    </a:schemeClr>
                  </a:solidFill>
                  <a:latin typeface="Montserrat" panose="00000500000000000000" pitchFamily="50" charset="0"/>
                </a:rPr>
                <a:t>tempor</a:t>
              </a:r>
              <a:endParaRPr lang="en-US" sz="1000" dirty="0">
                <a:solidFill>
                  <a:schemeClr val="tx1">
                    <a:lumMod val="75000"/>
                    <a:lumOff val="25000"/>
                  </a:schemeClr>
                </a:solidFill>
                <a:latin typeface="Montserrat" panose="00000500000000000000" pitchFamily="50" charset="0"/>
              </a:endParaRPr>
            </a:p>
          </p:txBody>
        </p:sp>
      </p:grpSp>
    </p:spTree>
    <p:extLst>
      <p:ext uri="{BB962C8B-B14F-4D97-AF65-F5344CB8AC3E}">
        <p14:creationId xmlns:p14="http://schemas.microsoft.com/office/powerpoint/2010/main" val="2765828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2000"/>
                                        <p:tgtEl>
                                          <p:spTgt spid="44"/>
                                        </p:tgtEl>
                                      </p:cBhvr>
                                    </p:animEffect>
                                  </p:childTnLst>
                                </p:cTn>
                              </p:par>
                              <p:par>
                                <p:cTn id="8" presetID="63" presetClass="path" presetSubtype="0" accel="50000" decel="50000" fill="hold" grpId="1" nodeType="withEffect">
                                  <p:stCondLst>
                                    <p:cond delay="0"/>
                                  </p:stCondLst>
                                  <p:childTnLst>
                                    <p:animMotion origin="layout" path="M -0.0526 0 L 6.25E-7 0 " pathEditMode="relative" rAng="0" ptsTypes="AA">
                                      <p:cBhvr>
                                        <p:cTn id="9" dur="2000" fill="hold"/>
                                        <p:tgtEl>
                                          <p:spTgt spid="44"/>
                                        </p:tgtEl>
                                        <p:attrNameLst>
                                          <p:attrName>ppt_x</p:attrName>
                                          <p:attrName>ppt_y</p:attrName>
                                        </p:attrNameLst>
                                      </p:cBhvr>
                                      <p:rCtr x="2630" y="0"/>
                                    </p:animMotion>
                                  </p:childTnLst>
                                </p:cTn>
                              </p:par>
                              <p:par>
                                <p:cTn id="10" presetID="10" presetClass="entr" presetSubtype="0" fill="hold" grpId="0" nodeType="withEffect">
                                  <p:stCondLst>
                                    <p:cond delay="0"/>
                                  </p:stCondLst>
                                  <p:childTnLst>
                                    <p:set>
                                      <p:cBhvr>
                                        <p:cTn id="11" dur="1" fill="hold">
                                          <p:stCondLst>
                                            <p:cond delay="0"/>
                                          </p:stCondLst>
                                        </p:cTn>
                                        <p:tgtEl>
                                          <p:spTgt spid="45"/>
                                        </p:tgtEl>
                                        <p:attrNameLst>
                                          <p:attrName>style.visibility</p:attrName>
                                        </p:attrNameLst>
                                      </p:cBhvr>
                                      <p:to>
                                        <p:strVal val="visible"/>
                                      </p:to>
                                    </p:set>
                                    <p:animEffect transition="in" filter="fade">
                                      <p:cBhvr>
                                        <p:cTn id="12" dur="2000"/>
                                        <p:tgtEl>
                                          <p:spTgt spid="45"/>
                                        </p:tgtEl>
                                      </p:cBhvr>
                                    </p:animEffect>
                                  </p:childTnLst>
                                </p:cTn>
                              </p:par>
                              <p:par>
                                <p:cTn id="13" presetID="63" presetClass="path" presetSubtype="0" accel="50000" decel="50000" fill="hold" grpId="1" nodeType="withEffect">
                                  <p:stCondLst>
                                    <p:cond delay="0"/>
                                  </p:stCondLst>
                                  <p:childTnLst>
                                    <p:animMotion origin="layout" path="M 0.05261 0 L -1.04167E-6 0 " pathEditMode="relative" rAng="0" ptsTypes="AA">
                                      <p:cBhvr>
                                        <p:cTn id="14" dur="2000" fill="hold"/>
                                        <p:tgtEl>
                                          <p:spTgt spid="45"/>
                                        </p:tgtEl>
                                        <p:attrNameLst>
                                          <p:attrName>ppt_x</p:attrName>
                                          <p:attrName>ppt_y</p:attrName>
                                        </p:attrNameLst>
                                      </p:cBhvr>
                                      <p:rCtr x="-2630" y="0"/>
                                    </p:animMotion>
                                  </p:childTnLst>
                                </p:cTn>
                              </p:par>
                              <p:par>
                                <p:cTn id="15" presetID="10" presetClass="entr" presetSubtype="0" fill="hold" grpId="0" nodeType="withEffect">
                                  <p:stCondLst>
                                    <p:cond delay="175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750"/>
                                        <p:tgtEl>
                                          <p:spTgt spid="10"/>
                                        </p:tgtEl>
                                      </p:cBhvr>
                                    </p:animEffect>
                                  </p:childTnLst>
                                </p:cTn>
                              </p:par>
                              <p:par>
                                <p:cTn id="18" presetID="10" presetClass="entr" presetSubtype="0" fill="hold" grpId="0" nodeType="withEffect">
                                  <p:stCondLst>
                                    <p:cond delay="1750"/>
                                  </p:stCondLst>
                                  <p:childTnLst>
                                    <p:set>
                                      <p:cBhvr>
                                        <p:cTn id="19" dur="1" fill="hold">
                                          <p:stCondLst>
                                            <p:cond delay="0"/>
                                          </p:stCondLst>
                                        </p:cTn>
                                        <p:tgtEl>
                                          <p:spTgt spid="36"/>
                                        </p:tgtEl>
                                        <p:attrNameLst>
                                          <p:attrName>style.visibility</p:attrName>
                                        </p:attrNameLst>
                                      </p:cBhvr>
                                      <p:to>
                                        <p:strVal val="visible"/>
                                      </p:to>
                                    </p:set>
                                    <p:animEffect transition="in" filter="fade">
                                      <p:cBhvr>
                                        <p:cTn id="20" dur="750"/>
                                        <p:tgtEl>
                                          <p:spTgt spid="36"/>
                                        </p:tgtEl>
                                      </p:cBhvr>
                                    </p:animEffect>
                                  </p:childTnLst>
                                </p:cTn>
                              </p:par>
                              <p:par>
                                <p:cTn id="21" presetID="10" presetClass="entr" presetSubtype="0" fill="hold" grpId="0" nodeType="withEffect">
                                  <p:stCondLst>
                                    <p:cond delay="1750"/>
                                  </p:stCondLst>
                                  <p:childTnLst>
                                    <p:set>
                                      <p:cBhvr>
                                        <p:cTn id="22" dur="1" fill="hold">
                                          <p:stCondLst>
                                            <p:cond delay="0"/>
                                          </p:stCondLst>
                                        </p:cTn>
                                        <p:tgtEl>
                                          <p:spTgt spid="35"/>
                                        </p:tgtEl>
                                        <p:attrNameLst>
                                          <p:attrName>style.visibility</p:attrName>
                                        </p:attrNameLst>
                                      </p:cBhvr>
                                      <p:to>
                                        <p:strVal val="visible"/>
                                      </p:to>
                                    </p:set>
                                    <p:animEffect transition="in" filter="fade">
                                      <p:cBhvr>
                                        <p:cTn id="23" dur="750"/>
                                        <p:tgtEl>
                                          <p:spTgt spid="35"/>
                                        </p:tgtEl>
                                      </p:cBhvr>
                                    </p:animEffect>
                                  </p:childTnLst>
                                </p:cTn>
                              </p:par>
                              <p:par>
                                <p:cTn id="24" presetID="10" presetClass="entr" presetSubtype="0" fill="hold" grpId="0" nodeType="withEffect">
                                  <p:stCondLst>
                                    <p:cond delay="1750"/>
                                  </p:stCondLst>
                                  <p:childTnLst>
                                    <p:set>
                                      <p:cBhvr>
                                        <p:cTn id="25" dur="1" fill="hold">
                                          <p:stCondLst>
                                            <p:cond delay="0"/>
                                          </p:stCondLst>
                                        </p:cTn>
                                        <p:tgtEl>
                                          <p:spTgt spid="28"/>
                                        </p:tgtEl>
                                        <p:attrNameLst>
                                          <p:attrName>style.visibility</p:attrName>
                                        </p:attrNameLst>
                                      </p:cBhvr>
                                      <p:to>
                                        <p:strVal val="visible"/>
                                      </p:to>
                                    </p:set>
                                    <p:animEffect transition="in" filter="fade">
                                      <p:cBhvr>
                                        <p:cTn id="26" dur="750"/>
                                        <p:tgtEl>
                                          <p:spTgt spid="28"/>
                                        </p:tgtEl>
                                      </p:cBhvr>
                                    </p:animEffect>
                                  </p:childTnLst>
                                </p:cTn>
                              </p:par>
                              <p:par>
                                <p:cTn id="27" presetID="10" presetClass="entr" presetSubtype="0" fill="hold" grpId="0" nodeType="withEffect">
                                  <p:stCondLst>
                                    <p:cond delay="2000"/>
                                  </p:stCondLst>
                                  <p:childTnLst>
                                    <p:set>
                                      <p:cBhvr>
                                        <p:cTn id="28" dur="1" fill="hold">
                                          <p:stCondLst>
                                            <p:cond delay="0"/>
                                          </p:stCondLst>
                                        </p:cTn>
                                        <p:tgtEl>
                                          <p:spTgt spid="31"/>
                                        </p:tgtEl>
                                        <p:attrNameLst>
                                          <p:attrName>style.visibility</p:attrName>
                                        </p:attrNameLst>
                                      </p:cBhvr>
                                      <p:to>
                                        <p:strVal val="visible"/>
                                      </p:to>
                                    </p:set>
                                    <p:animEffect transition="in" filter="fade">
                                      <p:cBhvr>
                                        <p:cTn id="29" dur="1500"/>
                                        <p:tgtEl>
                                          <p:spTgt spid="31"/>
                                        </p:tgtEl>
                                      </p:cBhvr>
                                    </p:animEffect>
                                  </p:childTnLst>
                                </p:cTn>
                              </p:par>
                              <p:par>
                                <p:cTn id="30" presetID="63" presetClass="path" presetSubtype="0" accel="50000" decel="50000" fill="hold" grpId="1" nodeType="withEffect">
                                  <p:stCondLst>
                                    <p:cond delay="2000"/>
                                  </p:stCondLst>
                                  <p:childTnLst>
                                    <p:animMotion origin="layout" path="M 0.04818 0.09167 L 8.33333E-7 -3.33333E-6 " pathEditMode="relative" rAng="0" ptsTypes="AA">
                                      <p:cBhvr>
                                        <p:cTn id="31" dur="1500" fill="hold"/>
                                        <p:tgtEl>
                                          <p:spTgt spid="31"/>
                                        </p:tgtEl>
                                        <p:attrNameLst>
                                          <p:attrName>ppt_x</p:attrName>
                                          <p:attrName>ppt_y</p:attrName>
                                        </p:attrNameLst>
                                      </p:cBhvr>
                                      <p:rCtr x="-2409" y="-4583"/>
                                    </p:animMotion>
                                  </p:childTnLst>
                                </p:cTn>
                              </p:par>
                              <p:par>
                                <p:cTn id="32" presetID="10" presetClass="entr" presetSubtype="0" fill="hold" grpId="0" nodeType="withEffect">
                                  <p:stCondLst>
                                    <p:cond delay="2000"/>
                                  </p:stCondLst>
                                  <p:childTnLst>
                                    <p:set>
                                      <p:cBhvr>
                                        <p:cTn id="33" dur="1" fill="hold">
                                          <p:stCondLst>
                                            <p:cond delay="0"/>
                                          </p:stCondLst>
                                        </p:cTn>
                                        <p:tgtEl>
                                          <p:spTgt spid="33"/>
                                        </p:tgtEl>
                                        <p:attrNameLst>
                                          <p:attrName>style.visibility</p:attrName>
                                        </p:attrNameLst>
                                      </p:cBhvr>
                                      <p:to>
                                        <p:strVal val="visible"/>
                                      </p:to>
                                    </p:set>
                                    <p:animEffect transition="in" filter="fade">
                                      <p:cBhvr>
                                        <p:cTn id="34" dur="1500"/>
                                        <p:tgtEl>
                                          <p:spTgt spid="33"/>
                                        </p:tgtEl>
                                      </p:cBhvr>
                                    </p:animEffect>
                                  </p:childTnLst>
                                </p:cTn>
                              </p:par>
                              <p:par>
                                <p:cTn id="35" presetID="63" presetClass="path" presetSubtype="0" accel="50000" decel="50000" fill="hold" grpId="1" nodeType="withEffect">
                                  <p:stCondLst>
                                    <p:cond delay="2000"/>
                                  </p:stCondLst>
                                  <p:childTnLst>
                                    <p:animMotion origin="layout" path="M 0.06381 0 L -4.58333E-6 0 " pathEditMode="relative" rAng="0" ptsTypes="AA">
                                      <p:cBhvr>
                                        <p:cTn id="36" dur="1500" fill="hold"/>
                                        <p:tgtEl>
                                          <p:spTgt spid="33"/>
                                        </p:tgtEl>
                                        <p:attrNameLst>
                                          <p:attrName>ppt_x</p:attrName>
                                          <p:attrName>ppt_y</p:attrName>
                                        </p:attrNameLst>
                                      </p:cBhvr>
                                      <p:rCtr x="-3190" y="0"/>
                                    </p:animMotion>
                                  </p:childTnLst>
                                </p:cTn>
                              </p:par>
                              <p:par>
                                <p:cTn id="37" presetID="10" presetClass="entr" presetSubtype="0" fill="hold" grpId="0" nodeType="withEffect">
                                  <p:stCondLst>
                                    <p:cond delay="2000"/>
                                  </p:stCondLst>
                                  <p:childTnLst>
                                    <p:set>
                                      <p:cBhvr>
                                        <p:cTn id="38" dur="1" fill="hold">
                                          <p:stCondLst>
                                            <p:cond delay="0"/>
                                          </p:stCondLst>
                                        </p:cTn>
                                        <p:tgtEl>
                                          <p:spTgt spid="32"/>
                                        </p:tgtEl>
                                        <p:attrNameLst>
                                          <p:attrName>style.visibility</p:attrName>
                                        </p:attrNameLst>
                                      </p:cBhvr>
                                      <p:to>
                                        <p:strVal val="visible"/>
                                      </p:to>
                                    </p:set>
                                    <p:animEffect transition="in" filter="fade">
                                      <p:cBhvr>
                                        <p:cTn id="39" dur="1500"/>
                                        <p:tgtEl>
                                          <p:spTgt spid="32"/>
                                        </p:tgtEl>
                                      </p:cBhvr>
                                    </p:animEffect>
                                  </p:childTnLst>
                                </p:cTn>
                              </p:par>
                              <p:par>
                                <p:cTn id="40" presetID="63" presetClass="path" presetSubtype="0" accel="50000" decel="50000" fill="hold" grpId="1" nodeType="withEffect">
                                  <p:stCondLst>
                                    <p:cond delay="2000"/>
                                  </p:stCondLst>
                                  <p:childTnLst>
                                    <p:animMotion origin="layout" path="M 0.04818 -0.08079 L 8.33333E-7 4.81481E-6 " pathEditMode="relative" rAng="0" ptsTypes="AA">
                                      <p:cBhvr>
                                        <p:cTn id="41" dur="1500" fill="hold"/>
                                        <p:tgtEl>
                                          <p:spTgt spid="32"/>
                                        </p:tgtEl>
                                        <p:attrNameLst>
                                          <p:attrName>ppt_x</p:attrName>
                                          <p:attrName>ppt_y</p:attrName>
                                        </p:attrNameLst>
                                      </p:cBhvr>
                                      <p:rCtr x="-2409" y="4028"/>
                                    </p:animMotion>
                                  </p:childTnLst>
                                </p:cTn>
                              </p:par>
                              <p:par>
                                <p:cTn id="42" presetID="10" presetClass="entr" presetSubtype="0" fill="hold" grpId="0" nodeType="withEffect">
                                  <p:stCondLst>
                                    <p:cond delay="200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1500"/>
                                        <p:tgtEl>
                                          <p:spTgt spid="24"/>
                                        </p:tgtEl>
                                      </p:cBhvr>
                                    </p:animEffect>
                                  </p:childTnLst>
                                </p:cTn>
                              </p:par>
                              <p:par>
                                <p:cTn id="45" presetID="63" presetClass="path" presetSubtype="0" accel="50000" decel="50000" fill="hold" grpId="1" nodeType="withEffect">
                                  <p:stCondLst>
                                    <p:cond delay="2000"/>
                                  </p:stCondLst>
                                  <p:childTnLst>
                                    <p:animMotion origin="layout" path="M -0.05872 0.09167 L -3.95833E-6 -3.33333E-6 " pathEditMode="relative" rAng="0" ptsTypes="AA">
                                      <p:cBhvr>
                                        <p:cTn id="46" dur="1500" fill="hold"/>
                                        <p:tgtEl>
                                          <p:spTgt spid="24"/>
                                        </p:tgtEl>
                                        <p:attrNameLst>
                                          <p:attrName>ppt_x</p:attrName>
                                          <p:attrName>ppt_y</p:attrName>
                                        </p:attrNameLst>
                                      </p:cBhvr>
                                      <p:rCtr x="2930" y="-4583"/>
                                    </p:animMotion>
                                  </p:childTnLst>
                                </p:cTn>
                              </p:par>
                              <p:par>
                                <p:cTn id="47" presetID="10" presetClass="entr" presetSubtype="0" fill="hold" grpId="0" nodeType="withEffect">
                                  <p:stCondLst>
                                    <p:cond delay="2000"/>
                                  </p:stCondLst>
                                  <p:childTnLst>
                                    <p:set>
                                      <p:cBhvr>
                                        <p:cTn id="48" dur="1" fill="hold">
                                          <p:stCondLst>
                                            <p:cond delay="0"/>
                                          </p:stCondLst>
                                        </p:cTn>
                                        <p:tgtEl>
                                          <p:spTgt spid="27"/>
                                        </p:tgtEl>
                                        <p:attrNameLst>
                                          <p:attrName>style.visibility</p:attrName>
                                        </p:attrNameLst>
                                      </p:cBhvr>
                                      <p:to>
                                        <p:strVal val="visible"/>
                                      </p:to>
                                    </p:set>
                                    <p:animEffect transition="in" filter="fade">
                                      <p:cBhvr>
                                        <p:cTn id="49" dur="1500"/>
                                        <p:tgtEl>
                                          <p:spTgt spid="27"/>
                                        </p:tgtEl>
                                      </p:cBhvr>
                                    </p:animEffect>
                                  </p:childTnLst>
                                </p:cTn>
                              </p:par>
                              <p:par>
                                <p:cTn id="50" presetID="63" presetClass="path" presetSubtype="0" accel="50000" decel="50000" fill="hold" grpId="1" nodeType="withEffect">
                                  <p:stCondLst>
                                    <p:cond delay="2000"/>
                                  </p:stCondLst>
                                  <p:childTnLst>
                                    <p:animMotion origin="layout" path="M -0.07565 0 L 1.25E-6 0 " pathEditMode="relative" rAng="0" ptsTypes="AA">
                                      <p:cBhvr>
                                        <p:cTn id="51" dur="1500" fill="hold"/>
                                        <p:tgtEl>
                                          <p:spTgt spid="27"/>
                                        </p:tgtEl>
                                        <p:attrNameLst>
                                          <p:attrName>ppt_x</p:attrName>
                                          <p:attrName>ppt_y</p:attrName>
                                        </p:attrNameLst>
                                      </p:cBhvr>
                                      <p:rCtr x="3776" y="0"/>
                                    </p:animMotion>
                                  </p:childTnLst>
                                </p:cTn>
                              </p:par>
                              <p:par>
                                <p:cTn id="52" presetID="10" presetClass="entr" presetSubtype="0" fill="hold" grpId="0" nodeType="withEffect">
                                  <p:stCondLst>
                                    <p:cond delay="200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1500"/>
                                        <p:tgtEl>
                                          <p:spTgt spid="26"/>
                                        </p:tgtEl>
                                      </p:cBhvr>
                                    </p:animEffect>
                                  </p:childTnLst>
                                </p:cTn>
                              </p:par>
                              <p:par>
                                <p:cTn id="55" presetID="63" presetClass="path" presetSubtype="0" accel="50000" decel="50000" fill="hold" grpId="1" nodeType="withEffect">
                                  <p:stCondLst>
                                    <p:cond delay="2000"/>
                                  </p:stCondLst>
                                  <p:childTnLst>
                                    <p:animMotion origin="layout" path="M -0.05872 -0.08727 L -3.95833E-6 4.81481E-6 " pathEditMode="relative" rAng="0" ptsTypes="AA">
                                      <p:cBhvr>
                                        <p:cTn id="56" dur="1500" fill="hold"/>
                                        <p:tgtEl>
                                          <p:spTgt spid="26"/>
                                        </p:tgtEl>
                                        <p:attrNameLst>
                                          <p:attrName>ppt_x</p:attrName>
                                          <p:attrName>ppt_y</p:attrName>
                                        </p:attrNameLst>
                                      </p:cBhvr>
                                      <p:rCtr x="2930" y="4352"/>
                                    </p:animMotion>
                                  </p:childTnLst>
                                </p:cTn>
                              </p:par>
                              <p:par>
                                <p:cTn id="57" presetID="16" presetClass="entr" presetSubtype="42" fill="hold" grpId="0" nodeType="withEffect">
                                  <p:stCondLst>
                                    <p:cond delay="2000"/>
                                  </p:stCondLst>
                                  <p:childTnLst>
                                    <p:set>
                                      <p:cBhvr>
                                        <p:cTn id="58" dur="1" fill="hold">
                                          <p:stCondLst>
                                            <p:cond delay="0"/>
                                          </p:stCondLst>
                                        </p:cTn>
                                        <p:tgtEl>
                                          <p:spTgt spid="30"/>
                                        </p:tgtEl>
                                        <p:attrNameLst>
                                          <p:attrName>style.visibility</p:attrName>
                                        </p:attrNameLst>
                                      </p:cBhvr>
                                      <p:to>
                                        <p:strVal val="visible"/>
                                      </p:to>
                                    </p:set>
                                    <p:animEffect transition="in" filter="barn(outHorizontal)">
                                      <p:cBhvr>
                                        <p:cTn id="59" dur="1500"/>
                                        <p:tgtEl>
                                          <p:spTgt spid="30"/>
                                        </p:tgtEl>
                                      </p:cBhvr>
                                    </p:animEffect>
                                  </p:childTnLst>
                                </p:cTn>
                              </p:par>
                              <p:par>
                                <p:cTn id="60" presetID="16" presetClass="entr" presetSubtype="42" fill="hold" grpId="0" nodeType="withEffect">
                                  <p:stCondLst>
                                    <p:cond delay="2000"/>
                                  </p:stCondLst>
                                  <p:childTnLst>
                                    <p:set>
                                      <p:cBhvr>
                                        <p:cTn id="61" dur="1" fill="hold">
                                          <p:stCondLst>
                                            <p:cond delay="0"/>
                                          </p:stCondLst>
                                        </p:cTn>
                                        <p:tgtEl>
                                          <p:spTgt spid="18"/>
                                        </p:tgtEl>
                                        <p:attrNameLst>
                                          <p:attrName>style.visibility</p:attrName>
                                        </p:attrNameLst>
                                      </p:cBhvr>
                                      <p:to>
                                        <p:strVal val="visible"/>
                                      </p:to>
                                    </p:set>
                                    <p:animEffect transition="in" filter="barn(outHorizontal)">
                                      <p:cBhvr>
                                        <p:cTn id="62" dur="1500"/>
                                        <p:tgtEl>
                                          <p:spTgt spid="18"/>
                                        </p:tgtEl>
                                      </p:cBhvr>
                                    </p:animEffect>
                                  </p:childTnLst>
                                </p:cTn>
                              </p:par>
                              <p:par>
                                <p:cTn id="63" presetID="22" presetClass="entr" presetSubtype="2" fill="hold" nodeType="withEffect">
                                  <p:stCondLst>
                                    <p:cond delay="3250"/>
                                  </p:stCondLst>
                                  <p:childTnLst>
                                    <p:set>
                                      <p:cBhvr>
                                        <p:cTn id="64" dur="1" fill="hold">
                                          <p:stCondLst>
                                            <p:cond delay="0"/>
                                          </p:stCondLst>
                                        </p:cTn>
                                        <p:tgtEl>
                                          <p:spTgt spid="37"/>
                                        </p:tgtEl>
                                        <p:attrNameLst>
                                          <p:attrName>style.visibility</p:attrName>
                                        </p:attrNameLst>
                                      </p:cBhvr>
                                      <p:to>
                                        <p:strVal val="visible"/>
                                      </p:to>
                                    </p:set>
                                    <p:animEffect transition="in" filter="wipe(right)">
                                      <p:cBhvr>
                                        <p:cTn id="65" dur="1500"/>
                                        <p:tgtEl>
                                          <p:spTgt spid="37"/>
                                        </p:tgtEl>
                                      </p:cBhvr>
                                    </p:animEffect>
                                  </p:childTnLst>
                                </p:cTn>
                              </p:par>
                              <p:par>
                                <p:cTn id="66" presetID="22" presetClass="entr" presetSubtype="8" fill="hold" nodeType="withEffect">
                                  <p:stCondLst>
                                    <p:cond delay="3250"/>
                                  </p:stCondLst>
                                  <p:childTnLst>
                                    <p:set>
                                      <p:cBhvr>
                                        <p:cTn id="67" dur="1" fill="hold">
                                          <p:stCondLst>
                                            <p:cond delay="0"/>
                                          </p:stCondLst>
                                        </p:cTn>
                                        <p:tgtEl>
                                          <p:spTgt spid="50"/>
                                        </p:tgtEl>
                                        <p:attrNameLst>
                                          <p:attrName>style.visibility</p:attrName>
                                        </p:attrNameLst>
                                      </p:cBhvr>
                                      <p:to>
                                        <p:strVal val="visible"/>
                                      </p:to>
                                    </p:set>
                                    <p:animEffect transition="in" filter="wipe(left)">
                                      <p:cBhvr>
                                        <p:cTn id="68" dur="1500"/>
                                        <p:tgtEl>
                                          <p:spTgt spid="50"/>
                                        </p:tgtEl>
                                      </p:cBhvr>
                                    </p:animEffect>
                                  </p:childTnLst>
                                </p:cTn>
                              </p:par>
                              <p:par>
                                <p:cTn id="69" presetID="22" presetClass="entr" presetSubtype="8" fill="hold" nodeType="withEffect">
                                  <p:stCondLst>
                                    <p:cond delay="3250"/>
                                  </p:stCondLst>
                                  <p:childTnLst>
                                    <p:set>
                                      <p:cBhvr>
                                        <p:cTn id="70" dur="1" fill="hold">
                                          <p:stCondLst>
                                            <p:cond delay="0"/>
                                          </p:stCondLst>
                                        </p:cTn>
                                        <p:tgtEl>
                                          <p:spTgt spid="53"/>
                                        </p:tgtEl>
                                        <p:attrNameLst>
                                          <p:attrName>style.visibility</p:attrName>
                                        </p:attrNameLst>
                                      </p:cBhvr>
                                      <p:to>
                                        <p:strVal val="visible"/>
                                      </p:to>
                                    </p:set>
                                    <p:animEffect transition="in" filter="wipe(left)">
                                      <p:cBhvr>
                                        <p:cTn id="71" dur="1500"/>
                                        <p:tgtEl>
                                          <p:spTgt spid="53"/>
                                        </p:tgtEl>
                                      </p:cBhvr>
                                    </p:animEffect>
                                  </p:childTnLst>
                                </p:cTn>
                              </p:par>
                              <p:par>
                                <p:cTn id="72" presetID="22" presetClass="entr" presetSubtype="8" fill="hold" nodeType="withEffect">
                                  <p:stCondLst>
                                    <p:cond delay="3250"/>
                                  </p:stCondLst>
                                  <p:childTnLst>
                                    <p:set>
                                      <p:cBhvr>
                                        <p:cTn id="73" dur="1" fill="hold">
                                          <p:stCondLst>
                                            <p:cond delay="0"/>
                                          </p:stCondLst>
                                        </p:cTn>
                                        <p:tgtEl>
                                          <p:spTgt spid="56"/>
                                        </p:tgtEl>
                                        <p:attrNameLst>
                                          <p:attrName>style.visibility</p:attrName>
                                        </p:attrNameLst>
                                      </p:cBhvr>
                                      <p:to>
                                        <p:strVal val="visible"/>
                                      </p:to>
                                    </p:set>
                                    <p:animEffect transition="in" filter="wipe(left)">
                                      <p:cBhvr>
                                        <p:cTn id="74" dur="1500"/>
                                        <p:tgtEl>
                                          <p:spTgt spid="56"/>
                                        </p:tgtEl>
                                      </p:cBhvr>
                                    </p:animEffect>
                                  </p:childTnLst>
                                </p:cTn>
                              </p:par>
                              <p:par>
                                <p:cTn id="75" presetID="22" presetClass="entr" presetSubtype="2" fill="hold" nodeType="withEffect">
                                  <p:stCondLst>
                                    <p:cond delay="3250"/>
                                  </p:stCondLst>
                                  <p:childTnLst>
                                    <p:set>
                                      <p:cBhvr>
                                        <p:cTn id="76" dur="1" fill="hold">
                                          <p:stCondLst>
                                            <p:cond delay="0"/>
                                          </p:stCondLst>
                                        </p:cTn>
                                        <p:tgtEl>
                                          <p:spTgt spid="47"/>
                                        </p:tgtEl>
                                        <p:attrNameLst>
                                          <p:attrName>style.visibility</p:attrName>
                                        </p:attrNameLst>
                                      </p:cBhvr>
                                      <p:to>
                                        <p:strVal val="visible"/>
                                      </p:to>
                                    </p:set>
                                    <p:animEffect transition="in" filter="wipe(right)">
                                      <p:cBhvr>
                                        <p:cTn id="77" dur="1500"/>
                                        <p:tgtEl>
                                          <p:spTgt spid="47"/>
                                        </p:tgtEl>
                                      </p:cBhvr>
                                    </p:animEffect>
                                  </p:childTnLst>
                                </p:cTn>
                              </p:par>
                              <p:par>
                                <p:cTn id="78" presetID="22" presetClass="entr" presetSubtype="2" fill="hold" nodeType="withEffect">
                                  <p:stCondLst>
                                    <p:cond delay="3250"/>
                                  </p:stCondLst>
                                  <p:childTnLst>
                                    <p:set>
                                      <p:cBhvr>
                                        <p:cTn id="79" dur="1" fill="hold">
                                          <p:stCondLst>
                                            <p:cond delay="0"/>
                                          </p:stCondLst>
                                        </p:cTn>
                                        <p:tgtEl>
                                          <p:spTgt spid="41"/>
                                        </p:tgtEl>
                                        <p:attrNameLst>
                                          <p:attrName>style.visibility</p:attrName>
                                        </p:attrNameLst>
                                      </p:cBhvr>
                                      <p:to>
                                        <p:strVal val="visible"/>
                                      </p:to>
                                    </p:set>
                                    <p:animEffect transition="in" filter="wipe(right)">
                                      <p:cBhvr>
                                        <p:cTn id="80" dur="1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1" grpId="1" animBg="1"/>
      <p:bldP spid="32" grpId="0" animBg="1"/>
      <p:bldP spid="32" grpId="1" animBg="1"/>
      <p:bldP spid="33" grpId="0" animBg="1"/>
      <p:bldP spid="33" grpId="1" animBg="1"/>
      <p:bldP spid="45" grpId="0" animBg="1"/>
      <p:bldP spid="45" grpId="1" animBg="1"/>
      <p:bldP spid="44" grpId="0" animBg="1"/>
      <p:bldP spid="44" grpId="1" animBg="1"/>
      <p:bldP spid="10" grpId="0" animBg="1"/>
      <p:bldP spid="18" grpId="0" animBg="1"/>
      <p:bldP spid="24" grpId="0" animBg="1"/>
      <p:bldP spid="24" grpId="1" animBg="1"/>
      <p:bldP spid="26" grpId="0" animBg="1"/>
      <p:bldP spid="26" grpId="1" animBg="1"/>
      <p:bldP spid="27" grpId="0" animBg="1"/>
      <p:bldP spid="27" grpId="1" animBg="1"/>
      <p:bldP spid="28" grpId="0"/>
      <p:bldP spid="35" grpId="0"/>
      <p:bldP spid="36"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45DA8FC5-B8BC-4FEA-BDEA-0A4E343E910E}"/>
              </a:ext>
            </a:extLst>
          </p:cNvPr>
          <p:cNvGrpSpPr/>
          <p:nvPr/>
        </p:nvGrpSpPr>
        <p:grpSpPr>
          <a:xfrm>
            <a:off x="2351314" y="745192"/>
            <a:ext cx="7280729" cy="5367616"/>
            <a:chOff x="2351314" y="573460"/>
            <a:chExt cx="7280729" cy="5367616"/>
          </a:xfrm>
        </p:grpSpPr>
        <p:grpSp>
          <p:nvGrpSpPr>
            <p:cNvPr id="21" name="Group 20">
              <a:extLst>
                <a:ext uri="{FF2B5EF4-FFF2-40B4-BE49-F238E27FC236}">
                  <a16:creationId xmlns:a16="http://schemas.microsoft.com/office/drawing/2014/main" id="{F125E1B0-4F8F-44B7-906F-616D25E4BC39}"/>
                </a:ext>
              </a:extLst>
            </p:cNvPr>
            <p:cNvGrpSpPr/>
            <p:nvPr/>
          </p:nvGrpSpPr>
          <p:grpSpPr>
            <a:xfrm>
              <a:off x="2351314" y="1424924"/>
              <a:ext cx="7280729" cy="4516152"/>
              <a:chOff x="2351314" y="1170924"/>
              <a:chExt cx="7280729" cy="4516152"/>
            </a:xfrm>
          </p:grpSpPr>
          <p:grpSp>
            <p:nvGrpSpPr>
              <p:cNvPr id="6" name="Group 5">
                <a:extLst>
                  <a:ext uri="{FF2B5EF4-FFF2-40B4-BE49-F238E27FC236}">
                    <a16:creationId xmlns:a16="http://schemas.microsoft.com/office/drawing/2014/main" id="{40268966-57D1-4BD9-A33C-022CCD7E6AE0}"/>
                  </a:ext>
                </a:extLst>
              </p:cNvPr>
              <p:cNvGrpSpPr/>
              <p:nvPr/>
            </p:nvGrpSpPr>
            <p:grpSpPr>
              <a:xfrm>
                <a:off x="2351314" y="1170924"/>
                <a:ext cx="7280729" cy="4516152"/>
                <a:chOff x="2351314" y="1170924"/>
                <a:chExt cx="7280729" cy="4516152"/>
              </a:xfrm>
            </p:grpSpPr>
            <p:sp>
              <p:nvSpPr>
                <p:cNvPr id="15" name="Freeform: Shape 14">
                  <a:extLst>
                    <a:ext uri="{FF2B5EF4-FFF2-40B4-BE49-F238E27FC236}">
                      <a16:creationId xmlns:a16="http://schemas.microsoft.com/office/drawing/2014/main" id="{289FB530-9D13-4EF1-AEF0-1025A5AE007F}"/>
                    </a:ext>
                  </a:extLst>
                </p:cNvPr>
                <p:cNvSpPr/>
                <p:nvPr/>
              </p:nvSpPr>
              <p:spPr>
                <a:xfrm>
                  <a:off x="5356463" y="1915502"/>
                  <a:ext cx="1479074" cy="3026995"/>
                </a:xfrm>
                <a:custGeom>
                  <a:avLst/>
                  <a:gdLst>
                    <a:gd name="connsiteX0" fmla="*/ 739537 w 1479074"/>
                    <a:gd name="connsiteY0" fmla="*/ 0 h 3026995"/>
                    <a:gd name="connsiteX1" fmla="*/ 779354 w 1479074"/>
                    <a:gd name="connsiteY1" fmla="*/ 29774 h 3026995"/>
                    <a:gd name="connsiteX2" fmla="*/ 1479074 w 1479074"/>
                    <a:gd name="connsiteY2" fmla="*/ 1513497 h 3026995"/>
                    <a:gd name="connsiteX3" fmla="*/ 779354 w 1479074"/>
                    <a:gd name="connsiteY3" fmla="*/ 2997220 h 3026995"/>
                    <a:gd name="connsiteX4" fmla="*/ 739537 w 1479074"/>
                    <a:gd name="connsiteY4" fmla="*/ 3026995 h 3026995"/>
                    <a:gd name="connsiteX5" fmla="*/ 699720 w 1479074"/>
                    <a:gd name="connsiteY5" fmla="*/ 2997220 h 3026995"/>
                    <a:gd name="connsiteX6" fmla="*/ 0 w 1479074"/>
                    <a:gd name="connsiteY6" fmla="*/ 1513497 h 3026995"/>
                    <a:gd name="connsiteX7" fmla="*/ 699720 w 1479074"/>
                    <a:gd name="connsiteY7" fmla="*/ 29774 h 3026995"/>
                    <a:gd name="connsiteX8" fmla="*/ 739537 w 1479074"/>
                    <a:gd name="connsiteY8" fmla="*/ 0 h 302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79074" h="3026995">
                      <a:moveTo>
                        <a:pt x="739537" y="0"/>
                      </a:moveTo>
                      <a:lnTo>
                        <a:pt x="779354" y="29774"/>
                      </a:lnTo>
                      <a:cubicBezTo>
                        <a:pt x="1206691" y="382443"/>
                        <a:pt x="1479074" y="916161"/>
                        <a:pt x="1479074" y="1513497"/>
                      </a:cubicBezTo>
                      <a:cubicBezTo>
                        <a:pt x="1479074" y="2110833"/>
                        <a:pt x="1206691" y="2644551"/>
                        <a:pt x="779354" y="2997220"/>
                      </a:cubicBezTo>
                      <a:lnTo>
                        <a:pt x="739537" y="3026995"/>
                      </a:lnTo>
                      <a:lnTo>
                        <a:pt x="699720" y="2997220"/>
                      </a:lnTo>
                      <a:cubicBezTo>
                        <a:pt x="272384" y="2644551"/>
                        <a:pt x="0" y="2110833"/>
                        <a:pt x="0" y="1513497"/>
                      </a:cubicBezTo>
                      <a:cubicBezTo>
                        <a:pt x="0" y="916161"/>
                        <a:pt x="272384" y="382443"/>
                        <a:pt x="699720" y="29774"/>
                      </a:cubicBezTo>
                      <a:lnTo>
                        <a:pt x="739537" y="0"/>
                      </a:lnTo>
                      <a:close/>
                    </a:path>
                  </a:pathLst>
                </a:custGeom>
                <a:solidFill>
                  <a:srgbClr val="37B7D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dirty="0">
                      <a:latin typeface="Montserrat" panose="00000500000000000000" pitchFamily="50" charset="0"/>
                    </a:rPr>
                    <a:t>Your Startup</a:t>
                  </a:r>
                </a:p>
              </p:txBody>
            </p:sp>
            <p:sp>
              <p:nvSpPr>
                <p:cNvPr id="3" name="Oval 2">
                  <a:extLst>
                    <a:ext uri="{FF2B5EF4-FFF2-40B4-BE49-F238E27FC236}">
                      <a16:creationId xmlns:a16="http://schemas.microsoft.com/office/drawing/2014/main" id="{4097FA3E-B8AD-4192-9515-9EF74BF40EE6}"/>
                    </a:ext>
                  </a:extLst>
                </p:cNvPr>
                <p:cNvSpPr/>
                <p:nvPr/>
              </p:nvSpPr>
              <p:spPr>
                <a:xfrm>
                  <a:off x="5356463" y="1506203"/>
                  <a:ext cx="3845594" cy="3845594"/>
                </a:xfrm>
                <a:prstGeom prst="ellipse">
                  <a:avLst/>
                </a:prstGeom>
                <a:noFill/>
                <a:ln w="635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500" b="1">
                    <a:latin typeface="Montserrat" panose="00000500000000000000" pitchFamily="50" charset="0"/>
                  </a:endParaRPr>
                </a:p>
              </p:txBody>
            </p:sp>
            <p:sp>
              <p:nvSpPr>
                <p:cNvPr id="10" name="Oval 9">
                  <a:extLst>
                    <a:ext uri="{FF2B5EF4-FFF2-40B4-BE49-F238E27FC236}">
                      <a16:creationId xmlns:a16="http://schemas.microsoft.com/office/drawing/2014/main" id="{2ECF5825-D80E-417D-AA86-98CF5B329B38}"/>
                    </a:ext>
                  </a:extLst>
                </p:cNvPr>
                <p:cNvSpPr/>
                <p:nvPr/>
              </p:nvSpPr>
              <p:spPr>
                <a:xfrm>
                  <a:off x="2989943" y="1506203"/>
                  <a:ext cx="3845594" cy="3845594"/>
                </a:xfrm>
                <a:prstGeom prst="ellipse">
                  <a:avLst/>
                </a:prstGeom>
                <a:no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500" b="1">
                    <a:latin typeface="Montserrat" panose="00000500000000000000" pitchFamily="50" charset="0"/>
                  </a:endParaRPr>
                </a:p>
              </p:txBody>
            </p:sp>
            <p:sp>
              <p:nvSpPr>
                <p:cNvPr id="7" name="Oval 6">
                  <a:extLst>
                    <a:ext uri="{FF2B5EF4-FFF2-40B4-BE49-F238E27FC236}">
                      <a16:creationId xmlns:a16="http://schemas.microsoft.com/office/drawing/2014/main" id="{F2C1A16D-8A53-478F-BF99-5E817A206A9F}"/>
                    </a:ext>
                  </a:extLst>
                </p:cNvPr>
                <p:cNvSpPr/>
                <p:nvPr/>
              </p:nvSpPr>
              <p:spPr>
                <a:xfrm>
                  <a:off x="3276237" y="1170924"/>
                  <a:ext cx="1277258" cy="127725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dirty="0">
                      <a:latin typeface="Montserrat" panose="00000500000000000000" pitchFamily="50" charset="0"/>
                    </a:rPr>
                    <a:t>Competitor One</a:t>
                  </a:r>
                </a:p>
              </p:txBody>
            </p:sp>
            <p:sp>
              <p:nvSpPr>
                <p:cNvPr id="8" name="Oval 7">
                  <a:extLst>
                    <a:ext uri="{FF2B5EF4-FFF2-40B4-BE49-F238E27FC236}">
                      <a16:creationId xmlns:a16="http://schemas.microsoft.com/office/drawing/2014/main" id="{43CF336B-5E50-4116-83C3-68246594EC4D}"/>
                    </a:ext>
                  </a:extLst>
                </p:cNvPr>
                <p:cNvSpPr/>
                <p:nvPr/>
              </p:nvSpPr>
              <p:spPr>
                <a:xfrm>
                  <a:off x="3276237" y="4409820"/>
                  <a:ext cx="1277258" cy="127725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dirty="0">
                      <a:latin typeface="Montserrat" panose="00000500000000000000" pitchFamily="50" charset="0"/>
                    </a:rPr>
                    <a:t>Competitor Three</a:t>
                  </a:r>
                </a:p>
              </p:txBody>
            </p:sp>
            <p:sp>
              <p:nvSpPr>
                <p:cNvPr id="9" name="Oval 8">
                  <a:extLst>
                    <a:ext uri="{FF2B5EF4-FFF2-40B4-BE49-F238E27FC236}">
                      <a16:creationId xmlns:a16="http://schemas.microsoft.com/office/drawing/2014/main" id="{89922A55-91C3-44AB-B0EC-D88900648A22}"/>
                    </a:ext>
                  </a:extLst>
                </p:cNvPr>
                <p:cNvSpPr/>
                <p:nvPr/>
              </p:nvSpPr>
              <p:spPr>
                <a:xfrm>
                  <a:off x="2351314" y="2790372"/>
                  <a:ext cx="1277258" cy="127725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dirty="0">
                      <a:latin typeface="Montserrat" panose="00000500000000000000" pitchFamily="50" charset="0"/>
                    </a:rPr>
                    <a:t>Competitor Two</a:t>
                  </a:r>
                </a:p>
              </p:txBody>
            </p:sp>
            <p:sp>
              <p:nvSpPr>
                <p:cNvPr id="18" name="Oval 17">
                  <a:extLst>
                    <a:ext uri="{FF2B5EF4-FFF2-40B4-BE49-F238E27FC236}">
                      <a16:creationId xmlns:a16="http://schemas.microsoft.com/office/drawing/2014/main" id="{C4B0F687-8F5A-41F8-AE68-0B842F53F58E}"/>
                    </a:ext>
                  </a:extLst>
                </p:cNvPr>
                <p:cNvSpPr/>
                <p:nvPr/>
              </p:nvSpPr>
              <p:spPr>
                <a:xfrm>
                  <a:off x="8354785" y="1980648"/>
                  <a:ext cx="1277258" cy="1277256"/>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dirty="0">
                      <a:latin typeface="Montserrat" panose="00000500000000000000" pitchFamily="50" charset="0"/>
                    </a:rPr>
                    <a:t>Competitor Four</a:t>
                  </a:r>
                </a:p>
              </p:txBody>
            </p:sp>
            <p:sp>
              <p:nvSpPr>
                <p:cNvPr id="19" name="Oval 18">
                  <a:extLst>
                    <a:ext uri="{FF2B5EF4-FFF2-40B4-BE49-F238E27FC236}">
                      <a16:creationId xmlns:a16="http://schemas.microsoft.com/office/drawing/2014/main" id="{2FD0041B-0A56-4B2E-8E94-1A99FD97C4C9}"/>
                    </a:ext>
                  </a:extLst>
                </p:cNvPr>
                <p:cNvSpPr/>
                <p:nvPr/>
              </p:nvSpPr>
              <p:spPr>
                <a:xfrm>
                  <a:off x="8354785" y="3600096"/>
                  <a:ext cx="1277258" cy="1277256"/>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1100" b="1" dirty="0">
                      <a:latin typeface="Montserrat" panose="00000500000000000000" pitchFamily="50" charset="0"/>
                    </a:rPr>
                    <a:t>Competitor Five</a:t>
                  </a:r>
                </a:p>
              </p:txBody>
            </p:sp>
          </p:grpSp>
          <p:sp>
            <p:nvSpPr>
              <p:cNvPr id="20" name="TextBox 19">
                <a:extLst>
                  <a:ext uri="{FF2B5EF4-FFF2-40B4-BE49-F238E27FC236}">
                    <a16:creationId xmlns:a16="http://schemas.microsoft.com/office/drawing/2014/main" id="{FFAADEE0-ACC6-44C8-84E4-6EFDF5F03987}"/>
                  </a:ext>
                </a:extLst>
              </p:cNvPr>
              <p:cNvSpPr txBox="1"/>
              <p:nvPr/>
            </p:nvSpPr>
            <p:spPr>
              <a:xfrm>
                <a:off x="7031542" y="3167389"/>
                <a:ext cx="1433008" cy="523220"/>
              </a:xfrm>
              <a:prstGeom prst="rect">
                <a:avLst/>
              </a:prstGeom>
              <a:noFill/>
            </p:spPr>
            <p:txBody>
              <a:bodyPr wrap="square" rtlCol="0">
                <a:spAutoFit/>
              </a:bodyPr>
              <a:lstStyle/>
              <a:p>
                <a:pPr algn="ctr"/>
                <a:r>
                  <a:rPr lang="en-US" sz="1400" b="1" dirty="0">
                    <a:solidFill>
                      <a:schemeClr val="accent1">
                        <a:lumMod val="60000"/>
                        <a:lumOff val="40000"/>
                      </a:schemeClr>
                    </a:solidFill>
                    <a:latin typeface="Montserrat" panose="00000500000000000000" pitchFamily="50" charset="0"/>
                  </a:rPr>
                  <a:t>Yield Farming</a:t>
                </a:r>
              </a:p>
            </p:txBody>
          </p:sp>
          <p:sp>
            <p:nvSpPr>
              <p:cNvPr id="22" name="TextBox 21">
                <a:extLst>
                  <a:ext uri="{FF2B5EF4-FFF2-40B4-BE49-F238E27FC236}">
                    <a16:creationId xmlns:a16="http://schemas.microsoft.com/office/drawing/2014/main" id="{6F645FF3-3942-4C62-ADB5-597C15A8FEA6}"/>
                  </a:ext>
                </a:extLst>
              </p:cNvPr>
              <p:cNvSpPr txBox="1"/>
              <p:nvPr/>
            </p:nvSpPr>
            <p:spPr>
              <a:xfrm>
                <a:off x="3756675" y="3167389"/>
                <a:ext cx="1433008" cy="523220"/>
              </a:xfrm>
              <a:prstGeom prst="rect">
                <a:avLst/>
              </a:prstGeom>
              <a:noFill/>
            </p:spPr>
            <p:txBody>
              <a:bodyPr wrap="square" rtlCol="0">
                <a:spAutoFit/>
              </a:bodyPr>
              <a:lstStyle/>
              <a:p>
                <a:pPr algn="ctr"/>
                <a:r>
                  <a:rPr lang="en-US" sz="1400" b="1" dirty="0">
                    <a:solidFill>
                      <a:schemeClr val="accent4"/>
                    </a:solidFill>
                    <a:latin typeface="Montserrat" panose="00000500000000000000" pitchFamily="50" charset="0"/>
                  </a:rPr>
                  <a:t>Portfolio Construction</a:t>
                </a:r>
              </a:p>
            </p:txBody>
          </p:sp>
        </p:grpSp>
        <p:sp>
          <p:nvSpPr>
            <p:cNvPr id="24" name="TextBox 23">
              <a:extLst>
                <a:ext uri="{FF2B5EF4-FFF2-40B4-BE49-F238E27FC236}">
                  <a16:creationId xmlns:a16="http://schemas.microsoft.com/office/drawing/2014/main" id="{D9730996-0B93-4A07-8201-53BF356C4D8E}"/>
                </a:ext>
              </a:extLst>
            </p:cNvPr>
            <p:cNvSpPr txBox="1"/>
            <p:nvPr/>
          </p:nvSpPr>
          <p:spPr>
            <a:xfrm>
              <a:off x="2918691" y="573460"/>
              <a:ext cx="6354618" cy="553998"/>
            </a:xfrm>
            <a:prstGeom prst="rect">
              <a:avLst/>
            </a:prstGeom>
            <a:noFill/>
          </p:spPr>
          <p:txBody>
            <a:bodyPr wrap="square" rtlCol="0">
              <a:spAutoFit/>
            </a:bodyPr>
            <a:lstStyle>
              <a:defPPr>
                <a:defRPr lang="en-US"/>
              </a:defPPr>
              <a:lvl1pPr>
                <a:defRPr sz="3000" b="1">
                  <a:solidFill>
                    <a:schemeClr val="tx2">
                      <a:lumMod val="40000"/>
                      <a:lumOff val="60000"/>
                    </a:schemeClr>
                  </a:solidFill>
                  <a:latin typeface="Montserrat" panose="00000500000000000000" pitchFamily="50" charset="0"/>
                </a:defRPr>
              </a:lvl1pPr>
            </a:lstStyle>
            <a:p>
              <a:pPr algn="ctr"/>
              <a:r>
                <a:rPr lang="en-US" dirty="0"/>
                <a:t>COMPETITIVE LANDSCAPE</a:t>
              </a:r>
            </a:p>
          </p:txBody>
        </p:sp>
      </p:grpSp>
    </p:spTree>
    <p:extLst>
      <p:ext uri="{BB962C8B-B14F-4D97-AF65-F5344CB8AC3E}">
        <p14:creationId xmlns:p14="http://schemas.microsoft.com/office/powerpoint/2010/main" val="12048823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4FE5913A-115F-4DBB-9F87-4A68A5665C76}"/>
              </a:ext>
            </a:extLst>
          </p:cNvPr>
          <p:cNvGrpSpPr/>
          <p:nvPr/>
        </p:nvGrpSpPr>
        <p:grpSpPr>
          <a:xfrm>
            <a:off x="5325890" y="622300"/>
            <a:ext cx="5613400" cy="5613400"/>
            <a:chOff x="5325890" y="622300"/>
            <a:chExt cx="5613400" cy="5613400"/>
          </a:xfrm>
        </p:grpSpPr>
        <p:sp>
          <p:nvSpPr>
            <p:cNvPr id="2" name="Oval 1">
              <a:extLst>
                <a:ext uri="{FF2B5EF4-FFF2-40B4-BE49-F238E27FC236}">
                  <a16:creationId xmlns:a16="http://schemas.microsoft.com/office/drawing/2014/main" id="{4FB5B905-B40C-42B8-A71F-9DA580192293}"/>
                </a:ext>
              </a:extLst>
            </p:cNvPr>
            <p:cNvSpPr/>
            <p:nvPr/>
          </p:nvSpPr>
          <p:spPr>
            <a:xfrm>
              <a:off x="5325890" y="622300"/>
              <a:ext cx="5613400" cy="5613400"/>
            </a:xfrm>
            <a:prstGeom prst="ellipse">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Rectangle 21">
              <a:extLst>
                <a:ext uri="{FF2B5EF4-FFF2-40B4-BE49-F238E27FC236}">
                  <a16:creationId xmlns:a16="http://schemas.microsoft.com/office/drawing/2014/main" id="{4BFBF957-C5EC-4A47-B42A-6E9BCFDC13E7}"/>
                </a:ext>
              </a:extLst>
            </p:cNvPr>
            <p:cNvSpPr/>
            <p:nvPr/>
          </p:nvSpPr>
          <p:spPr>
            <a:xfrm>
              <a:off x="8400182" y="1153843"/>
              <a:ext cx="1217487" cy="655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ts val="1500"/>
                </a:lnSpc>
              </a:pPr>
              <a:r>
                <a:rPr lang="en-US" sz="1100" b="1" dirty="0">
                  <a:solidFill>
                    <a:schemeClr val="bg1"/>
                  </a:solidFill>
                  <a:latin typeface="Montserrat" panose="00000500000000000000" pitchFamily="50" charset="0"/>
                </a:rPr>
                <a:t>Registered Customers</a:t>
              </a:r>
            </a:p>
          </p:txBody>
        </p:sp>
      </p:grpSp>
      <p:grpSp>
        <p:nvGrpSpPr>
          <p:cNvPr id="11" name="Group 10">
            <a:extLst>
              <a:ext uri="{FF2B5EF4-FFF2-40B4-BE49-F238E27FC236}">
                <a16:creationId xmlns:a16="http://schemas.microsoft.com/office/drawing/2014/main" id="{86627E8A-44A6-4F40-A42B-7C79FBA1CB06}"/>
              </a:ext>
            </a:extLst>
          </p:cNvPr>
          <p:cNvGrpSpPr/>
          <p:nvPr/>
        </p:nvGrpSpPr>
        <p:grpSpPr>
          <a:xfrm>
            <a:off x="6863697" y="2019437"/>
            <a:ext cx="3722147" cy="3722147"/>
            <a:chOff x="6863697" y="2019437"/>
            <a:chExt cx="3722147" cy="3722147"/>
          </a:xfrm>
        </p:grpSpPr>
        <p:sp>
          <p:nvSpPr>
            <p:cNvPr id="4" name="Oval 3">
              <a:extLst>
                <a:ext uri="{FF2B5EF4-FFF2-40B4-BE49-F238E27FC236}">
                  <a16:creationId xmlns:a16="http://schemas.microsoft.com/office/drawing/2014/main" id="{3EB729C2-30F6-48DE-BC4B-00697E19A1C6}"/>
                </a:ext>
              </a:extLst>
            </p:cNvPr>
            <p:cNvSpPr/>
            <p:nvPr/>
          </p:nvSpPr>
          <p:spPr>
            <a:xfrm>
              <a:off x="6863697" y="2019437"/>
              <a:ext cx="3722147" cy="3722147"/>
            </a:xfrm>
            <a:prstGeom prst="ellipse">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4" name="Rectangle 23">
              <a:extLst>
                <a:ext uri="{FF2B5EF4-FFF2-40B4-BE49-F238E27FC236}">
                  <a16:creationId xmlns:a16="http://schemas.microsoft.com/office/drawing/2014/main" id="{C52EB9D5-04E2-485D-9E22-B2E76EE13CFA}"/>
                </a:ext>
              </a:extLst>
            </p:cNvPr>
            <p:cNvSpPr/>
            <p:nvPr/>
          </p:nvSpPr>
          <p:spPr>
            <a:xfrm>
              <a:off x="8273152" y="2460916"/>
              <a:ext cx="1217487" cy="6553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ts val="1500"/>
                </a:lnSpc>
              </a:pPr>
              <a:r>
                <a:rPr lang="en-US" sz="1100" b="1" dirty="0">
                  <a:solidFill>
                    <a:schemeClr val="bg1"/>
                  </a:solidFill>
                  <a:latin typeface="Montserrat" panose="00000500000000000000" pitchFamily="50" charset="0"/>
                </a:rPr>
                <a:t>Active Customers</a:t>
              </a:r>
            </a:p>
          </p:txBody>
        </p:sp>
      </p:grpSp>
      <p:sp>
        <p:nvSpPr>
          <p:cNvPr id="5" name="Oval 4">
            <a:extLst>
              <a:ext uri="{FF2B5EF4-FFF2-40B4-BE49-F238E27FC236}">
                <a16:creationId xmlns:a16="http://schemas.microsoft.com/office/drawing/2014/main" id="{9D51BA0C-15EA-40DA-BA2C-07C4B9E4FD04}"/>
              </a:ext>
            </a:extLst>
          </p:cNvPr>
          <p:cNvSpPr/>
          <p:nvPr/>
        </p:nvSpPr>
        <p:spPr>
          <a:xfrm>
            <a:off x="8176507" y="3322908"/>
            <a:ext cx="2018198" cy="2018198"/>
          </a:xfrm>
          <a:prstGeom prst="ellipse">
            <a:avLst/>
          </a:prstGeom>
          <a:solidFill>
            <a:schemeClr val="accent3">
              <a:lumMod val="60000"/>
              <a:lumOff val="4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500" b="1" dirty="0">
                <a:latin typeface="Montserrat" panose="00000500000000000000" pitchFamily="50" charset="0"/>
              </a:rPr>
              <a:t>Loyal Customers</a:t>
            </a:r>
          </a:p>
        </p:txBody>
      </p:sp>
      <p:sp>
        <p:nvSpPr>
          <p:cNvPr id="6" name="Oval 5">
            <a:extLst>
              <a:ext uri="{FF2B5EF4-FFF2-40B4-BE49-F238E27FC236}">
                <a16:creationId xmlns:a16="http://schemas.microsoft.com/office/drawing/2014/main" id="{A38CC635-3F9D-4BE6-A9B2-E893D1F76CD7}"/>
              </a:ext>
            </a:extLst>
          </p:cNvPr>
          <p:cNvSpPr/>
          <p:nvPr/>
        </p:nvSpPr>
        <p:spPr>
          <a:xfrm>
            <a:off x="6158309" y="1116416"/>
            <a:ext cx="2018198" cy="2018198"/>
          </a:xfrm>
          <a:prstGeom prst="ellipse">
            <a:avLst/>
          </a:prstGeom>
          <a:solidFill>
            <a:schemeClr val="accent4">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latin typeface="Montserrat" panose="00000500000000000000" pitchFamily="50" charset="0"/>
              </a:rPr>
              <a:t>New Customers</a:t>
            </a:r>
          </a:p>
        </p:txBody>
      </p:sp>
      <p:sp>
        <p:nvSpPr>
          <p:cNvPr id="7" name="Oval 6">
            <a:extLst>
              <a:ext uri="{FF2B5EF4-FFF2-40B4-BE49-F238E27FC236}">
                <a16:creationId xmlns:a16="http://schemas.microsoft.com/office/drawing/2014/main" id="{023BD48B-0D9A-4233-B21C-04778E842358}"/>
              </a:ext>
            </a:extLst>
          </p:cNvPr>
          <p:cNvSpPr/>
          <p:nvPr/>
        </p:nvSpPr>
        <p:spPr>
          <a:xfrm>
            <a:off x="7167408" y="3397206"/>
            <a:ext cx="1429427" cy="1429427"/>
          </a:xfrm>
          <a:prstGeom prst="ellipse">
            <a:avLst/>
          </a:prstGeom>
          <a:solidFill>
            <a:schemeClr val="accent3">
              <a:lumMod val="20000"/>
              <a:lumOff val="8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bg1"/>
                </a:solidFill>
                <a:latin typeface="Montserrat" panose="00000500000000000000" pitchFamily="50" charset="0"/>
              </a:rPr>
              <a:t>Repeat Buyers</a:t>
            </a:r>
          </a:p>
        </p:txBody>
      </p:sp>
      <p:sp>
        <p:nvSpPr>
          <p:cNvPr id="8" name="Oval 7">
            <a:extLst>
              <a:ext uri="{FF2B5EF4-FFF2-40B4-BE49-F238E27FC236}">
                <a16:creationId xmlns:a16="http://schemas.microsoft.com/office/drawing/2014/main" id="{18946452-BE85-4C78-AB6C-AB7E7FFDE678}"/>
              </a:ext>
            </a:extLst>
          </p:cNvPr>
          <p:cNvSpPr/>
          <p:nvPr/>
        </p:nvSpPr>
        <p:spPr>
          <a:xfrm>
            <a:off x="5586448" y="3275447"/>
            <a:ext cx="1076410" cy="1076410"/>
          </a:xfrm>
          <a:prstGeom prst="ellipse">
            <a:avLst/>
          </a:prstGeom>
          <a:solidFill>
            <a:schemeClr val="tx2">
              <a:lumMod val="60000"/>
              <a:lumOff val="4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ts val="1500"/>
              </a:lnSpc>
            </a:pPr>
            <a:r>
              <a:rPr lang="en-US" sz="1100" b="1" dirty="0">
                <a:solidFill>
                  <a:schemeClr val="bg1"/>
                </a:solidFill>
                <a:latin typeface="Montserrat" panose="00000500000000000000" pitchFamily="50" charset="0"/>
              </a:rPr>
              <a:t>Inactive Users</a:t>
            </a:r>
          </a:p>
        </p:txBody>
      </p:sp>
      <p:sp>
        <p:nvSpPr>
          <p:cNvPr id="25" name="TextBox 24">
            <a:extLst>
              <a:ext uri="{FF2B5EF4-FFF2-40B4-BE49-F238E27FC236}">
                <a16:creationId xmlns:a16="http://schemas.microsoft.com/office/drawing/2014/main" id="{39880FAD-C150-4521-B141-1D41B6D6912B}"/>
              </a:ext>
            </a:extLst>
          </p:cNvPr>
          <p:cNvSpPr txBox="1"/>
          <p:nvPr/>
        </p:nvSpPr>
        <p:spPr>
          <a:xfrm>
            <a:off x="1252709" y="2921168"/>
            <a:ext cx="2977975" cy="1015663"/>
          </a:xfrm>
          <a:prstGeom prst="rect">
            <a:avLst/>
          </a:prstGeom>
          <a:noFill/>
        </p:spPr>
        <p:txBody>
          <a:bodyPr wrap="square" rtlCol="0">
            <a:spAutoFit/>
          </a:bodyPr>
          <a:lstStyle>
            <a:defPPr>
              <a:defRPr lang="en-US"/>
            </a:defPPr>
            <a:lvl1pPr>
              <a:defRPr sz="3000" b="1">
                <a:solidFill>
                  <a:schemeClr val="tx2">
                    <a:lumMod val="40000"/>
                    <a:lumOff val="60000"/>
                  </a:schemeClr>
                </a:solidFill>
                <a:latin typeface="Montserrat" panose="00000500000000000000" pitchFamily="50" charset="0"/>
              </a:defRPr>
            </a:lvl1pPr>
          </a:lstStyle>
          <a:p>
            <a:r>
              <a:rPr lang="en-US" dirty="0"/>
              <a:t>USER BREAKDOWN</a:t>
            </a:r>
          </a:p>
        </p:txBody>
      </p:sp>
    </p:spTree>
    <p:extLst>
      <p:ext uri="{BB962C8B-B14F-4D97-AF65-F5344CB8AC3E}">
        <p14:creationId xmlns:p14="http://schemas.microsoft.com/office/powerpoint/2010/main" val="1187848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edge">
                                      <p:cBhvr>
                                        <p:cTn id="7" dur="2000"/>
                                        <p:tgtEl>
                                          <p:spTgt spid="10"/>
                                        </p:tgtEl>
                                      </p:cBhvr>
                                    </p:animEffect>
                                  </p:childTnLst>
                                </p:cTn>
                              </p:par>
                              <p:par>
                                <p:cTn id="8" presetID="10" presetClass="entr" presetSubtype="0" fill="hold" grpId="0" nodeType="withEffect">
                                  <p:stCondLst>
                                    <p:cond delay="20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2000"/>
                                        <p:tgtEl>
                                          <p:spTgt spid="6"/>
                                        </p:tgtEl>
                                      </p:cBhvr>
                                    </p:animEffect>
                                  </p:childTnLst>
                                </p:cTn>
                              </p:par>
                              <p:par>
                                <p:cTn id="11" presetID="42" presetClass="path" presetSubtype="0" accel="50000" decel="50000" fill="hold" grpId="1" nodeType="withEffect">
                                  <p:stCondLst>
                                    <p:cond delay="2000"/>
                                  </p:stCondLst>
                                  <p:childTnLst>
                                    <p:animMotion origin="layout" path="M -0.24427 -0.47291 L -6.25E-7 -3.7037E-6 " pathEditMode="relative" rAng="0" ptsTypes="AA">
                                      <p:cBhvr>
                                        <p:cTn id="12" dur="2000" fill="hold"/>
                                        <p:tgtEl>
                                          <p:spTgt spid="6"/>
                                        </p:tgtEl>
                                        <p:attrNameLst>
                                          <p:attrName>ppt_x</p:attrName>
                                          <p:attrName>ppt_y</p:attrName>
                                        </p:attrNameLst>
                                      </p:cBhvr>
                                      <p:rCtr x="12214" y="23634"/>
                                    </p:animMotion>
                                  </p:childTnLst>
                                </p:cTn>
                              </p:par>
                              <p:par>
                                <p:cTn id="13" presetID="10" presetClass="entr" presetSubtype="0" fill="hold" grpId="0" nodeType="withEffect">
                                  <p:stCondLst>
                                    <p:cond delay="200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2000"/>
                                        <p:tgtEl>
                                          <p:spTgt spid="8"/>
                                        </p:tgtEl>
                                      </p:cBhvr>
                                    </p:animEffect>
                                  </p:childTnLst>
                                </p:cTn>
                              </p:par>
                              <p:par>
                                <p:cTn id="16" presetID="42" presetClass="path" presetSubtype="0" accel="50000" decel="50000" fill="hold" grpId="1" nodeType="withEffect">
                                  <p:stCondLst>
                                    <p:cond delay="2000"/>
                                  </p:stCondLst>
                                  <p:childTnLst>
                                    <p:animMotion origin="layout" path="M -0.29635 0.54282 L -3.75E-6 1.48148E-6 " pathEditMode="relative" rAng="0" ptsTypes="AA">
                                      <p:cBhvr>
                                        <p:cTn id="17" dur="2000" fill="hold"/>
                                        <p:tgtEl>
                                          <p:spTgt spid="8"/>
                                        </p:tgtEl>
                                        <p:attrNameLst>
                                          <p:attrName>ppt_x</p:attrName>
                                          <p:attrName>ppt_y</p:attrName>
                                        </p:attrNameLst>
                                      </p:cBhvr>
                                      <p:rCtr x="14818" y="-27153"/>
                                    </p:animMotion>
                                  </p:childTnLst>
                                </p:cTn>
                              </p:par>
                              <p:par>
                                <p:cTn id="18" presetID="10" presetClass="entr" presetSubtype="0" fill="hold" grpId="0" nodeType="withEffect">
                                  <p:stCondLst>
                                    <p:cond delay="200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2000"/>
                                        <p:tgtEl>
                                          <p:spTgt spid="7"/>
                                        </p:tgtEl>
                                      </p:cBhvr>
                                    </p:animEffect>
                                  </p:childTnLst>
                                </p:cTn>
                              </p:par>
                              <p:par>
                                <p:cTn id="21" presetID="42" presetClass="path" presetSubtype="0" accel="50000" decel="50000" fill="hold" grpId="1" nodeType="withEffect">
                                  <p:stCondLst>
                                    <p:cond delay="2000"/>
                                  </p:stCondLst>
                                  <p:childTnLst>
                                    <p:animMotion origin="layout" path="M 0.00769 0.51342 L -4.375E-6 2.96296E-6 " pathEditMode="relative" rAng="0" ptsTypes="AA">
                                      <p:cBhvr>
                                        <p:cTn id="22" dur="2000" fill="hold"/>
                                        <p:tgtEl>
                                          <p:spTgt spid="7"/>
                                        </p:tgtEl>
                                        <p:attrNameLst>
                                          <p:attrName>ppt_x</p:attrName>
                                          <p:attrName>ppt_y</p:attrName>
                                        </p:attrNameLst>
                                      </p:cBhvr>
                                      <p:rCtr x="-391" y="-25671"/>
                                    </p:animMotion>
                                  </p:childTnLst>
                                </p:cTn>
                              </p:par>
                              <p:par>
                                <p:cTn id="23" presetID="10" presetClass="entr" presetSubtype="0" fill="hold" grpId="0" nodeType="withEffect">
                                  <p:stCondLst>
                                    <p:cond delay="200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2000"/>
                                        <p:tgtEl>
                                          <p:spTgt spid="5"/>
                                        </p:tgtEl>
                                      </p:cBhvr>
                                    </p:animEffect>
                                  </p:childTnLst>
                                </p:cTn>
                              </p:par>
                              <p:par>
                                <p:cTn id="26" presetID="42" presetClass="path" presetSubtype="0" accel="50000" decel="50000" fill="hold" grpId="1" nodeType="withEffect">
                                  <p:stCondLst>
                                    <p:cond delay="2000"/>
                                  </p:stCondLst>
                                  <p:childTnLst>
                                    <p:animMotion origin="layout" path="M 0.34661 0.3375 L 4.58333E-6 -1.48148E-6 " pathEditMode="relative" rAng="0" ptsTypes="AA">
                                      <p:cBhvr>
                                        <p:cTn id="27" dur="2000" fill="hold"/>
                                        <p:tgtEl>
                                          <p:spTgt spid="5"/>
                                        </p:tgtEl>
                                        <p:attrNameLst>
                                          <p:attrName>ppt_x</p:attrName>
                                          <p:attrName>ppt_y</p:attrName>
                                        </p:attrNameLst>
                                      </p:cBhvr>
                                      <p:rCtr x="-17331" y="-16875"/>
                                    </p:animMotion>
                                  </p:childTnLst>
                                </p:cTn>
                              </p:par>
                              <p:par>
                                <p:cTn id="28" presetID="10" presetClass="entr" presetSubtype="0" fill="hold" nodeType="withEffect">
                                  <p:stCondLst>
                                    <p:cond delay="200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2000"/>
                                        <p:tgtEl>
                                          <p:spTgt spid="11"/>
                                        </p:tgtEl>
                                      </p:cBhvr>
                                    </p:animEffect>
                                  </p:childTnLst>
                                </p:cTn>
                              </p:par>
                              <p:par>
                                <p:cTn id="31" presetID="42" presetClass="path" presetSubtype="0" accel="50000" decel="50000" fill="hold" nodeType="withEffect">
                                  <p:stCondLst>
                                    <p:cond delay="2000"/>
                                  </p:stCondLst>
                                  <p:childTnLst>
                                    <p:animMotion origin="layout" path="M 0.34623 -0.81852 L 5E-6 -7.40741E-7 " pathEditMode="relative" rAng="0" ptsTypes="AA">
                                      <p:cBhvr>
                                        <p:cTn id="32" dur="2000" fill="hold"/>
                                        <p:tgtEl>
                                          <p:spTgt spid="11"/>
                                        </p:tgtEl>
                                        <p:attrNameLst>
                                          <p:attrName>ppt_x</p:attrName>
                                          <p:attrName>ppt_y</p:attrName>
                                        </p:attrNameLst>
                                      </p:cBhvr>
                                      <p:rCtr x="-17318" y="4092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6" grpId="1" animBg="1"/>
      <p:bldP spid="7" grpId="0" animBg="1"/>
      <p:bldP spid="7" grpId="1" animBg="1"/>
      <p:bldP spid="8" grpId="0" animBg="1"/>
      <p:bldP spid="8"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041C370-B30C-CAB0-750A-8E1C61298FB3}"/>
              </a:ext>
            </a:extLst>
          </p:cNvPr>
          <p:cNvSpPr txBox="1"/>
          <p:nvPr/>
        </p:nvSpPr>
        <p:spPr>
          <a:xfrm>
            <a:off x="647857" y="4661064"/>
            <a:ext cx="3438903" cy="1477328"/>
          </a:xfrm>
          <a:prstGeom prst="rect">
            <a:avLst/>
          </a:prstGeom>
          <a:noFill/>
        </p:spPr>
        <p:txBody>
          <a:bodyPr wrap="square" rtlCol="0">
            <a:spAutoFit/>
          </a:bodyPr>
          <a:lstStyle>
            <a:defPPr>
              <a:defRPr lang="en-US"/>
            </a:defPPr>
            <a:lvl1pPr>
              <a:defRPr sz="3000" b="1">
                <a:solidFill>
                  <a:schemeClr val="tx2">
                    <a:lumMod val="40000"/>
                    <a:lumOff val="60000"/>
                  </a:schemeClr>
                </a:solidFill>
                <a:latin typeface="Montserrat" panose="00000500000000000000" pitchFamily="50" charset="0"/>
              </a:defRPr>
            </a:lvl1pPr>
          </a:lstStyle>
          <a:p>
            <a:r>
              <a:rPr lang="en-US" dirty="0"/>
              <a:t>DIGITAL MARKETING DEPARTMENT</a:t>
            </a:r>
          </a:p>
        </p:txBody>
      </p:sp>
      <p:grpSp>
        <p:nvGrpSpPr>
          <p:cNvPr id="38" name="Group 37">
            <a:extLst>
              <a:ext uri="{FF2B5EF4-FFF2-40B4-BE49-F238E27FC236}">
                <a16:creationId xmlns:a16="http://schemas.microsoft.com/office/drawing/2014/main" id="{722CB8EC-D647-421A-9085-77C27F932449}"/>
              </a:ext>
            </a:extLst>
          </p:cNvPr>
          <p:cNvGrpSpPr/>
          <p:nvPr/>
        </p:nvGrpSpPr>
        <p:grpSpPr>
          <a:xfrm>
            <a:off x="2860674" y="270793"/>
            <a:ext cx="8775700" cy="6316414"/>
            <a:chOff x="1708150" y="270793"/>
            <a:chExt cx="8775700" cy="6316414"/>
          </a:xfrm>
        </p:grpSpPr>
        <p:grpSp>
          <p:nvGrpSpPr>
            <p:cNvPr id="22" name="Group 21">
              <a:extLst>
                <a:ext uri="{FF2B5EF4-FFF2-40B4-BE49-F238E27FC236}">
                  <a16:creationId xmlns:a16="http://schemas.microsoft.com/office/drawing/2014/main" id="{857D0CFB-B404-450F-BEC5-6900B4734C6C}"/>
                </a:ext>
              </a:extLst>
            </p:cNvPr>
            <p:cNvGrpSpPr/>
            <p:nvPr/>
          </p:nvGrpSpPr>
          <p:grpSpPr>
            <a:xfrm>
              <a:off x="1708150" y="270793"/>
              <a:ext cx="8775700" cy="6316414"/>
              <a:chOff x="1708150" y="252872"/>
              <a:chExt cx="8775700" cy="6316414"/>
            </a:xfrm>
          </p:grpSpPr>
          <p:sp>
            <p:nvSpPr>
              <p:cNvPr id="8" name="Oval 7">
                <a:extLst>
                  <a:ext uri="{FF2B5EF4-FFF2-40B4-BE49-F238E27FC236}">
                    <a16:creationId xmlns:a16="http://schemas.microsoft.com/office/drawing/2014/main" id="{38078B73-9FE4-467C-A788-CECC1C782458}"/>
                  </a:ext>
                </a:extLst>
              </p:cNvPr>
              <p:cNvSpPr/>
              <p:nvPr/>
            </p:nvSpPr>
            <p:spPr>
              <a:xfrm>
                <a:off x="3766434" y="252872"/>
                <a:ext cx="4659131" cy="4659130"/>
              </a:xfrm>
              <a:prstGeom prst="ellipse">
                <a:avLst/>
              </a:prstGeom>
              <a:gradFill flip="none" rotWithShape="1">
                <a:gsLst>
                  <a:gs pos="0">
                    <a:schemeClr val="accent1"/>
                  </a:gs>
                  <a:gs pos="100000">
                    <a:schemeClr val="accent1">
                      <a:lumMod val="60000"/>
                      <a:lumOff val="40000"/>
                      <a:alpha val="65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Oval 3">
                <a:extLst>
                  <a:ext uri="{FF2B5EF4-FFF2-40B4-BE49-F238E27FC236}">
                    <a16:creationId xmlns:a16="http://schemas.microsoft.com/office/drawing/2014/main" id="{D85B3781-42BB-4365-8084-6442C1DDF106}"/>
                  </a:ext>
                </a:extLst>
              </p:cNvPr>
              <p:cNvSpPr/>
              <p:nvPr/>
            </p:nvSpPr>
            <p:spPr>
              <a:xfrm>
                <a:off x="5583320" y="3231191"/>
                <a:ext cx="3338095" cy="3338095"/>
              </a:xfrm>
              <a:prstGeom prst="ellipse">
                <a:avLst/>
              </a:prstGeom>
              <a:gradFill flip="none" rotWithShape="1">
                <a:gsLst>
                  <a:gs pos="0">
                    <a:schemeClr val="accent5">
                      <a:lumMod val="75000"/>
                      <a:alpha val="80000"/>
                    </a:schemeClr>
                  </a:gs>
                  <a:gs pos="100000">
                    <a:schemeClr val="accent5">
                      <a:alpha val="4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Oval 4">
                <a:extLst>
                  <a:ext uri="{FF2B5EF4-FFF2-40B4-BE49-F238E27FC236}">
                    <a16:creationId xmlns:a16="http://schemas.microsoft.com/office/drawing/2014/main" id="{3CBA8F80-7827-4295-B86C-516F6644A1F9}"/>
                  </a:ext>
                </a:extLst>
              </p:cNvPr>
              <p:cNvSpPr/>
              <p:nvPr/>
            </p:nvSpPr>
            <p:spPr>
              <a:xfrm>
                <a:off x="7145755" y="1517624"/>
                <a:ext cx="3338095" cy="3338095"/>
              </a:xfrm>
              <a:prstGeom prst="ellipse">
                <a:avLst/>
              </a:prstGeom>
              <a:gradFill flip="none" rotWithShape="1">
                <a:gsLst>
                  <a:gs pos="0">
                    <a:schemeClr val="tx2">
                      <a:alpha val="75000"/>
                    </a:schemeClr>
                  </a:gs>
                  <a:gs pos="100000">
                    <a:schemeClr val="tx2">
                      <a:lumMod val="60000"/>
                      <a:lumOff val="40000"/>
                      <a:alpha val="4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Oval 5">
                <a:extLst>
                  <a:ext uri="{FF2B5EF4-FFF2-40B4-BE49-F238E27FC236}">
                    <a16:creationId xmlns:a16="http://schemas.microsoft.com/office/drawing/2014/main" id="{8AFFC2C1-81CF-439F-BE3D-21FB45BB0095}"/>
                  </a:ext>
                </a:extLst>
              </p:cNvPr>
              <p:cNvSpPr/>
              <p:nvPr/>
            </p:nvSpPr>
            <p:spPr>
              <a:xfrm>
                <a:off x="3270588" y="3231191"/>
                <a:ext cx="3338095" cy="3338095"/>
              </a:xfrm>
              <a:prstGeom prst="ellipse">
                <a:avLst/>
              </a:prstGeom>
              <a:gradFill flip="none" rotWithShape="1">
                <a:gsLst>
                  <a:gs pos="0">
                    <a:schemeClr val="accent4">
                      <a:lumMod val="75000"/>
                      <a:alpha val="80000"/>
                    </a:schemeClr>
                  </a:gs>
                  <a:gs pos="100000">
                    <a:schemeClr val="accent4">
                      <a:alpha val="4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Oval 6">
                <a:extLst>
                  <a:ext uri="{FF2B5EF4-FFF2-40B4-BE49-F238E27FC236}">
                    <a16:creationId xmlns:a16="http://schemas.microsoft.com/office/drawing/2014/main" id="{385EFA30-9567-4DA9-A033-D5E08A329AF1}"/>
                  </a:ext>
                </a:extLst>
              </p:cNvPr>
              <p:cNvSpPr/>
              <p:nvPr/>
            </p:nvSpPr>
            <p:spPr>
              <a:xfrm>
                <a:off x="1708150" y="1517624"/>
                <a:ext cx="3338095" cy="3338095"/>
              </a:xfrm>
              <a:prstGeom prst="ellipse">
                <a:avLst/>
              </a:prstGeom>
              <a:gradFill flip="none" rotWithShape="1">
                <a:gsLst>
                  <a:gs pos="0">
                    <a:schemeClr val="accent3">
                      <a:alpha val="75000"/>
                    </a:schemeClr>
                  </a:gs>
                  <a:gs pos="100000">
                    <a:schemeClr val="accent3">
                      <a:lumMod val="60000"/>
                      <a:lumOff val="40000"/>
                      <a:alpha val="6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Oval 15">
                <a:extLst>
                  <a:ext uri="{FF2B5EF4-FFF2-40B4-BE49-F238E27FC236}">
                    <a16:creationId xmlns:a16="http://schemas.microsoft.com/office/drawing/2014/main" id="{5FB025ED-0C98-447A-94D5-35EA9D1E084D}"/>
                  </a:ext>
                </a:extLst>
              </p:cNvPr>
              <p:cNvSpPr/>
              <p:nvPr/>
            </p:nvSpPr>
            <p:spPr>
              <a:xfrm>
                <a:off x="5583320" y="3231191"/>
                <a:ext cx="3338095" cy="3338095"/>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 name="Oval 16">
                <a:extLst>
                  <a:ext uri="{FF2B5EF4-FFF2-40B4-BE49-F238E27FC236}">
                    <a16:creationId xmlns:a16="http://schemas.microsoft.com/office/drawing/2014/main" id="{1E8508CA-C6F0-48D6-A7C5-C2842B6D206D}"/>
                  </a:ext>
                </a:extLst>
              </p:cNvPr>
              <p:cNvSpPr/>
              <p:nvPr/>
            </p:nvSpPr>
            <p:spPr>
              <a:xfrm>
                <a:off x="7145755" y="1517624"/>
                <a:ext cx="3338095" cy="3338095"/>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Oval 17">
                <a:extLst>
                  <a:ext uri="{FF2B5EF4-FFF2-40B4-BE49-F238E27FC236}">
                    <a16:creationId xmlns:a16="http://schemas.microsoft.com/office/drawing/2014/main" id="{6C49B81C-B28D-4A0A-BBD0-A5D943104413}"/>
                  </a:ext>
                </a:extLst>
              </p:cNvPr>
              <p:cNvSpPr/>
              <p:nvPr/>
            </p:nvSpPr>
            <p:spPr>
              <a:xfrm>
                <a:off x="3270588" y="3231191"/>
                <a:ext cx="3338095" cy="3338095"/>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Oval 18">
                <a:extLst>
                  <a:ext uri="{FF2B5EF4-FFF2-40B4-BE49-F238E27FC236}">
                    <a16:creationId xmlns:a16="http://schemas.microsoft.com/office/drawing/2014/main" id="{23BE256D-0459-4C24-9073-F094E5B7748B}"/>
                  </a:ext>
                </a:extLst>
              </p:cNvPr>
              <p:cNvSpPr/>
              <p:nvPr/>
            </p:nvSpPr>
            <p:spPr>
              <a:xfrm>
                <a:off x="1708150" y="1517624"/>
                <a:ext cx="3338095" cy="3338095"/>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Oval 19">
                <a:extLst>
                  <a:ext uri="{FF2B5EF4-FFF2-40B4-BE49-F238E27FC236}">
                    <a16:creationId xmlns:a16="http://schemas.microsoft.com/office/drawing/2014/main" id="{3A9250EE-08E3-4149-9BA2-F07AE0E20750}"/>
                  </a:ext>
                </a:extLst>
              </p:cNvPr>
              <p:cNvSpPr/>
              <p:nvPr/>
            </p:nvSpPr>
            <p:spPr>
              <a:xfrm>
                <a:off x="3766434" y="252872"/>
                <a:ext cx="4659131" cy="4659130"/>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24" name="TextBox 23">
              <a:extLst>
                <a:ext uri="{FF2B5EF4-FFF2-40B4-BE49-F238E27FC236}">
                  <a16:creationId xmlns:a16="http://schemas.microsoft.com/office/drawing/2014/main" id="{37A5DF2C-A81D-4372-837F-B86F6E1DB90C}"/>
                </a:ext>
              </a:extLst>
            </p:cNvPr>
            <p:cNvSpPr txBox="1"/>
            <p:nvPr/>
          </p:nvSpPr>
          <p:spPr>
            <a:xfrm>
              <a:off x="3922523" y="2524138"/>
              <a:ext cx="914032" cy="276999"/>
            </a:xfrm>
            <a:prstGeom prst="rect">
              <a:avLst/>
            </a:prstGeom>
            <a:noFill/>
          </p:spPr>
          <p:txBody>
            <a:bodyPr wrap="none" rtlCol="0" anchor="ctr" anchorCtr="0">
              <a:spAutoFit/>
            </a:bodyPr>
            <a:lstStyle/>
            <a:p>
              <a:pPr algn="ctr"/>
              <a:r>
                <a:rPr lang="en-US" sz="1200" dirty="0">
                  <a:solidFill>
                    <a:schemeClr val="bg1"/>
                  </a:solidFill>
                  <a:latin typeface="Montserrat" panose="00000500000000000000" pitchFamily="50" charset="0"/>
                </a:rPr>
                <a:t>Upselling</a:t>
              </a:r>
            </a:p>
          </p:txBody>
        </p:sp>
        <p:sp>
          <p:nvSpPr>
            <p:cNvPr id="26" name="TextBox 25">
              <a:extLst>
                <a:ext uri="{FF2B5EF4-FFF2-40B4-BE49-F238E27FC236}">
                  <a16:creationId xmlns:a16="http://schemas.microsoft.com/office/drawing/2014/main" id="{8FFB2526-56E0-4ACD-9A9B-5613CDFB08B5}"/>
                </a:ext>
              </a:extLst>
            </p:cNvPr>
            <p:cNvSpPr txBox="1"/>
            <p:nvPr/>
          </p:nvSpPr>
          <p:spPr>
            <a:xfrm>
              <a:off x="4067175" y="3438809"/>
              <a:ext cx="932792" cy="461665"/>
            </a:xfrm>
            <a:prstGeom prst="rect">
              <a:avLst/>
            </a:prstGeom>
            <a:noFill/>
          </p:spPr>
          <p:txBody>
            <a:bodyPr wrap="square" rtlCol="0" anchor="ctr" anchorCtr="0">
              <a:spAutoFit/>
            </a:bodyPr>
            <a:lstStyle/>
            <a:p>
              <a:pPr algn="ctr"/>
              <a:r>
                <a:rPr lang="en-US" sz="1200" dirty="0">
                  <a:solidFill>
                    <a:schemeClr val="bg1"/>
                  </a:solidFill>
                  <a:latin typeface="Montserrat" panose="00000500000000000000" pitchFamily="50" charset="0"/>
                </a:rPr>
                <a:t>News &amp; Updates</a:t>
              </a:r>
            </a:p>
          </p:txBody>
        </p:sp>
        <p:sp>
          <p:nvSpPr>
            <p:cNvPr id="27" name="TextBox 26">
              <a:extLst>
                <a:ext uri="{FF2B5EF4-FFF2-40B4-BE49-F238E27FC236}">
                  <a16:creationId xmlns:a16="http://schemas.microsoft.com/office/drawing/2014/main" id="{F82A9AC6-F782-4D72-8AA8-6D58A1700B3A}"/>
                </a:ext>
              </a:extLst>
            </p:cNvPr>
            <p:cNvSpPr txBox="1"/>
            <p:nvPr/>
          </p:nvSpPr>
          <p:spPr>
            <a:xfrm>
              <a:off x="3402866" y="4127141"/>
              <a:ext cx="992548" cy="461665"/>
            </a:xfrm>
            <a:prstGeom prst="rect">
              <a:avLst/>
            </a:prstGeom>
            <a:noFill/>
          </p:spPr>
          <p:txBody>
            <a:bodyPr wrap="square" rtlCol="0" anchor="ctr" anchorCtr="0">
              <a:spAutoFit/>
            </a:bodyPr>
            <a:lstStyle/>
            <a:p>
              <a:pPr algn="ctr"/>
              <a:r>
                <a:rPr lang="en-US" sz="1200" dirty="0">
                  <a:solidFill>
                    <a:schemeClr val="bg1"/>
                  </a:solidFill>
                  <a:latin typeface="Montserrat" panose="00000500000000000000" pitchFamily="50" charset="0"/>
                </a:rPr>
                <a:t>Customer Service</a:t>
              </a:r>
            </a:p>
          </p:txBody>
        </p:sp>
        <p:sp>
          <p:nvSpPr>
            <p:cNvPr id="28" name="TextBox 27">
              <a:extLst>
                <a:ext uri="{FF2B5EF4-FFF2-40B4-BE49-F238E27FC236}">
                  <a16:creationId xmlns:a16="http://schemas.microsoft.com/office/drawing/2014/main" id="{A4291911-2177-4CCB-A3F6-51D6C443150C}"/>
                </a:ext>
              </a:extLst>
            </p:cNvPr>
            <p:cNvSpPr txBox="1"/>
            <p:nvPr/>
          </p:nvSpPr>
          <p:spPr>
            <a:xfrm>
              <a:off x="4831219" y="3835056"/>
              <a:ext cx="992548" cy="461665"/>
            </a:xfrm>
            <a:prstGeom prst="rect">
              <a:avLst/>
            </a:prstGeom>
            <a:noFill/>
          </p:spPr>
          <p:txBody>
            <a:bodyPr wrap="square" rtlCol="0" anchor="ctr" anchorCtr="0">
              <a:spAutoFit/>
            </a:bodyPr>
            <a:lstStyle/>
            <a:p>
              <a:pPr algn="ctr"/>
              <a:r>
                <a:rPr lang="en-US" sz="1200" dirty="0">
                  <a:solidFill>
                    <a:schemeClr val="bg1"/>
                  </a:solidFill>
                  <a:latin typeface="Montserrat" panose="00000500000000000000" pitchFamily="50" charset="0"/>
                </a:rPr>
                <a:t>Social Links</a:t>
              </a:r>
            </a:p>
          </p:txBody>
        </p:sp>
        <p:sp>
          <p:nvSpPr>
            <p:cNvPr id="29" name="TextBox 28">
              <a:extLst>
                <a:ext uri="{FF2B5EF4-FFF2-40B4-BE49-F238E27FC236}">
                  <a16:creationId xmlns:a16="http://schemas.microsoft.com/office/drawing/2014/main" id="{8C3100BC-FBE7-4A30-8A1B-893B36DBA666}"/>
                </a:ext>
              </a:extLst>
            </p:cNvPr>
            <p:cNvSpPr txBox="1"/>
            <p:nvPr/>
          </p:nvSpPr>
          <p:spPr>
            <a:xfrm>
              <a:off x="5599726" y="4293373"/>
              <a:ext cx="992548" cy="461665"/>
            </a:xfrm>
            <a:prstGeom prst="rect">
              <a:avLst/>
            </a:prstGeom>
            <a:noFill/>
          </p:spPr>
          <p:txBody>
            <a:bodyPr wrap="square" rtlCol="0" anchor="ctr" anchorCtr="0">
              <a:spAutoFit/>
            </a:bodyPr>
            <a:lstStyle/>
            <a:p>
              <a:pPr algn="ctr"/>
              <a:r>
                <a:rPr lang="en-US" sz="1200" dirty="0">
                  <a:solidFill>
                    <a:schemeClr val="bg1"/>
                  </a:solidFill>
                  <a:latin typeface="Montserrat" panose="00000500000000000000" pitchFamily="50" charset="0"/>
                </a:rPr>
                <a:t>Sharable Content</a:t>
              </a:r>
            </a:p>
          </p:txBody>
        </p:sp>
        <p:sp>
          <p:nvSpPr>
            <p:cNvPr id="30" name="TextBox 29">
              <a:extLst>
                <a:ext uri="{FF2B5EF4-FFF2-40B4-BE49-F238E27FC236}">
                  <a16:creationId xmlns:a16="http://schemas.microsoft.com/office/drawing/2014/main" id="{D476A0FE-C73E-4BA5-A319-68057ECA761B}"/>
                </a:ext>
              </a:extLst>
            </p:cNvPr>
            <p:cNvSpPr txBox="1"/>
            <p:nvPr/>
          </p:nvSpPr>
          <p:spPr>
            <a:xfrm>
              <a:off x="6399139" y="3742723"/>
              <a:ext cx="992548" cy="646331"/>
            </a:xfrm>
            <a:prstGeom prst="rect">
              <a:avLst/>
            </a:prstGeom>
            <a:noFill/>
          </p:spPr>
          <p:txBody>
            <a:bodyPr wrap="square" rtlCol="0" anchor="ctr" anchorCtr="0">
              <a:spAutoFit/>
            </a:bodyPr>
            <a:lstStyle/>
            <a:p>
              <a:pPr algn="ctr"/>
              <a:r>
                <a:rPr lang="en-US" sz="1200" dirty="0">
                  <a:solidFill>
                    <a:schemeClr val="bg1"/>
                  </a:solidFill>
                  <a:latin typeface="Montserrat" panose="00000500000000000000" pitchFamily="50" charset="0"/>
                </a:rPr>
                <a:t>Clean Code Content</a:t>
              </a:r>
            </a:p>
          </p:txBody>
        </p:sp>
        <p:sp>
          <p:nvSpPr>
            <p:cNvPr id="31" name="TextBox 30">
              <a:extLst>
                <a:ext uri="{FF2B5EF4-FFF2-40B4-BE49-F238E27FC236}">
                  <a16:creationId xmlns:a16="http://schemas.microsoft.com/office/drawing/2014/main" id="{08698D05-E4F9-43E7-81D4-8EE177B2B14F}"/>
                </a:ext>
              </a:extLst>
            </p:cNvPr>
            <p:cNvSpPr txBox="1"/>
            <p:nvPr/>
          </p:nvSpPr>
          <p:spPr>
            <a:xfrm>
              <a:off x="7214367" y="3603336"/>
              <a:ext cx="932792" cy="276999"/>
            </a:xfrm>
            <a:prstGeom prst="rect">
              <a:avLst/>
            </a:prstGeom>
            <a:noFill/>
          </p:spPr>
          <p:txBody>
            <a:bodyPr wrap="square" rtlCol="0" anchor="ctr" anchorCtr="0">
              <a:spAutoFit/>
            </a:bodyPr>
            <a:lstStyle/>
            <a:p>
              <a:pPr algn="ctr"/>
              <a:r>
                <a:rPr lang="en-US" sz="1200" dirty="0">
                  <a:solidFill>
                    <a:schemeClr val="bg1"/>
                  </a:solidFill>
                  <a:latin typeface="Montserrat" panose="00000500000000000000" pitchFamily="50" charset="0"/>
                </a:rPr>
                <a:t>CRO</a:t>
              </a:r>
            </a:p>
          </p:txBody>
        </p:sp>
        <p:sp>
          <p:nvSpPr>
            <p:cNvPr id="32" name="TextBox 31">
              <a:extLst>
                <a:ext uri="{FF2B5EF4-FFF2-40B4-BE49-F238E27FC236}">
                  <a16:creationId xmlns:a16="http://schemas.microsoft.com/office/drawing/2014/main" id="{A877D23A-E3B0-4F8F-9203-D47831610998}"/>
                </a:ext>
              </a:extLst>
            </p:cNvPr>
            <p:cNvSpPr txBox="1"/>
            <p:nvPr/>
          </p:nvSpPr>
          <p:spPr>
            <a:xfrm>
              <a:off x="7750118" y="4127141"/>
              <a:ext cx="1085482" cy="461665"/>
            </a:xfrm>
            <a:prstGeom prst="rect">
              <a:avLst/>
            </a:prstGeom>
            <a:noFill/>
          </p:spPr>
          <p:txBody>
            <a:bodyPr wrap="square" rtlCol="0" anchor="ctr" anchorCtr="0">
              <a:spAutoFit/>
            </a:bodyPr>
            <a:lstStyle/>
            <a:p>
              <a:pPr algn="ctr"/>
              <a:r>
                <a:rPr lang="en-US" sz="1200" dirty="0">
                  <a:solidFill>
                    <a:schemeClr val="bg1"/>
                  </a:solidFill>
                  <a:latin typeface="Montserrat" panose="00000500000000000000" pitchFamily="50" charset="0"/>
                </a:rPr>
                <a:t>Authorship Influences</a:t>
              </a:r>
            </a:p>
          </p:txBody>
        </p:sp>
        <p:sp>
          <p:nvSpPr>
            <p:cNvPr id="33" name="TextBox 32">
              <a:extLst>
                <a:ext uri="{FF2B5EF4-FFF2-40B4-BE49-F238E27FC236}">
                  <a16:creationId xmlns:a16="http://schemas.microsoft.com/office/drawing/2014/main" id="{FEE891EA-D1EF-4F32-950A-306E57E6450D}"/>
                </a:ext>
              </a:extLst>
            </p:cNvPr>
            <p:cNvSpPr txBox="1"/>
            <p:nvPr/>
          </p:nvSpPr>
          <p:spPr>
            <a:xfrm>
              <a:off x="2256006" y="3004537"/>
              <a:ext cx="1037463" cy="400110"/>
            </a:xfrm>
            <a:prstGeom prst="rect">
              <a:avLst/>
            </a:prstGeom>
            <a:noFill/>
          </p:spPr>
          <p:txBody>
            <a:bodyPr wrap="none" rtlCol="0" anchor="ctr" anchorCtr="0">
              <a:spAutoFit/>
            </a:bodyPr>
            <a:lstStyle/>
            <a:p>
              <a:pPr algn="ctr"/>
              <a:r>
                <a:rPr lang="en-US" sz="2000" b="1" dirty="0">
                  <a:solidFill>
                    <a:schemeClr val="bg1"/>
                  </a:solidFill>
                  <a:latin typeface="Montserrat" panose="00000500000000000000" pitchFamily="50" charset="0"/>
                </a:rPr>
                <a:t>EMAIL</a:t>
              </a:r>
            </a:p>
          </p:txBody>
        </p:sp>
        <p:sp>
          <p:nvSpPr>
            <p:cNvPr id="34" name="TextBox 33">
              <a:extLst>
                <a:ext uri="{FF2B5EF4-FFF2-40B4-BE49-F238E27FC236}">
                  <a16:creationId xmlns:a16="http://schemas.microsoft.com/office/drawing/2014/main" id="{999AE206-631A-4F70-917D-9F58303ACF3B}"/>
                </a:ext>
              </a:extLst>
            </p:cNvPr>
            <p:cNvSpPr txBox="1"/>
            <p:nvPr/>
          </p:nvSpPr>
          <p:spPr>
            <a:xfrm>
              <a:off x="4080804" y="5250322"/>
              <a:ext cx="1188146" cy="400110"/>
            </a:xfrm>
            <a:prstGeom prst="rect">
              <a:avLst/>
            </a:prstGeom>
            <a:noFill/>
          </p:spPr>
          <p:txBody>
            <a:bodyPr wrap="none" rtlCol="0" anchor="ctr" anchorCtr="0">
              <a:spAutoFit/>
            </a:bodyPr>
            <a:lstStyle/>
            <a:p>
              <a:pPr algn="ctr"/>
              <a:r>
                <a:rPr lang="en-US" sz="2000" b="1" dirty="0">
                  <a:solidFill>
                    <a:schemeClr val="bg1"/>
                  </a:solidFill>
                  <a:latin typeface="Montserrat" panose="00000500000000000000" pitchFamily="50" charset="0"/>
                </a:rPr>
                <a:t>SOCIAL</a:t>
              </a:r>
            </a:p>
          </p:txBody>
        </p:sp>
        <p:sp>
          <p:nvSpPr>
            <p:cNvPr id="35" name="TextBox 34">
              <a:extLst>
                <a:ext uri="{FF2B5EF4-FFF2-40B4-BE49-F238E27FC236}">
                  <a16:creationId xmlns:a16="http://schemas.microsoft.com/office/drawing/2014/main" id="{A1FE4ED1-4577-4A74-8BEB-D1AFF64EDCF4}"/>
                </a:ext>
              </a:extLst>
            </p:cNvPr>
            <p:cNvSpPr txBox="1"/>
            <p:nvPr/>
          </p:nvSpPr>
          <p:spPr>
            <a:xfrm>
              <a:off x="7222312" y="5250322"/>
              <a:ext cx="736099" cy="400110"/>
            </a:xfrm>
            <a:prstGeom prst="rect">
              <a:avLst/>
            </a:prstGeom>
            <a:noFill/>
          </p:spPr>
          <p:txBody>
            <a:bodyPr wrap="none" rtlCol="0" anchor="ctr" anchorCtr="0">
              <a:spAutoFit/>
            </a:bodyPr>
            <a:lstStyle/>
            <a:p>
              <a:pPr algn="ctr"/>
              <a:r>
                <a:rPr lang="en-US" sz="2000" b="1" dirty="0">
                  <a:solidFill>
                    <a:schemeClr val="bg1"/>
                  </a:solidFill>
                  <a:latin typeface="Montserrat" panose="00000500000000000000" pitchFamily="50" charset="0"/>
                </a:rPr>
                <a:t>SEO</a:t>
              </a:r>
            </a:p>
          </p:txBody>
        </p:sp>
        <p:sp>
          <p:nvSpPr>
            <p:cNvPr id="36" name="TextBox 35">
              <a:extLst>
                <a:ext uri="{FF2B5EF4-FFF2-40B4-BE49-F238E27FC236}">
                  <a16:creationId xmlns:a16="http://schemas.microsoft.com/office/drawing/2014/main" id="{D4A9A6DC-BE57-423A-88FA-8C7C74244899}"/>
                </a:ext>
              </a:extLst>
            </p:cNvPr>
            <p:cNvSpPr txBox="1"/>
            <p:nvPr/>
          </p:nvSpPr>
          <p:spPr>
            <a:xfrm>
              <a:off x="8980671" y="3004537"/>
              <a:ext cx="747320" cy="400110"/>
            </a:xfrm>
            <a:prstGeom prst="rect">
              <a:avLst/>
            </a:prstGeom>
            <a:noFill/>
          </p:spPr>
          <p:txBody>
            <a:bodyPr wrap="none" rtlCol="0" anchor="ctr" anchorCtr="0">
              <a:spAutoFit/>
            </a:bodyPr>
            <a:lstStyle/>
            <a:p>
              <a:pPr algn="ctr"/>
              <a:r>
                <a:rPr lang="en-US" sz="2000" b="1" dirty="0">
                  <a:solidFill>
                    <a:schemeClr val="bg1"/>
                  </a:solidFill>
                  <a:latin typeface="Montserrat" panose="00000500000000000000" pitchFamily="50" charset="0"/>
                </a:rPr>
                <a:t>PPC</a:t>
              </a:r>
            </a:p>
          </p:txBody>
        </p:sp>
        <p:sp>
          <p:nvSpPr>
            <p:cNvPr id="37" name="TextBox 36">
              <a:extLst>
                <a:ext uri="{FF2B5EF4-FFF2-40B4-BE49-F238E27FC236}">
                  <a16:creationId xmlns:a16="http://schemas.microsoft.com/office/drawing/2014/main" id="{C91B0A68-5B98-4BA3-AD39-1F7BC0EAFD0E}"/>
                </a:ext>
              </a:extLst>
            </p:cNvPr>
            <p:cNvSpPr txBox="1"/>
            <p:nvPr/>
          </p:nvSpPr>
          <p:spPr>
            <a:xfrm>
              <a:off x="4913626" y="1292573"/>
              <a:ext cx="2364750" cy="630942"/>
            </a:xfrm>
            <a:prstGeom prst="rect">
              <a:avLst/>
            </a:prstGeom>
            <a:noFill/>
          </p:spPr>
          <p:txBody>
            <a:bodyPr wrap="none" rtlCol="0" anchor="ctr" anchorCtr="0">
              <a:spAutoFit/>
            </a:bodyPr>
            <a:lstStyle/>
            <a:p>
              <a:pPr algn="ctr"/>
              <a:r>
                <a:rPr lang="en-US" sz="3500" b="1" dirty="0">
                  <a:solidFill>
                    <a:schemeClr val="bg1"/>
                  </a:solidFill>
                  <a:latin typeface="Montserrat" panose="00000500000000000000" pitchFamily="50" charset="0"/>
                </a:rPr>
                <a:t>WEBSITE</a:t>
              </a:r>
            </a:p>
          </p:txBody>
        </p:sp>
        <p:sp>
          <p:nvSpPr>
            <p:cNvPr id="41" name="TextBox 40">
              <a:extLst>
                <a:ext uri="{FF2B5EF4-FFF2-40B4-BE49-F238E27FC236}">
                  <a16:creationId xmlns:a16="http://schemas.microsoft.com/office/drawing/2014/main" id="{306D57BC-F50F-495D-8FA1-EA62F842CAB3}"/>
                </a:ext>
              </a:extLst>
            </p:cNvPr>
            <p:cNvSpPr txBox="1"/>
            <p:nvPr/>
          </p:nvSpPr>
          <p:spPr>
            <a:xfrm>
              <a:off x="7387681" y="2524138"/>
              <a:ext cx="922047" cy="276999"/>
            </a:xfrm>
            <a:prstGeom prst="rect">
              <a:avLst/>
            </a:prstGeom>
            <a:noFill/>
          </p:spPr>
          <p:txBody>
            <a:bodyPr wrap="none" rtlCol="0" anchor="ctr" anchorCtr="0">
              <a:spAutoFit/>
            </a:bodyPr>
            <a:lstStyle/>
            <a:p>
              <a:pPr algn="ctr"/>
              <a:r>
                <a:rPr lang="en-US" sz="1200" dirty="0">
                  <a:solidFill>
                    <a:schemeClr val="bg1"/>
                  </a:solidFill>
                  <a:latin typeface="Montserrat" panose="00000500000000000000" pitchFamily="50" charset="0"/>
                </a:rPr>
                <a:t>Text Here</a:t>
              </a:r>
            </a:p>
          </p:txBody>
        </p:sp>
      </p:grpSp>
    </p:spTree>
    <p:extLst>
      <p:ext uri="{BB962C8B-B14F-4D97-AF65-F5344CB8AC3E}">
        <p14:creationId xmlns:p14="http://schemas.microsoft.com/office/powerpoint/2010/main" val="41921944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a:extLst>
              <a:ext uri="{FF2B5EF4-FFF2-40B4-BE49-F238E27FC236}">
                <a16:creationId xmlns:a16="http://schemas.microsoft.com/office/drawing/2014/main" id="{0E4EADEC-51A6-4369-A945-0D157E7577B8}"/>
              </a:ext>
            </a:extLst>
          </p:cNvPr>
          <p:cNvGrpSpPr/>
          <p:nvPr/>
        </p:nvGrpSpPr>
        <p:grpSpPr>
          <a:xfrm>
            <a:off x="2509559" y="216862"/>
            <a:ext cx="7172882" cy="6433764"/>
            <a:chOff x="2509559" y="216862"/>
            <a:chExt cx="7172882" cy="6433764"/>
          </a:xfrm>
        </p:grpSpPr>
        <p:grpSp>
          <p:nvGrpSpPr>
            <p:cNvPr id="47" name="Group 46">
              <a:extLst>
                <a:ext uri="{FF2B5EF4-FFF2-40B4-BE49-F238E27FC236}">
                  <a16:creationId xmlns:a16="http://schemas.microsoft.com/office/drawing/2014/main" id="{CB53CF18-BAC7-4B9C-B06B-ED3D90C3FCE3}"/>
                </a:ext>
              </a:extLst>
            </p:cNvPr>
            <p:cNvGrpSpPr/>
            <p:nvPr/>
          </p:nvGrpSpPr>
          <p:grpSpPr>
            <a:xfrm>
              <a:off x="2509559" y="216862"/>
              <a:ext cx="7172882" cy="6433764"/>
              <a:chOff x="2509559" y="216862"/>
              <a:chExt cx="7172882" cy="6433764"/>
            </a:xfrm>
          </p:grpSpPr>
          <p:sp>
            <p:nvSpPr>
              <p:cNvPr id="10" name="Oval 9">
                <a:extLst>
                  <a:ext uri="{FF2B5EF4-FFF2-40B4-BE49-F238E27FC236}">
                    <a16:creationId xmlns:a16="http://schemas.microsoft.com/office/drawing/2014/main" id="{16277633-9493-4391-A1B1-79047BB0D0FA}"/>
                  </a:ext>
                </a:extLst>
              </p:cNvPr>
              <p:cNvSpPr/>
              <p:nvPr/>
            </p:nvSpPr>
            <p:spPr>
              <a:xfrm>
                <a:off x="2509559" y="3551752"/>
                <a:ext cx="3098876" cy="3098874"/>
              </a:xfrm>
              <a:prstGeom prst="ellipse">
                <a:avLst/>
              </a:prstGeom>
              <a:gradFill flip="none" rotWithShape="1">
                <a:gsLst>
                  <a:gs pos="0">
                    <a:schemeClr val="accent5">
                      <a:lumMod val="75000"/>
                      <a:alpha val="80000"/>
                    </a:schemeClr>
                  </a:gs>
                  <a:gs pos="100000">
                    <a:schemeClr val="accent5">
                      <a:alpha val="4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Oval 10">
                <a:extLst>
                  <a:ext uri="{FF2B5EF4-FFF2-40B4-BE49-F238E27FC236}">
                    <a16:creationId xmlns:a16="http://schemas.microsoft.com/office/drawing/2014/main" id="{43973806-0E14-4A4C-96A4-BB83505323F9}"/>
                  </a:ext>
                </a:extLst>
              </p:cNvPr>
              <p:cNvSpPr/>
              <p:nvPr/>
            </p:nvSpPr>
            <p:spPr>
              <a:xfrm>
                <a:off x="6583565" y="3551752"/>
                <a:ext cx="3098876" cy="3098874"/>
              </a:xfrm>
              <a:prstGeom prst="ellipse">
                <a:avLst/>
              </a:prstGeom>
              <a:gradFill flip="none" rotWithShape="1">
                <a:gsLst>
                  <a:gs pos="0">
                    <a:schemeClr val="bg2">
                      <a:lumMod val="50000"/>
                      <a:alpha val="75000"/>
                    </a:schemeClr>
                  </a:gs>
                  <a:gs pos="100000">
                    <a:schemeClr val="bg2">
                      <a:lumMod val="75000"/>
                      <a:alpha val="4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Oval 11">
                <a:extLst>
                  <a:ext uri="{FF2B5EF4-FFF2-40B4-BE49-F238E27FC236}">
                    <a16:creationId xmlns:a16="http://schemas.microsoft.com/office/drawing/2014/main" id="{4AA63375-55F8-4A23-90B6-79540411A14D}"/>
                  </a:ext>
                </a:extLst>
              </p:cNvPr>
              <p:cNvSpPr/>
              <p:nvPr/>
            </p:nvSpPr>
            <p:spPr>
              <a:xfrm>
                <a:off x="4546562" y="3551752"/>
                <a:ext cx="3098876" cy="3098874"/>
              </a:xfrm>
              <a:prstGeom prst="ellipse">
                <a:avLst/>
              </a:prstGeom>
              <a:gradFill flip="none" rotWithShape="1">
                <a:gsLst>
                  <a:gs pos="0">
                    <a:schemeClr val="tx2">
                      <a:alpha val="75000"/>
                    </a:schemeClr>
                  </a:gs>
                  <a:gs pos="100000">
                    <a:schemeClr val="tx2">
                      <a:lumMod val="60000"/>
                      <a:lumOff val="40000"/>
                      <a:alpha val="4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Oval 7">
                <a:extLst>
                  <a:ext uri="{FF2B5EF4-FFF2-40B4-BE49-F238E27FC236}">
                    <a16:creationId xmlns:a16="http://schemas.microsoft.com/office/drawing/2014/main" id="{A8BB62F6-26AE-4F83-9963-9C74E468D7E8}"/>
                  </a:ext>
                </a:extLst>
              </p:cNvPr>
              <p:cNvSpPr/>
              <p:nvPr/>
            </p:nvSpPr>
            <p:spPr>
              <a:xfrm>
                <a:off x="3528061" y="1705113"/>
                <a:ext cx="3098876" cy="3098874"/>
              </a:xfrm>
              <a:prstGeom prst="ellipse">
                <a:avLst/>
              </a:prstGeom>
              <a:gradFill flip="none" rotWithShape="1">
                <a:gsLst>
                  <a:gs pos="0">
                    <a:schemeClr val="accent3">
                      <a:alpha val="75000"/>
                    </a:schemeClr>
                  </a:gs>
                  <a:gs pos="100000">
                    <a:schemeClr val="accent3">
                      <a:lumMod val="60000"/>
                      <a:lumOff val="40000"/>
                      <a:alpha val="6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Oval 8">
                <a:extLst>
                  <a:ext uri="{FF2B5EF4-FFF2-40B4-BE49-F238E27FC236}">
                    <a16:creationId xmlns:a16="http://schemas.microsoft.com/office/drawing/2014/main" id="{74331FC3-8018-43F3-A39E-CDF681CF2DCC}"/>
                  </a:ext>
                </a:extLst>
              </p:cNvPr>
              <p:cNvSpPr/>
              <p:nvPr/>
            </p:nvSpPr>
            <p:spPr>
              <a:xfrm>
                <a:off x="5565064" y="1705113"/>
                <a:ext cx="3098876" cy="3098874"/>
              </a:xfrm>
              <a:prstGeom prst="ellipse">
                <a:avLst/>
              </a:prstGeom>
              <a:gradFill flip="none" rotWithShape="1">
                <a:gsLst>
                  <a:gs pos="0">
                    <a:schemeClr val="accent4">
                      <a:lumMod val="75000"/>
                      <a:alpha val="80000"/>
                    </a:schemeClr>
                  </a:gs>
                  <a:gs pos="100000">
                    <a:schemeClr val="accent4">
                      <a:alpha val="4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Oval 6">
                <a:extLst>
                  <a:ext uri="{FF2B5EF4-FFF2-40B4-BE49-F238E27FC236}">
                    <a16:creationId xmlns:a16="http://schemas.microsoft.com/office/drawing/2014/main" id="{06C9F8C5-98CF-4CAC-B7B1-BA372DD479FF}"/>
                  </a:ext>
                </a:extLst>
              </p:cNvPr>
              <p:cNvSpPr/>
              <p:nvPr/>
            </p:nvSpPr>
            <p:spPr>
              <a:xfrm>
                <a:off x="4794324" y="216862"/>
                <a:ext cx="2603354" cy="2603354"/>
              </a:xfrm>
              <a:prstGeom prst="ellipse">
                <a:avLst/>
              </a:prstGeom>
              <a:gradFill flip="none" rotWithShape="1">
                <a:gsLst>
                  <a:gs pos="0">
                    <a:schemeClr val="accent1">
                      <a:alpha val="75000"/>
                    </a:schemeClr>
                  </a:gs>
                  <a:gs pos="100000">
                    <a:schemeClr val="accent1">
                      <a:lumMod val="60000"/>
                      <a:lumOff val="40000"/>
                      <a:alpha val="4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3" name="Group 12">
                <a:extLst>
                  <a:ext uri="{FF2B5EF4-FFF2-40B4-BE49-F238E27FC236}">
                    <a16:creationId xmlns:a16="http://schemas.microsoft.com/office/drawing/2014/main" id="{B4F45FE2-3775-47F3-9E55-EF9050EF086B}"/>
                  </a:ext>
                </a:extLst>
              </p:cNvPr>
              <p:cNvGrpSpPr/>
              <p:nvPr/>
            </p:nvGrpSpPr>
            <p:grpSpPr>
              <a:xfrm>
                <a:off x="2509559" y="216862"/>
                <a:ext cx="7172882" cy="6433764"/>
                <a:chOff x="4898655" y="216862"/>
                <a:chExt cx="7172882" cy="6433764"/>
              </a:xfrm>
            </p:grpSpPr>
            <p:sp>
              <p:nvSpPr>
                <p:cNvPr id="14" name="Oval 13">
                  <a:extLst>
                    <a:ext uri="{FF2B5EF4-FFF2-40B4-BE49-F238E27FC236}">
                      <a16:creationId xmlns:a16="http://schemas.microsoft.com/office/drawing/2014/main" id="{BDED1CCD-3982-4039-AC7B-8EF2EBBBBE32}"/>
                    </a:ext>
                  </a:extLst>
                </p:cNvPr>
                <p:cNvSpPr/>
                <p:nvPr/>
              </p:nvSpPr>
              <p:spPr>
                <a:xfrm>
                  <a:off x="7183419" y="216862"/>
                  <a:ext cx="2603354" cy="2603354"/>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Oval 14">
                  <a:extLst>
                    <a:ext uri="{FF2B5EF4-FFF2-40B4-BE49-F238E27FC236}">
                      <a16:creationId xmlns:a16="http://schemas.microsoft.com/office/drawing/2014/main" id="{2765C5D8-A701-4844-ABDB-9078DB32CBF9}"/>
                    </a:ext>
                  </a:extLst>
                </p:cNvPr>
                <p:cNvSpPr/>
                <p:nvPr/>
              </p:nvSpPr>
              <p:spPr>
                <a:xfrm>
                  <a:off x="5917157" y="1705113"/>
                  <a:ext cx="3098876" cy="3098874"/>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Oval 15">
                  <a:extLst>
                    <a:ext uri="{FF2B5EF4-FFF2-40B4-BE49-F238E27FC236}">
                      <a16:creationId xmlns:a16="http://schemas.microsoft.com/office/drawing/2014/main" id="{5DA15AED-015E-424E-ABEC-94D16DFFD270}"/>
                    </a:ext>
                  </a:extLst>
                </p:cNvPr>
                <p:cNvSpPr/>
                <p:nvPr/>
              </p:nvSpPr>
              <p:spPr>
                <a:xfrm>
                  <a:off x="7954160" y="1705113"/>
                  <a:ext cx="3098876" cy="3098874"/>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 name="Oval 16">
                  <a:extLst>
                    <a:ext uri="{FF2B5EF4-FFF2-40B4-BE49-F238E27FC236}">
                      <a16:creationId xmlns:a16="http://schemas.microsoft.com/office/drawing/2014/main" id="{7D4B4D59-FEE0-4F6E-B31E-D7BD93901F85}"/>
                    </a:ext>
                  </a:extLst>
                </p:cNvPr>
                <p:cNvSpPr/>
                <p:nvPr/>
              </p:nvSpPr>
              <p:spPr>
                <a:xfrm>
                  <a:off x="4898655" y="3551752"/>
                  <a:ext cx="3098876" cy="3098874"/>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8" name="Oval 17">
                  <a:extLst>
                    <a:ext uri="{FF2B5EF4-FFF2-40B4-BE49-F238E27FC236}">
                      <a16:creationId xmlns:a16="http://schemas.microsoft.com/office/drawing/2014/main" id="{CCB9F297-ED90-4945-B4EC-003B3869B011}"/>
                    </a:ext>
                  </a:extLst>
                </p:cNvPr>
                <p:cNvSpPr/>
                <p:nvPr/>
              </p:nvSpPr>
              <p:spPr>
                <a:xfrm>
                  <a:off x="8972661" y="3551752"/>
                  <a:ext cx="3098876" cy="3098874"/>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Oval 18">
                  <a:extLst>
                    <a:ext uri="{FF2B5EF4-FFF2-40B4-BE49-F238E27FC236}">
                      <a16:creationId xmlns:a16="http://schemas.microsoft.com/office/drawing/2014/main" id="{80FA63ED-8354-4869-94A7-80F0396F19E0}"/>
                    </a:ext>
                  </a:extLst>
                </p:cNvPr>
                <p:cNvSpPr/>
                <p:nvPr/>
              </p:nvSpPr>
              <p:spPr>
                <a:xfrm>
                  <a:off x="6935658" y="3551752"/>
                  <a:ext cx="3098876" cy="3098874"/>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sp>
          <p:nvSpPr>
            <p:cNvPr id="48" name="TextBox 47">
              <a:extLst>
                <a:ext uri="{FF2B5EF4-FFF2-40B4-BE49-F238E27FC236}">
                  <a16:creationId xmlns:a16="http://schemas.microsoft.com/office/drawing/2014/main" id="{82D2D1A7-0B29-40BC-9266-7A915068577F}"/>
                </a:ext>
              </a:extLst>
            </p:cNvPr>
            <p:cNvSpPr txBox="1"/>
            <p:nvPr/>
          </p:nvSpPr>
          <p:spPr>
            <a:xfrm>
              <a:off x="5513148" y="908591"/>
              <a:ext cx="1165704" cy="323165"/>
            </a:xfrm>
            <a:prstGeom prst="rect">
              <a:avLst/>
            </a:prstGeom>
            <a:noFill/>
          </p:spPr>
          <p:txBody>
            <a:bodyPr wrap="none" rtlCol="0" anchor="ctr" anchorCtr="0">
              <a:spAutoFit/>
            </a:bodyPr>
            <a:lstStyle/>
            <a:p>
              <a:pPr algn="ctr"/>
              <a:r>
                <a:rPr lang="en-US" sz="1500" b="1" dirty="0">
                  <a:solidFill>
                    <a:schemeClr val="bg1"/>
                  </a:solidFill>
                  <a:latin typeface="Montserrat" panose="00000500000000000000" pitchFamily="50" charset="0"/>
                </a:rPr>
                <a:t>CONTENT</a:t>
              </a:r>
            </a:p>
          </p:txBody>
        </p:sp>
        <p:sp>
          <p:nvSpPr>
            <p:cNvPr id="64" name="TextBox 63">
              <a:extLst>
                <a:ext uri="{FF2B5EF4-FFF2-40B4-BE49-F238E27FC236}">
                  <a16:creationId xmlns:a16="http://schemas.microsoft.com/office/drawing/2014/main" id="{8D073C91-E1DC-45FA-970B-DA6EB69D2FF6}"/>
                </a:ext>
              </a:extLst>
            </p:cNvPr>
            <p:cNvSpPr txBox="1"/>
            <p:nvPr/>
          </p:nvSpPr>
          <p:spPr>
            <a:xfrm>
              <a:off x="4015631" y="2844477"/>
              <a:ext cx="1242648" cy="323165"/>
            </a:xfrm>
            <a:prstGeom prst="rect">
              <a:avLst/>
            </a:prstGeom>
            <a:noFill/>
          </p:spPr>
          <p:txBody>
            <a:bodyPr wrap="none" rtlCol="0" anchor="ctr" anchorCtr="0">
              <a:spAutoFit/>
            </a:bodyPr>
            <a:lstStyle/>
            <a:p>
              <a:pPr algn="ctr"/>
              <a:r>
                <a:rPr lang="en-US" sz="1500" b="1" dirty="0">
                  <a:solidFill>
                    <a:schemeClr val="bg1"/>
                  </a:solidFill>
                  <a:latin typeface="Montserrat" panose="00000500000000000000" pitchFamily="50" charset="0"/>
                </a:rPr>
                <a:t>STRATEGY</a:t>
              </a:r>
            </a:p>
          </p:txBody>
        </p:sp>
        <p:sp>
          <p:nvSpPr>
            <p:cNvPr id="65" name="TextBox 64">
              <a:extLst>
                <a:ext uri="{FF2B5EF4-FFF2-40B4-BE49-F238E27FC236}">
                  <a16:creationId xmlns:a16="http://schemas.microsoft.com/office/drawing/2014/main" id="{A5F82C94-5EE4-4D9F-A321-6FAC1F056D1E}"/>
                </a:ext>
              </a:extLst>
            </p:cNvPr>
            <p:cNvSpPr txBox="1"/>
            <p:nvPr/>
          </p:nvSpPr>
          <p:spPr>
            <a:xfrm>
              <a:off x="6742772" y="2729061"/>
              <a:ext cx="1686680" cy="553998"/>
            </a:xfrm>
            <a:prstGeom prst="rect">
              <a:avLst/>
            </a:prstGeom>
            <a:noFill/>
          </p:spPr>
          <p:txBody>
            <a:bodyPr wrap="none" rtlCol="0" anchor="ctr" anchorCtr="0">
              <a:spAutoFit/>
            </a:bodyPr>
            <a:lstStyle/>
            <a:p>
              <a:pPr algn="ctr"/>
              <a:r>
                <a:rPr lang="en-US" sz="1500" b="1" dirty="0">
                  <a:solidFill>
                    <a:schemeClr val="bg1"/>
                  </a:solidFill>
                  <a:latin typeface="Montserrat" panose="00000500000000000000" pitchFamily="50" charset="0"/>
                </a:rPr>
                <a:t>PROJECT</a:t>
              </a:r>
            </a:p>
            <a:p>
              <a:pPr algn="ctr"/>
              <a:r>
                <a:rPr lang="en-US" sz="1500" b="1" dirty="0">
                  <a:solidFill>
                    <a:schemeClr val="bg1"/>
                  </a:solidFill>
                  <a:latin typeface="Montserrat" panose="00000500000000000000" pitchFamily="50" charset="0"/>
                </a:rPr>
                <a:t>MANAGEMENT</a:t>
              </a:r>
            </a:p>
          </p:txBody>
        </p:sp>
        <p:sp>
          <p:nvSpPr>
            <p:cNvPr id="66" name="TextBox 65">
              <a:extLst>
                <a:ext uri="{FF2B5EF4-FFF2-40B4-BE49-F238E27FC236}">
                  <a16:creationId xmlns:a16="http://schemas.microsoft.com/office/drawing/2014/main" id="{0235DA46-A906-4C2A-9929-5F4E5140F17E}"/>
                </a:ext>
              </a:extLst>
            </p:cNvPr>
            <p:cNvSpPr txBox="1"/>
            <p:nvPr/>
          </p:nvSpPr>
          <p:spPr>
            <a:xfrm>
              <a:off x="2736308" y="5137065"/>
              <a:ext cx="1754006" cy="323165"/>
            </a:xfrm>
            <a:prstGeom prst="rect">
              <a:avLst/>
            </a:prstGeom>
            <a:noFill/>
          </p:spPr>
          <p:txBody>
            <a:bodyPr wrap="none" rtlCol="0" anchor="ctr" anchorCtr="0">
              <a:spAutoFit/>
            </a:bodyPr>
            <a:lstStyle/>
            <a:p>
              <a:pPr algn="ctr"/>
              <a:r>
                <a:rPr lang="en-US" sz="1500" b="1" dirty="0">
                  <a:solidFill>
                    <a:schemeClr val="bg1"/>
                  </a:solidFill>
                  <a:latin typeface="Montserrat" panose="00000500000000000000" pitchFamily="50" charset="0"/>
                </a:rPr>
                <a:t>DEVELOPMENT</a:t>
              </a:r>
            </a:p>
          </p:txBody>
        </p:sp>
        <p:sp>
          <p:nvSpPr>
            <p:cNvPr id="67" name="TextBox 66">
              <a:extLst>
                <a:ext uri="{FF2B5EF4-FFF2-40B4-BE49-F238E27FC236}">
                  <a16:creationId xmlns:a16="http://schemas.microsoft.com/office/drawing/2014/main" id="{7FFD7899-3388-4B19-B108-4F5BF55496FA}"/>
                </a:ext>
              </a:extLst>
            </p:cNvPr>
            <p:cNvSpPr txBox="1"/>
            <p:nvPr/>
          </p:nvSpPr>
          <p:spPr>
            <a:xfrm>
              <a:off x="7814701" y="5137065"/>
              <a:ext cx="1527982" cy="323165"/>
            </a:xfrm>
            <a:prstGeom prst="rect">
              <a:avLst/>
            </a:prstGeom>
            <a:noFill/>
          </p:spPr>
          <p:txBody>
            <a:bodyPr wrap="none" rtlCol="0" anchor="ctr" anchorCtr="0">
              <a:spAutoFit/>
            </a:bodyPr>
            <a:lstStyle/>
            <a:p>
              <a:pPr algn="ctr"/>
              <a:r>
                <a:rPr lang="en-US" sz="1500" b="1" dirty="0">
                  <a:solidFill>
                    <a:schemeClr val="bg1"/>
                  </a:solidFill>
                  <a:latin typeface="Montserrat" panose="00000500000000000000" pitchFamily="50" charset="0"/>
                </a:rPr>
                <a:t>OPERATIONS</a:t>
              </a:r>
            </a:p>
          </p:txBody>
        </p:sp>
        <p:sp>
          <p:nvSpPr>
            <p:cNvPr id="68" name="TextBox 67">
              <a:extLst>
                <a:ext uri="{FF2B5EF4-FFF2-40B4-BE49-F238E27FC236}">
                  <a16:creationId xmlns:a16="http://schemas.microsoft.com/office/drawing/2014/main" id="{CD4F0543-2701-423B-93DE-D5BF73F80796}"/>
                </a:ext>
              </a:extLst>
            </p:cNvPr>
            <p:cNvSpPr txBox="1"/>
            <p:nvPr/>
          </p:nvSpPr>
          <p:spPr>
            <a:xfrm>
              <a:off x="5540400" y="5902421"/>
              <a:ext cx="1111202" cy="323165"/>
            </a:xfrm>
            <a:prstGeom prst="rect">
              <a:avLst/>
            </a:prstGeom>
            <a:noFill/>
          </p:spPr>
          <p:txBody>
            <a:bodyPr wrap="none" rtlCol="0" anchor="ctr" anchorCtr="0">
              <a:spAutoFit/>
            </a:bodyPr>
            <a:lstStyle/>
            <a:p>
              <a:pPr algn="ctr"/>
              <a:r>
                <a:rPr lang="en-US" sz="1500" b="1" dirty="0">
                  <a:solidFill>
                    <a:schemeClr val="bg1"/>
                  </a:solidFill>
                  <a:latin typeface="Montserrat" panose="00000500000000000000" pitchFamily="50" charset="0"/>
                </a:rPr>
                <a:t>HOSTING</a:t>
              </a:r>
            </a:p>
          </p:txBody>
        </p:sp>
        <p:sp>
          <p:nvSpPr>
            <p:cNvPr id="84" name="TextBox 83">
              <a:extLst>
                <a:ext uri="{FF2B5EF4-FFF2-40B4-BE49-F238E27FC236}">
                  <a16:creationId xmlns:a16="http://schemas.microsoft.com/office/drawing/2014/main" id="{1FF983E8-184E-4FBA-AFC2-FF37E805F1E9}"/>
                </a:ext>
              </a:extLst>
            </p:cNvPr>
            <p:cNvSpPr txBox="1"/>
            <p:nvPr/>
          </p:nvSpPr>
          <p:spPr>
            <a:xfrm>
              <a:off x="5808102" y="571739"/>
              <a:ext cx="575799" cy="246221"/>
            </a:xfrm>
            <a:prstGeom prst="rect">
              <a:avLst/>
            </a:prstGeom>
            <a:noFill/>
          </p:spPr>
          <p:txBody>
            <a:bodyPr wrap="none" rtlCol="0" anchor="ctr" anchorCtr="0">
              <a:spAutoFit/>
            </a:bodyPr>
            <a:lstStyle/>
            <a:p>
              <a:pPr algn="ctr"/>
              <a:r>
                <a:rPr lang="en-US" sz="1000" dirty="0">
                  <a:solidFill>
                    <a:schemeClr val="bg1"/>
                  </a:solidFill>
                  <a:latin typeface="Montserrat" panose="00000500000000000000" pitchFamily="50" charset="0"/>
                </a:rPr>
                <a:t>Editor</a:t>
              </a:r>
            </a:p>
          </p:txBody>
        </p:sp>
        <p:sp>
          <p:nvSpPr>
            <p:cNvPr id="85" name="TextBox 84">
              <a:extLst>
                <a:ext uri="{FF2B5EF4-FFF2-40B4-BE49-F238E27FC236}">
                  <a16:creationId xmlns:a16="http://schemas.microsoft.com/office/drawing/2014/main" id="{C3BF8DAB-0FA7-401A-BA4A-E531107FACAD}"/>
                </a:ext>
              </a:extLst>
            </p:cNvPr>
            <p:cNvSpPr txBox="1"/>
            <p:nvPr/>
          </p:nvSpPr>
          <p:spPr>
            <a:xfrm>
              <a:off x="5416173" y="1322606"/>
              <a:ext cx="1359668" cy="246221"/>
            </a:xfrm>
            <a:prstGeom prst="rect">
              <a:avLst/>
            </a:prstGeom>
            <a:noFill/>
          </p:spPr>
          <p:txBody>
            <a:bodyPr wrap="none" rtlCol="0" anchor="ctr" anchorCtr="0">
              <a:spAutoFit/>
            </a:bodyPr>
            <a:lstStyle/>
            <a:p>
              <a:pPr algn="ctr"/>
              <a:r>
                <a:rPr lang="en-US" sz="1000" dirty="0">
                  <a:solidFill>
                    <a:schemeClr val="bg1"/>
                  </a:solidFill>
                  <a:latin typeface="Montserrat" panose="00000500000000000000" pitchFamily="50" charset="0"/>
                </a:rPr>
                <a:t>Project Manager +</a:t>
              </a:r>
            </a:p>
          </p:txBody>
        </p:sp>
        <p:sp>
          <p:nvSpPr>
            <p:cNvPr id="86" name="TextBox 85">
              <a:extLst>
                <a:ext uri="{FF2B5EF4-FFF2-40B4-BE49-F238E27FC236}">
                  <a16:creationId xmlns:a16="http://schemas.microsoft.com/office/drawing/2014/main" id="{6A274333-8FC7-40C1-B784-7ECE8DAE1F6D}"/>
                </a:ext>
              </a:extLst>
            </p:cNvPr>
            <p:cNvSpPr txBox="1"/>
            <p:nvPr/>
          </p:nvSpPr>
          <p:spPr>
            <a:xfrm>
              <a:off x="5662234" y="2366413"/>
              <a:ext cx="867545" cy="400110"/>
            </a:xfrm>
            <a:prstGeom prst="rect">
              <a:avLst/>
            </a:prstGeom>
            <a:noFill/>
          </p:spPr>
          <p:txBody>
            <a:bodyPr wrap="none" rtlCol="0" anchor="ctr" anchorCtr="0">
              <a:spAutoFit/>
            </a:bodyPr>
            <a:lstStyle/>
            <a:p>
              <a:pPr algn="ctr"/>
              <a:r>
                <a:rPr lang="en-US" sz="1000" dirty="0">
                  <a:solidFill>
                    <a:schemeClr val="bg1"/>
                  </a:solidFill>
                  <a:latin typeface="Montserrat" panose="00000500000000000000" pitchFamily="50" charset="0"/>
                </a:rPr>
                <a:t>Project</a:t>
              </a:r>
            </a:p>
            <a:p>
              <a:pPr algn="ctr"/>
              <a:r>
                <a:rPr lang="en-US" sz="1000" dirty="0">
                  <a:solidFill>
                    <a:schemeClr val="bg1"/>
                  </a:solidFill>
                  <a:latin typeface="Montserrat" panose="00000500000000000000" pitchFamily="50" charset="0"/>
                </a:rPr>
                <a:t>Manager +</a:t>
              </a:r>
            </a:p>
          </p:txBody>
        </p:sp>
        <p:sp>
          <p:nvSpPr>
            <p:cNvPr id="87" name="TextBox 86">
              <a:extLst>
                <a:ext uri="{FF2B5EF4-FFF2-40B4-BE49-F238E27FC236}">
                  <a16:creationId xmlns:a16="http://schemas.microsoft.com/office/drawing/2014/main" id="{D3BA1B13-C652-4880-B9A7-24743A9FF1E2}"/>
                </a:ext>
              </a:extLst>
            </p:cNvPr>
            <p:cNvSpPr txBox="1"/>
            <p:nvPr/>
          </p:nvSpPr>
          <p:spPr>
            <a:xfrm>
              <a:off x="4918215" y="1907907"/>
              <a:ext cx="1021433" cy="400110"/>
            </a:xfrm>
            <a:prstGeom prst="rect">
              <a:avLst/>
            </a:prstGeom>
            <a:noFill/>
          </p:spPr>
          <p:txBody>
            <a:bodyPr wrap="none" rtlCol="0" anchor="ctr" anchorCtr="0">
              <a:spAutoFit/>
            </a:bodyPr>
            <a:lstStyle/>
            <a:p>
              <a:pPr algn="ctr"/>
              <a:r>
                <a:rPr lang="en-US" sz="1000" dirty="0">
                  <a:solidFill>
                    <a:schemeClr val="bg1"/>
                  </a:solidFill>
                  <a:latin typeface="Montserrat" panose="00000500000000000000" pitchFamily="50" charset="0"/>
                </a:rPr>
                <a:t>Dir. of Digital</a:t>
              </a:r>
            </a:p>
            <a:p>
              <a:pPr algn="ctr"/>
              <a:r>
                <a:rPr lang="en-US" sz="1000" dirty="0">
                  <a:solidFill>
                    <a:schemeClr val="bg1"/>
                  </a:solidFill>
                  <a:latin typeface="Montserrat" panose="00000500000000000000" pitchFamily="50" charset="0"/>
                </a:rPr>
                <a:t>Strategy</a:t>
              </a:r>
            </a:p>
          </p:txBody>
        </p:sp>
        <p:sp>
          <p:nvSpPr>
            <p:cNvPr id="88" name="TextBox 87">
              <a:extLst>
                <a:ext uri="{FF2B5EF4-FFF2-40B4-BE49-F238E27FC236}">
                  <a16:creationId xmlns:a16="http://schemas.microsoft.com/office/drawing/2014/main" id="{20F35548-3FBD-46EB-A1BC-8547E97FDF0B}"/>
                </a:ext>
              </a:extLst>
            </p:cNvPr>
            <p:cNvSpPr txBox="1"/>
            <p:nvPr/>
          </p:nvSpPr>
          <p:spPr>
            <a:xfrm>
              <a:off x="5621350" y="2988519"/>
              <a:ext cx="949299" cy="400110"/>
            </a:xfrm>
            <a:prstGeom prst="rect">
              <a:avLst/>
            </a:prstGeom>
            <a:noFill/>
          </p:spPr>
          <p:txBody>
            <a:bodyPr wrap="none" rtlCol="0" anchor="ctr" anchorCtr="0">
              <a:spAutoFit/>
            </a:bodyPr>
            <a:lstStyle/>
            <a:p>
              <a:pPr algn="ctr"/>
              <a:r>
                <a:rPr lang="en-US" sz="1000" dirty="0">
                  <a:solidFill>
                    <a:schemeClr val="bg1"/>
                  </a:solidFill>
                  <a:latin typeface="Montserrat" panose="00000500000000000000" pitchFamily="50" charset="0"/>
                </a:rPr>
                <a:t>Information</a:t>
              </a:r>
            </a:p>
            <a:p>
              <a:pPr algn="ctr"/>
              <a:r>
                <a:rPr lang="en-US" sz="1000" dirty="0">
                  <a:solidFill>
                    <a:schemeClr val="bg1"/>
                  </a:solidFill>
                  <a:latin typeface="Montserrat" panose="00000500000000000000" pitchFamily="50" charset="0"/>
                </a:rPr>
                <a:t>Architect</a:t>
              </a:r>
            </a:p>
          </p:txBody>
        </p:sp>
        <p:sp>
          <p:nvSpPr>
            <p:cNvPr id="90" name="TextBox 89">
              <a:extLst>
                <a:ext uri="{FF2B5EF4-FFF2-40B4-BE49-F238E27FC236}">
                  <a16:creationId xmlns:a16="http://schemas.microsoft.com/office/drawing/2014/main" id="{700A2BEC-0FF1-4C17-838B-C073093F1FFF}"/>
                </a:ext>
              </a:extLst>
            </p:cNvPr>
            <p:cNvSpPr txBox="1"/>
            <p:nvPr/>
          </p:nvSpPr>
          <p:spPr>
            <a:xfrm>
              <a:off x="6270079" y="1882507"/>
              <a:ext cx="906017" cy="400110"/>
            </a:xfrm>
            <a:prstGeom prst="rect">
              <a:avLst/>
            </a:prstGeom>
            <a:noFill/>
          </p:spPr>
          <p:txBody>
            <a:bodyPr wrap="none" rtlCol="0" anchor="ctr" anchorCtr="0">
              <a:spAutoFit/>
            </a:bodyPr>
            <a:lstStyle/>
            <a:p>
              <a:pPr algn="ctr"/>
              <a:r>
                <a:rPr lang="en-US" sz="1000" dirty="0">
                  <a:solidFill>
                    <a:schemeClr val="bg1"/>
                  </a:solidFill>
                  <a:latin typeface="Montserrat" panose="00000500000000000000" pitchFamily="50" charset="0"/>
                </a:rPr>
                <a:t>Dir. Of</a:t>
              </a:r>
            </a:p>
            <a:p>
              <a:pPr algn="ctr"/>
              <a:r>
                <a:rPr lang="en-US" sz="1000" dirty="0">
                  <a:solidFill>
                    <a:schemeClr val="bg1"/>
                  </a:solidFill>
                  <a:latin typeface="Montserrat" panose="00000500000000000000" pitchFamily="50" charset="0"/>
                </a:rPr>
                <a:t>Production</a:t>
              </a:r>
            </a:p>
          </p:txBody>
        </p:sp>
        <p:sp>
          <p:nvSpPr>
            <p:cNvPr id="91" name="TextBox 90">
              <a:extLst>
                <a:ext uri="{FF2B5EF4-FFF2-40B4-BE49-F238E27FC236}">
                  <a16:creationId xmlns:a16="http://schemas.microsoft.com/office/drawing/2014/main" id="{B80215D5-2E48-4BB3-BECB-F3A904F95924}"/>
                </a:ext>
              </a:extLst>
            </p:cNvPr>
            <p:cNvSpPr txBox="1"/>
            <p:nvPr/>
          </p:nvSpPr>
          <p:spPr>
            <a:xfrm>
              <a:off x="5709515" y="3599114"/>
              <a:ext cx="772968" cy="400110"/>
            </a:xfrm>
            <a:prstGeom prst="rect">
              <a:avLst/>
            </a:prstGeom>
            <a:noFill/>
          </p:spPr>
          <p:txBody>
            <a:bodyPr wrap="none" rtlCol="0" anchor="ctr" anchorCtr="0">
              <a:spAutoFit/>
            </a:bodyPr>
            <a:lstStyle/>
            <a:p>
              <a:pPr algn="ctr"/>
              <a:r>
                <a:rPr lang="en-US" sz="1000" dirty="0">
                  <a:solidFill>
                    <a:schemeClr val="bg1"/>
                  </a:solidFill>
                  <a:latin typeface="Montserrat" panose="00000500000000000000" pitchFamily="50" charset="0"/>
                </a:rPr>
                <a:t>System</a:t>
              </a:r>
            </a:p>
            <a:p>
              <a:pPr algn="ctr"/>
              <a:r>
                <a:rPr lang="en-US" sz="1000" dirty="0">
                  <a:solidFill>
                    <a:schemeClr val="bg1"/>
                  </a:solidFill>
                  <a:latin typeface="Montserrat" panose="00000500000000000000" pitchFamily="50" charset="0"/>
                </a:rPr>
                <a:t>Architect</a:t>
              </a:r>
            </a:p>
          </p:txBody>
        </p:sp>
        <p:sp>
          <p:nvSpPr>
            <p:cNvPr id="92" name="TextBox 91">
              <a:extLst>
                <a:ext uri="{FF2B5EF4-FFF2-40B4-BE49-F238E27FC236}">
                  <a16:creationId xmlns:a16="http://schemas.microsoft.com/office/drawing/2014/main" id="{2275938E-7FF2-4294-A1EF-AC53154F1FE1}"/>
                </a:ext>
              </a:extLst>
            </p:cNvPr>
            <p:cNvSpPr txBox="1"/>
            <p:nvPr/>
          </p:nvSpPr>
          <p:spPr>
            <a:xfrm>
              <a:off x="7457607" y="3786583"/>
              <a:ext cx="867545" cy="400110"/>
            </a:xfrm>
            <a:prstGeom prst="rect">
              <a:avLst/>
            </a:prstGeom>
            <a:noFill/>
          </p:spPr>
          <p:txBody>
            <a:bodyPr wrap="none" rtlCol="0" anchor="ctr" anchorCtr="0">
              <a:spAutoFit/>
            </a:bodyPr>
            <a:lstStyle/>
            <a:p>
              <a:pPr algn="ctr"/>
              <a:r>
                <a:rPr lang="en-US" sz="1000" dirty="0">
                  <a:solidFill>
                    <a:schemeClr val="bg1"/>
                  </a:solidFill>
                  <a:latin typeface="Montserrat" panose="00000500000000000000" pitchFamily="50" charset="0"/>
                </a:rPr>
                <a:t>Project</a:t>
              </a:r>
            </a:p>
            <a:p>
              <a:pPr algn="ctr"/>
              <a:r>
                <a:rPr lang="en-US" sz="1000" dirty="0">
                  <a:solidFill>
                    <a:schemeClr val="bg1"/>
                  </a:solidFill>
                  <a:latin typeface="Montserrat" panose="00000500000000000000" pitchFamily="50" charset="0"/>
                </a:rPr>
                <a:t>Manager +</a:t>
              </a:r>
            </a:p>
          </p:txBody>
        </p:sp>
        <p:sp>
          <p:nvSpPr>
            <p:cNvPr id="93" name="TextBox 92">
              <a:extLst>
                <a:ext uri="{FF2B5EF4-FFF2-40B4-BE49-F238E27FC236}">
                  <a16:creationId xmlns:a16="http://schemas.microsoft.com/office/drawing/2014/main" id="{5ACF3CF7-6F87-4D96-AA2A-3E61E1CD2650}"/>
                </a:ext>
              </a:extLst>
            </p:cNvPr>
            <p:cNvSpPr txBox="1"/>
            <p:nvPr/>
          </p:nvSpPr>
          <p:spPr>
            <a:xfrm>
              <a:off x="6622668" y="5172676"/>
              <a:ext cx="963726" cy="246221"/>
            </a:xfrm>
            <a:prstGeom prst="rect">
              <a:avLst/>
            </a:prstGeom>
            <a:noFill/>
          </p:spPr>
          <p:txBody>
            <a:bodyPr wrap="none" rtlCol="0" anchor="ctr" anchorCtr="0">
              <a:spAutoFit/>
            </a:bodyPr>
            <a:lstStyle/>
            <a:p>
              <a:pPr algn="ctr"/>
              <a:r>
                <a:rPr lang="en-US" sz="1000" dirty="0">
                  <a:solidFill>
                    <a:schemeClr val="bg1"/>
                  </a:solidFill>
                  <a:latin typeface="Montserrat" panose="00000500000000000000" pitchFamily="50" charset="0"/>
                </a:rPr>
                <a:t>Bookkeeper</a:t>
              </a:r>
            </a:p>
          </p:txBody>
        </p:sp>
        <p:sp>
          <p:nvSpPr>
            <p:cNvPr id="94" name="TextBox 93">
              <a:extLst>
                <a:ext uri="{FF2B5EF4-FFF2-40B4-BE49-F238E27FC236}">
                  <a16:creationId xmlns:a16="http://schemas.microsoft.com/office/drawing/2014/main" id="{B69F8325-539F-4A4D-9634-270DE15C8CEB}"/>
                </a:ext>
              </a:extLst>
            </p:cNvPr>
            <p:cNvSpPr txBox="1"/>
            <p:nvPr/>
          </p:nvSpPr>
          <p:spPr>
            <a:xfrm>
              <a:off x="4655752" y="5095732"/>
              <a:ext cx="843500" cy="400110"/>
            </a:xfrm>
            <a:prstGeom prst="rect">
              <a:avLst/>
            </a:prstGeom>
            <a:noFill/>
          </p:spPr>
          <p:txBody>
            <a:bodyPr wrap="none" rtlCol="0" anchor="ctr" anchorCtr="0">
              <a:spAutoFit/>
            </a:bodyPr>
            <a:lstStyle/>
            <a:p>
              <a:pPr algn="ctr"/>
              <a:r>
                <a:rPr lang="en-US" sz="1000" dirty="0">
                  <a:solidFill>
                    <a:schemeClr val="bg1"/>
                  </a:solidFill>
                  <a:latin typeface="Montserrat" panose="00000500000000000000" pitchFamily="50" charset="0"/>
                </a:rPr>
                <a:t>Back-End</a:t>
              </a:r>
            </a:p>
            <a:p>
              <a:pPr algn="ctr"/>
              <a:r>
                <a:rPr lang="en-US" sz="1000" dirty="0">
                  <a:solidFill>
                    <a:schemeClr val="bg1"/>
                  </a:solidFill>
                  <a:latin typeface="Montserrat" panose="00000500000000000000" pitchFamily="50" charset="0"/>
                </a:rPr>
                <a:t>Developer</a:t>
              </a:r>
            </a:p>
          </p:txBody>
        </p:sp>
        <p:sp>
          <p:nvSpPr>
            <p:cNvPr id="95" name="TextBox 94">
              <a:extLst>
                <a:ext uri="{FF2B5EF4-FFF2-40B4-BE49-F238E27FC236}">
                  <a16:creationId xmlns:a16="http://schemas.microsoft.com/office/drawing/2014/main" id="{D40E6A47-B064-4686-A100-7A8DFB1C0F0A}"/>
                </a:ext>
              </a:extLst>
            </p:cNvPr>
            <p:cNvSpPr txBox="1"/>
            <p:nvPr/>
          </p:nvSpPr>
          <p:spPr>
            <a:xfrm>
              <a:off x="3890348" y="3807744"/>
              <a:ext cx="798616" cy="400110"/>
            </a:xfrm>
            <a:prstGeom prst="rect">
              <a:avLst/>
            </a:prstGeom>
            <a:noFill/>
          </p:spPr>
          <p:txBody>
            <a:bodyPr wrap="none" rtlCol="0" anchor="ctr" anchorCtr="0">
              <a:spAutoFit/>
            </a:bodyPr>
            <a:lstStyle/>
            <a:p>
              <a:pPr algn="ctr"/>
              <a:r>
                <a:rPr lang="en-US" sz="1000" dirty="0">
                  <a:solidFill>
                    <a:schemeClr val="bg1"/>
                  </a:solidFill>
                  <a:latin typeface="Montserrat" panose="00000500000000000000" pitchFamily="50" charset="0"/>
                </a:rPr>
                <a:t>Technical</a:t>
              </a:r>
            </a:p>
            <a:p>
              <a:pPr algn="ctr"/>
              <a:r>
                <a:rPr lang="en-US" sz="1000" dirty="0">
                  <a:solidFill>
                    <a:schemeClr val="bg1"/>
                  </a:solidFill>
                  <a:latin typeface="Montserrat" panose="00000500000000000000" pitchFamily="50" charset="0"/>
                </a:rPr>
                <a:t>Lead</a:t>
              </a:r>
            </a:p>
          </p:txBody>
        </p:sp>
        <p:sp>
          <p:nvSpPr>
            <p:cNvPr id="96" name="TextBox 95">
              <a:extLst>
                <a:ext uri="{FF2B5EF4-FFF2-40B4-BE49-F238E27FC236}">
                  <a16:creationId xmlns:a16="http://schemas.microsoft.com/office/drawing/2014/main" id="{47206AB8-6469-410F-BBE3-0FCC3AE70D42}"/>
                </a:ext>
              </a:extLst>
            </p:cNvPr>
            <p:cNvSpPr txBox="1"/>
            <p:nvPr/>
          </p:nvSpPr>
          <p:spPr>
            <a:xfrm>
              <a:off x="4733849" y="4320667"/>
              <a:ext cx="708848" cy="400110"/>
            </a:xfrm>
            <a:prstGeom prst="rect">
              <a:avLst/>
            </a:prstGeom>
            <a:noFill/>
          </p:spPr>
          <p:txBody>
            <a:bodyPr wrap="none" rtlCol="0" anchor="ctr" anchorCtr="0">
              <a:spAutoFit/>
            </a:bodyPr>
            <a:lstStyle/>
            <a:p>
              <a:pPr algn="ctr"/>
              <a:r>
                <a:rPr lang="en-US" sz="1000" dirty="0">
                  <a:solidFill>
                    <a:schemeClr val="bg1"/>
                  </a:solidFill>
                  <a:latin typeface="Montserrat" panose="00000500000000000000" pitchFamily="50" charset="0"/>
                </a:rPr>
                <a:t>Director</a:t>
              </a:r>
            </a:p>
            <a:p>
              <a:pPr algn="ctr"/>
              <a:r>
                <a:rPr lang="en-US" sz="1000" dirty="0">
                  <a:solidFill>
                    <a:schemeClr val="bg1"/>
                  </a:solidFill>
                  <a:latin typeface="Montserrat" panose="00000500000000000000" pitchFamily="50" charset="0"/>
                </a:rPr>
                <a:t>of Dev.</a:t>
              </a:r>
            </a:p>
          </p:txBody>
        </p:sp>
        <p:sp>
          <p:nvSpPr>
            <p:cNvPr id="97" name="TextBox 96">
              <a:extLst>
                <a:ext uri="{FF2B5EF4-FFF2-40B4-BE49-F238E27FC236}">
                  <a16:creationId xmlns:a16="http://schemas.microsoft.com/office/drawing/2014/main" id="{4D630548-1159-49D3-9DF7-2A1EF56D31A5}"/>
                </a:ext>
              </a:extLst>
            </p:cNvPr>
            <p:cNvSpPr txBox="1"/>
            <p:nvPr/>
          </p:nvSpPr>
          <p:spPr>
            <a:xfrm rot="3600000">
              <a:off x="5175180" y="3969520"/>
              <a:ext cx="806631" cy="400110"/>
            </a:xfrm>
            <a:prstGeom prst="rect">
              <a:avLst/>
            </a:prstGeom>
            <a:noFill/>
          </p:spPr>
          <p:txBody>
            <a:bodyPr wrap="none" rtlCol="0" anchor="ctr" anchorCtr="0">
              <a:spAutoFit/>
            </a:bodyPr>
            <a:lstStyle/>
            <a:p>
              <a:pPr algn="ctr"/>
              <a:r>
                <a:rPr lang="en-US" sz="1000" dirty="0">
                  <a:solidFill>
                    <a:schemeClr val="bg1"/>
                  </a:solidFill>
                  <a:latin typeface="Montserrat" panose="00000500000000000000" pitchFamily="50" charset="0"/>
                </a:rPr>
                <a:t>Digital</a:t>
              </a:r>
            </a:p>
            <a:p>
              <a:pPr algn="ctr"/>
              <a:r>
                <a:rPr lang="en-US" sz="1000" dirty="0">
                  <a:solidFill>
                    <a:schemeClr val="bg1"/>
                  </a:solidFill>
                  <a:latin typeface="Montserrat" panose="00000500000000000000" pitchFamily="50" charset="0"/>
                </a:rPr>
                <a:t>Strategist</a:t>
              </a:r>
            </a:p>
          </p:txBody>
        </p:sp>
        <p:sp>
          <p:nvSpPr>
            <p:cNvPr id="98" name="TextBox 97">
              <a:extLst>
                <a:ext uri="{FF2B5EF4-FFF2-40B4-BE49-F238E27FC236}">
                  <a16:creationId xmlns:a16="http://schemas.microsoft.com/office/drawing/2014/main" id="{859A928B-B416-4B03-82F8-9756802A415A}"/>
                </a:ext>
              </a:extLst>
            </p:cNvPr>
            <p:cNvSpPr txBox="1"/>
            <p:nvPr/>
          </p:nvSpPr>
          <p:spPr>
            <a:xfrm>
              <a:off x="2964320" y="4418829"/>
              <a:ext cx="845103" cy="400110"/>
            </a:xfrm>
            <a:prstGeom prst="rect">
              <a:avLst/>
            </a:prstGeom>
            <a:noFill/>
          </p:spPr>
          <p:txBody>
            <a:bodyPr wrap="none" rtlCol="0" anchor="ctr" anchorCtr="0">
              <a:spAutoFit/>
            </a:bodyPr>
            <a:lstStyle/>
            <a:p>
              <a:pPr algn="ctr"/>
              <a:r>
                <a:rPr lang="en-US" sz="1000" dirty="0">
                  <a:solidFill>
                    <a:schemeClr val="bg1"/>
                  </a:solidFill>
                  <a:latin typeface="Montserrat" panose="00000500000000000000" pitchFamily="50" charset="0"/>
                </a:rPr>
                <a:t>Front-End</a:t>
              </a:r>
            </a:p>
            <a:p>
              <a:pPr algn="ctr"/>
              <a:r>
                <a:rPr lang="en-US" sz="1000" dirty="0">
                  <a:solidFill>
                    <a:schemeClr val="bg1"/>
                  </a:solidFill>
                  <a:latin typeface="Montserrat" panose="00000500000000000000" pitchFamily="50" charset="0"/>
                </a:rPr>
                <a:t>Developer</a:t>
              </a:r>
            </a:p>
          </p:txBody>
        </p:sp>
        <p:sp>
          <p:nvSpPr>
            <p:cNvPr id="99" name="TextBox 98">
              <a:extLst>
                <a:ext uri="{FF2B5EF4-FFF2-40B4-BE49-F238E27FC236}">
                  <a16:creationId xmlns:a16="http://schemas.microsoft.com/office/drawing/2014/main" id="{F6806307-0372-425D-BA4D-03868125F811}"/>
                </a:ext>
              </a:extLst>
            </p:cNvPr>
            <p:cNvSpPr txBox="1"/>
            <p:nvPr/>
          </p:nvSpPr>
          <p:spPr>
            <a:xfrm>
              <a:off x="2964320" y="5535523"/>
              <a:ext cx="845103" cy="400110"/>
            </a:xfrm>
            <a:prstGeom prst="rect">
              <a:avLst/>
            </a:prstGeom>
            <a:noFill/>
          </p:spPr>
          <p:txBody>
            <a:bodyPr wrap="none" rtlCol="0" anchor="ctr" anchorCtr="0">
              <a:spAutoFit/>
            </a:bodyPr>
            <a:lstStyle/>
            <a:p>
              <a:pPr algn="ctr"/>
              <a:r>
                <a:rPr lang="en-US" sz="1000" dirty="0">
                  <a:solidFill>
                    <a:schemeClr val="bg1"/>
                  </a:solidFill>
                  <a:latin typeface="Montserrat" panose="00000500000000000000" pitchFamily="50" charset="0"/>
                </a:rPr>
                <a:t>Back-End</a:t>
              </a:r>
            </a:p>
            <a:p>
              <a:pPr algn="ctr"/>
              <a:r>
                <a:rPr lang="en-US" sz="1000" dirty="0">
                  <a:solidFill>
                    <a:schemeClr val="bg1"/>
                  </a:solidFill>
                  <a:latin typeface="Montserrat" panose="00000500000000000000" pitchFamily="50" charset="0"/>
                </a:rPr>
                <a:t>Developer</a:t>
              </a:r>
            </a:p>
          </p:txBody>
        </p:sp>
        <p:sp>
          <p:nvSpPr>
            <p:cNvPr id="100" name="TextBox 99">
              <a:extLst>
                <a:ext uri="{FF2B5EF4-FFF2-40B4-BE49-F238E27FC236}">
                  <a16:creationId xmlns:a16="http://schemas.microsoft.com/office/drawing/2014/main" id="{81B72D6D-05A3-42EB-8A8C-9205246F7B77}"/>
                </a:ext>
              </a:extLst>
            </p:cNvPr>
            <p:cNvSpPr txBox="1"/>
            <p:nvPr/>
          </p:nvSpPr>
          <p:spPr>
            <a:xfrm>
              <a:off x="3727532" y="5892128"/>
              <a:ext cx="843501" cy="400110"/>
            </a:xfrm>
            <a:prstGeom prst="rect">
              <a:avLst/>
            </a:prstGeom>
            <a:noFill/>
          </p:spPr>
          <p:txBody>
            <a:bodyPr wrap="none" rtlCol="0" anchor="ctr" anchorCtr="0">
              <a:spAutoFit/>
            </a:bodyPr>
            <a:lstStyle/>
            <a:p>
              <a:pPr algn="ctr"/>
              <a:r>
                <a:rPr lang="en-US" sz="1000" dirty="0">
                  <a:solidFill>
                    <a:schemeClr val="bg1"/>
                  </a:solidFill>
                  <a:latin typeface="Montserrat" panose="00000500000000000000" pitchFamily="50" charset="0"/>
                </a:rPr>
                <a:t>Junior</a:t>
              </a:r>
            </a:p>
            <a:p>
              <a:pPr algn="ctr"/>
              <a:r>
                <a:rPr lang="en-US" sz="1000" dirty="0">
                  <a:solidFill>
                    <a:schemeClr val="bg1"/>
                  </a:solidFill>
                  <a:latin typeface="Montserrat" panose="00000500000000000000" pitchFamily="50" charset="0"/>
                </a:rPr>
                <a:t>Developer</a:t>
              </a:r>
            </a:p>
          </p:txBody>
        </p:sp>
        <p:sp>
          <p:nvSpPr>
            <p:cNvPr id="101" name="TextBox 100">
              <a:extLst>
                <a:ext uri="{FF2B5EF4-FFF2-40B4-BE49-F238E27FC236}">
                  <a16:creationId xmlns:a16="http://schemas.microsoft.com/office/drawing/2014/main" id="{85A1E462-1221-4C81-B3F9-3E6A3ADCD01A}"/>
                </a:ext>
              </a:extLst>
            </p:cNvPr>
            <p:cNvSpPr txBox="1"/>
            <p:nvPr/>
          </p:nvSpPr>
          <p:spPr>
            <a:xfrm>
              <a:off x="5581792" y="5350420"/>
              <a:ext cx="1079142" cy="400110"/>
            </a:xfrm>
            <a:prstGeom prst="rect">
              <a:avLst/>
            </a:prstGeom>
            <a:noFill/>
          </p:spPr>
          <p:txBody>
            <a:bodyPr wrap="none" rtlCol="0" anchor="ctr" anchorCtr="0">
              <a:spAutoFit/>
            </a:bodyPr>
            <a:lstStyle/>
            <a:p>
              <a:pPr algn="ctr"/>
              <a:r>
                <a:rPr lang="en-US" sz="1000" dirty="0">
                  <a:solidFill>
                    <a:schemeClr val="bg1"/>
                  </a:solidFill>
                  <a:latin typeface="Montserrat" panose="00000500000000000000" pitchFamily="50" charset="0"/>
                </a:rPr>
                <a:t>System</a:t>
              </a:r>
            </a:p>
            <a:p>
              <a:pPr algn="ctr"/>
              <a:r>
                <a:rPr lang="en-US" sz="1000" dirty="0">
                  <a:solidFill>
                    <a:schemeClr val="bg1"/>
                  </a:solidFill>
                  <a:latin typeface="Montserrat" panose="00000500000000000000" pitchFamily="50" charset="0"/>
                </a:rPr>
                <a:t>Administrator</a:t>
              </a:r>
            </a:p>
          </p:txBody>
        </p:sp>
        <p:sp>
          <p:nvSpPr>
            <p:cNvPr id="102" name="TextBox 101">
              <a:extLst>
                <a:ext uri="{FF2B5EF4-FFF2-40B4-BE49-F238E27FC236}">
                  <a16:creationId xmlns:a16="http://schemas.microsoft.com/office/drawing/2014/main" id="{ADD0712A-336E-44E5-BB73-879492A16319}"/>
                </a:ext>
              </a:extLst>
            </p:cNvPr>
            <p:cNvSpPr txBox="1"/>
            <p:nvPr/>
          </p:nvSpPr>
          <p:spPr>
            <a:xfrm>
              <a:off x="8002505" y="5702366"/>
              <a:ext cx="760144" cy="400110"/>
            </a:xfrm>
            <a:prstGeom prst="rect">
              <a:avLst/>
            </a:prstGeom>
            <a:noFill/>
          </p:spPr>
          <p:txBody>
            <a:bodyPr wrap="none" rtlCol="0" anchor="ctr" anchorCtr="0">
              <a:spAutoFit/>
            </a:bodyPr>
            <a:lstStyle/>
            <a:p>
              <a:pPr algn="ctr"/>
              <a:r>
                <a:rPr lang="en-US" sz="1000" dirty="0">
                  <a:solidFill>
                    <a:schemeClr val="bg1"/>
                  </a:solidFill>
                  <a:latin typeface="Montserrat" panose="00000500000000000000" pitchFamily="50" charset="0"/>
                </a:rPr>
                <a:t>Office</a:t>
              </a:r>
            </a:p>
            <a:p>
              <a:pPr algn="ctr"/>
              <a:r>
                <a:rPr lang="en-US" sz="1000" dirty="0">
                  <a:solidFill>
                    <a:schemeClr val="bg1"/>
                  </a:solidFill>
                  <a:latin typeface="Montserrat" panose="00000500000000000000" pitchFamily="50" charset="0"/>
                </a:rPr>
                <a:t>Manager</a:t>
              </a:r>
            </a:p>
          </p:txBody>
        </p:sp>
        <p:sp>
          <p:nvSpPr>
            <p:cNvPr id="103" name="TextBox 102">
              <a:extLst>
                <a:ext uri="{FF2B5EF4-FFF2-40B4-BE49-F238E27FC236}">
                  <a16:creationId xmlns:a16="http://schemas.microsoft.com/office/drawing/2014/main" id="{B6E4F961-4A13-4A5C-8FE6-03C7F462D97A}"/>
                </a:ext>
              </a:extLst>
            </p:cNvPr>
            <p:cNvSpPr txBox="1"/>
            <p:nvPr/>
          </p:nvSpPr>
          <p:spPr>
            <a:xfrm>
              <a:off x="8373295" y="4378937"/>
              <a:ext cx="898002" cy="400110"/>
            </a:xfrm>
            <a:prstGeom prst="rect">
              <a:avLst/>
            </a:prstGeom>
            <a:noFill/>
          </p:spPr>
          <p:txBody>
            <a:bodyPr wrap="none" rtlCol="0" anchor="ctr" anchorCtr="0">
              <a:spAutoFit/>
            </a:bodyPr>
            <a:lstStyle/>
            <a:p>
              <a:pPr algn="ctr"/>
              <a:r>
                <a:rPr lang="en-US" sz="1000" dirty="0">
                  <a:solidFill>
                    <a:schemeClr val="bg1"/>
                  </a:solidFill>
                  <a:latin typeface="Montserrat" panose="00000500000000000000" pitchFamily="50" charset="0"/>
                </a:rPr>
                <a:t>Director of</a:t>
              </a:r>
            </a:p>
            <a:p>
              <a:pPr algn="ctr"/>
              <a:r>
                <a:rPr lang="en-US" sz="1000" dirty="0">
                  <a:solidFill>
                    <a:schemeClr val="bg1"/>
                  </a:solidFill>
                  <a:latin typeface="Montserrat" panose="00000500000000000000" pitchFamily="50" charset="0"/>
                </a:rPr>
                <a:t>Operations</a:t>
              </a:r>
            </a:p>
          </p:txBody>
        </p:sp>
      </p:grpSp>
    </p:spTree>
    <p:extLst>
      <p:ext uri="{BB962C8B-B14F-4D97-AF65-F5344CB8AC3E}">
        <p14:creationId xmlns:p14="http://schemas.microsoft.com/office/powerpoint/2010/main" val="38241903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Group 61">
            <a:extLst>
              <a:ext uri="{FF2B5EF4-FFF2-40B4-BE49-F238E27FC236}">
                <a16:creationId xmlns:a16="http://schemas.microsoft.com/office/drawing/2014/main" id="{BDAAD34F-3AC8-405F-9A8A-9B122E8AEA15}"/>
              </a:ext>
            </a:extLst>
          </p:cNvPr>
          <p:cNvGrpSpPr/>
          <p:nvPr/>
        </p:nvGrpSpPr>
        <p:grpSpPr>
          <a:xfrm>
            <a:off x="538239" y="584318"/>
            <a:ext cx="11115522" cy="5689364"/>
            <a:chOff x="539450" y="584318"/>
            <a:chExt cx="11115522" cy="5689364"/>
          </a:xfrm>
        </p:grpSpPr>
        <p:grpSp>
          <p:nvGrpSpPr>
            <p:cNvPr id="31" name="Group 30">
              <a:extLst>
                <a:ext uri="{FF2B5EF4-FFF2-40B4-BE49-F238E27FC236}">
                  <a16:creationId xmlns:a16="http://schemas.microsoft.com/office/drawing/2014/main" id="{5CEA5765-859C-4870-B611-C1E26E4469E8}"/>
                </a:ext>
              </a:extLst>
            </p:cNvPr>
            <p:cNvGrpSpPr/>
            <p:nvPr/>
          </p:nvGrpSpPr>
          <p:grpSpPr>
            <a:xfrm>
              <a:off x="1901372" y="584318"/>
              <a:ext cx="9753600" cy="5689364"/>
              <a:chOff x="1219200" y="584318"/>
              <a:chExt cx="9753600" cy="5689364"/>
            </a:xfrm>
          </p:grpSpPr>
          <p:grpSp>
            <p:nvGrpSpPr>
              <p:cNvPr id="15" name="Group 14">
                <a:extLst>
                  <a:ext uri="{FF2B5EF4-FFF2-40B4-BE49-F238E27FC236}">
                    <a16:creationId xmlns:a16="http://schemas.microsoft.com/office/drawing/2014/main" id="{5A539981-BBA8-4896-BD12-4E707F62FC45}"/>
                  </a:ext>
                </a:extLst>
              </p:cNvPr>
              <p:cNvGrpSpPr/>
              <p:nvPr/>
            </p:nvGrpSpPr>
            <p:grpSpPr>
              <a:xfrm>
                <a:off x="1219200" y="584318"/>
                <a:ext cx="9753600" cy="5689364"/>
                <a:chOff x="1219201" y="584319"/>
                <a:chExt cx="9753600" cy="5689364"/>
              </a:xfrm>
            </p:grpSpPr>
            <p:sp>
              <p:nvSpPr>
                <p:cNvPr id="13" name="Oval 12">
                  <a:extLst>
                    <a:ext uri="{FF2B5EF4-FFF2-40B4-BE49-F238E27FC236}">
                      <a16:creationId xmlns:a16="http://schemas.microsoft.com/office/drawing/2014/main" id="{D9980532-5208-4A77-99BA-F7E1F97D5EEA}"/>
                    </a:ext>
                  </a:extLst>
                </p:cNvPr>
                <p:cNvSpPr/>
                <p:nvPr/>
              </p:nvSpPr>
              <p:spPr>
                <a:xfrm>
                  <a:off x="7366021" y="584319"/>
                  <a:ext cx="3606780" cy="3606777"/>
                </a:xfrm>
                <a:prstGeom prst="ellipse">
                  <a:avLst/>
                </a:prstGeom>
                <a:gradFill flip="none" rotWithShape="1">
                  <a:gsLst>
                    <a:gs pos="0">
                      <a:schemeClr val="bg2">
                        <a:lumMod val="50000"/>
                        <a:alpha val="75000"/>
                      </a:schemeClr>
                    </a:gs>
                    <a:gs pos="100000">
                      <a:schemeClr val="bg2">
                        <a:lumMod val="75000"/>
                        <a:alpha val="4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 </a:t>
                  </a:r>
                </a:p>
              </p:txBody>
            </p:sp>
            <p:sp>
              <p:nvSpPr>
                <p:cNvPr id="12" name="Oval 11">
                  <a:extLst>
                    <a:ext uri="{FF2B5EF4-FFF2-40B4-BE49-F238E27FC236}">
                      <a16:creationId xmlns:a16="http://schemas.microsoft.com/office/drawing/2014/main" id="{42620746-E6AF-490C-8F98-F866B479B405}"/>
                    </a:ext>
                  </a:extLst>
                </p:cNvPr>
                <p:cNvSpPr/>
                <p:nvPr/>
              </p:nvSpPr>
              <p:spPr>
                <a:xfrm>
                  <a:off x="6136656" y="2666906"/>
                  <a:ext cx="3606780" cy="3606777"/>
                </a:xfrm>
                <a:prstGeom prst="ellipse">
                  <a:avLst/>
                </a:prstGeom>
                <a:gradFill flip="none" rotWithShape="1">
                  <a:gsLst>
                    <a:gs pos="0">
                      <a:schemeClr val="tx2">
                        <a:alpha val="75000"/>
                      </a:schemeClr>
                    </a:gs>
                    <a:gs pos="100000">
                      <a:schemeClr val="tx2">
                        <a:lumMod val="60000"/>
                        <a:lumOff val="40000"/>
                        <a:alpha val="4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Oval 10">
                  <a:extLst>
                    <a:ext uri="{FF2B5EF4-FFF2-40B4-BE49-F238E27FC236}">
                      <a16:creationId xmlns:a16="http://schemas.microsoft.com/office/drawing/2014/main" id="{5BC7FA20-C5BE-4B80-AA69-90C9F892AEE9}"/>
                    </a:ext>
                  </a:extLst>
                </p:cNvPr>
                <p:cNvSpPr/>
                <p:nvPr/>
              </p:nvSpPr>
              <p:spPr>
                <a:xfrm>
                  <a:off x="4907292" y="584319"/>
                  <a:ext cx="3606780" cy="3606777"/>
                </a:xfrm>
                <a:prstGeom prst="ellipse">
                  <a:avLst/>
                </a:prstGeom>
                <a:gradFill flip="none" rotWithShape="1">
                  <a:gsLst>
                    <a:gs pos="0">
                      <a:schemeClr val="accent5">
                        <a:lumMod val="75000"/>
                      </a:schemeClr>
                    </a:gs>
                    <a:gs pos="100000">
                      <a:schemeClr val="accent5">
                        <a:alpha val="6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Oval 9">
                  <a:extLst>
                    <a:ext uri="{FF2B5EF4-FFF2-40B4-BE49-F238E27FC236}">
                      <a16:creationId xmlns:a16="http://schemas.microsoft.com/office/drawing/2014/main" id="{B5FE530B-A3E1-48F9-B396-FAFDB1C886D7}"/>
                    </a:ext>
                  </a:extLst>
                </p:cNvPr>
                <p:cNvSpPr/>
                <p:nvPr/>
              </p:nvSpPr>
              <p:spPr>
                <a:xfrm>
                  <a:off x="3677928" y="2666906"/>
                  <a:ext cx="3606780" cy="3606777"/>
                </a:xfrm>
                <a:prstGeom prst="ellipse">
                  <a:avLst/>
                </a:prstGeom>
                <a:gradFill flip="none" rotWithShape="1">
                  <a:gsLst>
                    <a:gs pos="0">
                      <a:schemeClr val="accent4">
                        <a:lumMod val="75000"/>
                        <a:alpha val="80000"/>
                      </a:schemeClr>
                    </a:gs>
                    <a:gs pos="100000">
                      <a:schemeClr val="accent4">
                        <a:alpha val="4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Oval 8">
                  <a:extLst>
                    <a:ext uri="{FF2B5EF4-FFF2-40B4-BE49-F238E27FC236}">
                      <a16:creationId xmlns:a16="http://schemas.microsoft.com/office/drawing/2014/main" id="{68B6BA8A-AB6B-4987-9AE5-5F959C3C6AD5}"/>
                    </a:ext>
                  </a:extLst>
                </p:cNvPr>
                <p:cNvSpPr/>
                <p:nvPr/>
              </p:nvSpPr>
              <p:spPr>
                <a:xfrm>
                  <a:off x="2448565" y="584319"/>
                  <a:ext cx="3606780" cy="3606777"/>
                </a:xfrm>
                <a:prstGeom prst="ellipse">
                  <a:avLst/>
                </a:prstGeom>
                <a:gradFill flip="none" rotWithShape="1">
                  <a:gsLst>
                    <a:gs pos="0">
                      <a:schemeClr val="accent3">
                        <a:alpha val="75000"/>
                      </a:schemeClr>
                    </a:gs>
                    <a:gs pos="100000">
                      <a:schemeClr val="accent3">
                        <a:lumMod val="60000"/>
                        <a:lumOff val="40000"/>
                        <a:alpha val="6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Oval 7">
                  <a:extLst>
                    <a:ext uri="{FF2B5EF4-FFF2-40B4-BE49-F238E27FC236}">
                      <a16:creationId xmlns:a16="http://schemas.microsoft.com/office/drawing/2014/main" id="{7A88E54E-0A7B-4575-8F9C-288911E31CF4}"/>
                    </a:ext>
                  </a:extLst>
                </p:cNvPr>
                <p:cNvSpPr/>
                <p:nvPr/>
              </p:nvSpPr>
              <p:spPr>
                <a:xfrm>
                  <a:off x="1219201" y="2666906"/>
                  <a:ext cx="3606780" cy="3606777"/>
                </a:xfrm>
                <a:prstGeom prst="ellipse">
                  <a:avLst/>
                </a:prstGeom>
                <a:gradFill flip="none" rotWithShape="1">
                  <a:gsLst>
                    <a:gs pos="0">
                      <a:schemeClr val="accent1">
                        <a:alpha val="75000"/>
                      </a:schemeClr>
                    </a:gs>
                    <a:gs pos="100000">
                      <a:schemeClr val="accent1">
                        <a:lumMod val="60000"/>
                        <a:lumOff val="40000"/>
                        <a:alpha val="4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17" name="Group 16">
                <a:extLst>
                  <a:ext uri="{FF2B5EF4-FFF2-40B4-BE49-F238E27FC236}">
                    <a16:creationId xmlns:a16="http://schemas.microsoft.com/office/drawing/2014/main" id="{3CC63F1C-7A5A-4696-87F9-16ECAD44C631}"/>
                  </a:ext>
                </a:extLst>
              </p:cNvPr>
              <p:cNvGrpSpPr/>
              <p:nvPr/>
            </p:nvGrpSpPr>
            <p:grpSpPr>
              <a:xfrm>
                <a:off x="1219200" y="584318"/>
                <a:ext cx="9753600" cy="5689364"/>
                <a:chOff x="1219201" y="584319"/>
                <a:chExt cx="9753600" cy="5689364"/>
              </a:xfrm>
              <a:noFill/>
            </p:grpSpPr>
            <p:sp>
              <p:nvSpPr>
                <p:cNvPr id="18" name="Oval 17">
                  <a:extLst>
                    <a:ext uri="{FF2B5EF4-FFF2-40B4-BE49-F238E27FC236}">
                      <a16:creationId xmlns:a16="http://schemas.microsoft.com/office/drawing/2014/main" id="{D80AC65D-991C-4AD8-A1DE-72D210002C52}"/>
                    </a:ext>
                  </a:extLst>
                </p:cNvPr>
                <p:cNvSpPr/>
                <p:nvPr/>
              </p:nvSpPr>
              <p:spPr>
                <a:xfrm>
                  <a:off x="7366021" y="584319"/>
                  <a:ext cx="3606780" cy="3606777"/>
                </a:xfrm>
                <a:prstGeom prst="ellipse">
                  <a:avLst/>
                </a:prstGeom>
                <a:grpFill/>
                <a:ln w="2540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 </a:t>
                  </a:r>
                </a:p>
              </p:txBody>
            </p:sp>
            <p:sp>
              <p:nvSpPr>
                <p:cNvPr id="19" name="Oval 18">
                  <a:extLst>
                    <a:ext uri="{FF2B5EF4-FFF2-40B4-BE49-F238E27FC236}">
                      <a16:creationId xmlns:a16="http://schemas.microsoft.com/office/drawing/2014/main" id="{0C934470-A139-4E9C-9496-01C9325000ED}"/>
                    </a:ext>
                  </a:extLst>
                </p:cNvPr>
                <p:cNvSpPr/>
                <p:nvPr/>
              </p:nvSpPr>
              <p:spPr>
                <a:xfrm>
                  <a:off x="6136656" y="2666906"/>
                  <a:ext cx="3606780" cy="3606777"/>
                </a:xfrm>
                <a:prstGeom prst="ellipse">
                  <a:avLst/>
                </a:prstGeom>
                <a:grpFill/>
                <a:ln w="2540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Oval 19">
                  <a:extLst>
                    <a:ext uri="{FF2B5EF4-FFF2-40B4-BE49-F238E27FC236}">
                      <a16:creationId xmlns:a16="http://schemas.microsoft.com/office/drawing/2014/main" id="{161A18A4-1F43-4255-AEF4-A9055DD0EED2}"/>
                    </a:ext>
                  </a:extLst>
                </p:cNvPr>
                <p:cNvSpPr/>
                <p:nvPr/>
              </p:nvSpPr>
              <p:spPr>
                <a:xfrm>
                  <a:off x="4907292" y="584319"/>
                  <a:ext cx="3606780" cy="3606777"/>
                </a:xfrm>
                <a:prstGeom prst="ellipse">
                  <a:avLst/>
                </a:prstGeom>
                <a:grpFill/>
                <a:ln w="2540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 name="Oval 20">
                  <a:extLst>
                    <a:ext uri="{FF2B5EF4-FFF2-40B4-BE49-F238E27FC236}">
                      <a16:creationId xmlns:a16="http://schemas.microsoft.com/office/drawing/2014/main" id="{E499EC99-16F4-46AD-938F-06F33DE1B61E}"/>
                    </a:ext>
                  </a:extLst>
                </p:cNvPr>
                <p:cNvSpPr/>
                <p:nvPr/>
              </p:nvSpPr>
              <p:spPr>
                <a:xfrm>
                  <a:off x="3677928" y="2666906"/>
                  <a:ext cx="3606780" cy="3606777"/>
                </a:xfrm>
                <a:prstGeom prst="ellipse">
                  <a:avLst/>
                </a:prstGeom>
                <a:grpFill/>
                <a:ln w="2540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Oval 21">
                  <a:extLst>
                    <a:ext uri="{FF2B5EF4-FFF2-40B4-BE49-F238E27FC236}">
                      <a16:creationId xmlns:a16="http://schemas.microsoft.com/office/drawing/2014/main" id="{44B80194-B7F9-4A5A-B53E-1C2C28E41F8F}"/>
                    </a:ext>
                  </a:extLst>
                </p:cNvPr>
                <p:cNvSpPr/>
                <p:nvPr/>
              </p:nvSpPr>
              <p:spPr>
                <a:xfrm>
                  <a:off x="2448565" y="584319"/>
                  <a:ext cx="3606780" cy="3606777"/>
                </a:xfrm>
                <a:prstGeom prst="ellipse">
                  <a:avLst/>
                </a:prstGeom>
                <a:grpFill/>
                <a:ln w="2540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3" name="Oval 22">
                  <a:extLst>
                    <a:ext uri="{FF2B5EF4-FFF2-40B4-BE49-F238E27FC236}">
                      <a16:creationId xmlns:a16="http://schemas.microsoft.com/office/drawing/2014/main" id="{7ED9EFB3-E28E-435F-B967-1E6ECD253F5A}"/>
                    </a:ext>
                  </a:extLst>
                </p:cNvPr>
                <p:cNvSpPr/>
                <p:nvPr/>
              </p:nvSpPr>
              <p:spPr>
                <a:xfrm>
                  <a:off x="1219201" y="2666906"/>
                  <a:ext cx="3606780" cy="3606777"/>
                </a:xfrm>
                <a:prstGeom prst="ellipse">
                  <a:avLst/>
                </a:prstGeom>
                <a:grpFill/>
                <a:ln w="2540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25" name="TextBox 24">
                <a:extLst>
                  <a:ext uri="{FF2B5EF4-FFF2-40B4-BE49-F238E27FC236}">
                    <a16:creationId xmlns:a16="http://schemas.microsoft.com/office/drawing/2014/main" id="{80BA879D-AE51-4E48-9B71-BB7DB0FF6FB8}"/>
                  </a:ext>
                </a:extLst>
              </p:cNvPr>
              <p:cNvSpPr txBox="1"/>
              <p:nvPr/>
            </p:nvSpPr>
            <p:spPr>
              <a:xfrm>
                <a:off x="2197210" y="5429108"/>
                <a:ext cx="1313180" cy="338554"/>
              </a:xfrm>
              <a:prstGeom prst="rect">
                <a:avLst/>
              </a:prstGeom>
              <a:noFill/>
            </p:spPr>
            <p:txBody>
              <a:bodyPr wrap="none" rtlCol="0" anchor="ctr" anchorCtr="0">
                <a:spAutoFit/>
              </a:bodyPr>
              <a:lstStyle/>
              <a:p>
                <a:pPr algn="ctr"/>
                <a:r>
                  <a:rPr lang="en-US" sz="1600" b="1" dirty="0">
                    <a:solidFill>
                      <a:schemeClr val="bg1"/>
                    </a:solidFill>
                    <a:latin typeface="Montserrat" panose="00000500000000000000" pitchFamily="50" charset="0"/>
                  </a:rPr>
                  <a:t>STRATEGY</a:t>
                </a:r>
              </a:p>
            </p:txBody>
          </p:sp>
          <p:sp>
            <p:nvSpPr>
              <p:cNvPr id="26" name="TextBox 25">
                <a:extLst>
                  <a:ext uri="{FF2B5EF4-FFF2-40B4-BE49-F238E27FC236}">
                    <a16:creationId xmlns:a16="http://schemas.microsoft.com/office/drawing/2014/main" id="{712FD7DD-8CE2-4333-B861-C52733A8C897}"/>
                  </a:ext>
                </a:extLst>
              </p:cNvPr>
              <p:cNvSpPr txBox="1"/>
              <p:nvPr/>
            </p:nvSpPr>
            <p:spPr>
              <a:xfrm>
                <a:off x="3386076" y="1048741"/>
                <a:ext cx="1495923" cy="338554"/>
              </a:xfrm>
              <a:prstGeom prst="rect">
                <a:avLst/>
              </a:prstGeom>
              <a:noFill/>
            </p:spPr>
            <p:txBody>
              <a:bodyPr wrap="none" rtlCol="0" anchor="ctr" anchorCtr="0">
                <a:spAutoFit/>
              </a:bodyPr>
              <a:lstStyle/>
              <a:p>
                <a:pPr algn="ctr"/>
                <a:r>
                  <a:rPr lang="en-US" sz="1600" b="1" dirty="0">
                    <a:solidFill>
                      <a:schemeClr val="bg1"/>
                    </a:solidFill>
                    <a:latin typeface="Montserrat" panose="00000500000000000000" pitchFamily="50" charset="0"/>
                  </a:rPr>
                  <a:t>MARKETING</a:t>
                </a:r>
              </a:p>
            </p:txBody>
          </p:sp>
          <p:sp>
            <p:nvSpPr>
              <p:cNvPr id="27" name="TextBox 26">
                <a:extLst>
                  <a:ext uri="{FF2B5EF4-FFF2-40B4-BE49-F238E27FC236}">
                    <a16:creationId xmlns:a16="http://schemas.microsoft.com/office/drawing/2014/main" id="{D522A857-C207-406C-AE42-414553BE88D7}"/>
                  </a:ext>
                </a:extLst>
              </p:cNvPr>
              <p:cNvSpPr txBox="1"/>
              <p:nvPr/>
            </p:nvSpPr>
            <p:spPr>
              <a:xfrm>
                <a:off x="4805263" y="5429108"/>
                <a:ext cx="1268296" cy="338554"/>
              </a:xfrm>
              <a:prstGeom prst="rect">
                <a:avLst/>
              </a:prstGeom>
              <a:noFill/>
            </p:spPr>
            <p:txBody>
              <a:bodyPr wrap="none" rtlCol="0" anchor="ctr" anchorCtr="0">
                <a:spAutoFit/>
              </a:bodyPr>
              <a:lstStyle/>
              <a:p>
                <a:pPr algn="ctr"/>
                <a:r>
                  <a:rPr lang="en-US" sz="1600" b="1" dirty="0">
                    <a:solidFill>
                      <a:schemeClr val="bg1"/>
                    </a:solidFill>
                    <a:latin typeface="Montserrat" panose="00000500000000000000" pitchFamily="50" charset="0"/>
                  </a:rPr>
                  <a:t>PRODUCT</a:t>
                </a:r>
              </a:p>
            </p:txBody>
          </p:sp>
          <p:sp>
            <p:nvSpPr>
              <p:cNvPr id="28" name="TextBox 27">
                <a:extLst>
                  <a:ext uri="{FF2B5EF4-FFF2-40B4-BE49-F238E27FC236}">
                    <a16:creationId xmlns:a16="http://schemas.microsoft.com/office/drawing/2014/main" id="{2720F363-9AB4-40F0-B1E6-C8A14262BD1D}"/>
                  </a:ext>
                </a:extLst>
              </p:cNvPr>
              <p:cNvSpPr txBox="1"/>
              <p:nvPr/>
            </p:nvSpPr>
            <p:spPr>
              <a:xfrm>
                <a:off x="5922657" y="1048741"/>
                <a:ext cx="1696298" cy="338554"/>
              </a:xfrm>
              <a:prstGeom prst="rect">
                <a:avLst/>
              </a:prstGeom>
              <a:noFill/>
            </p:spPr>
            <p:txBody>
              <a:bodyPr wrap="none" rtlCol="0" anchor="ctr" anchorCtr="0">
                <a:spAutoFit/>
              </a:bodyPr>
              <a:lstStyle/>
              <a:p>
                <a:pPr algn="ctr"/>
                <a:r>
                  <a:rPr lang="en-US" sz="1600" b="1" dirty="0">
                    <a:solidFill>
                      <a:schemeClr val="bg1"/>
                    </a:solidFill>
                    <a:latin typeface="Montserrat" panose="00000500000000000000" pitchFamily="50" charset="0"/>
                  </a:rPr>
                  <a:t>ENGINEERING</a:t>
                </a:r>
              </a:p>
            </p:txBody>
          </p:sp>
          <p:sp>
            <p:nvSpPr>
              <p:cNvPr id="29" name="TextBox 28">
                <a:extLst>
                  <a:ext uri="{FF2B5EF4-FFF2-40B4-BE49-F238E27FC236}">
                    <a16:creationId xmlns:a16="http://schemas.microsoft.com/office/drawing/2014/main" id="{901F404C-CFCC-4971-AC4A-8E51B3A6503C}"/>
                  </a:ext>
                </a:extLst>
              </p:cNvPr>
              <p:cNvSpPr txBox="1"/>
              <p:nvPr/>
            </p:nvSpPr>
            <p:spPr>
              <a:xfrm>
                <a:off x="7387079" y="5429108"/>
                <a:ext cx="1617751" cy="338554"/>
              </a:xfrm>
              <a:prstGeom prst="rect">
                <a:avLst/>
              </a:prstGeom>
              <a:noFill/>
            </p:spPr>
            <p:txBody>
              <a:bodyPr wrap="none" rtlCol="0" anchor="ctr" anchorCtr="0">
                <a:spAutoFit/>
              </a:bodyPr>
              <a:lstStyle/>
              <a:p>
                <a:pPr algn="ctr"/>
                <a:r>
                  <a:rPr lang="en-US" sz="1600" b="1" dirty="0">
                    <a:solidFill>
                      <a:schemeClr val="bg1"/>
                    </a:solidFill>
                    <a:latin typeface="Montserrat" panose="00000500000000000000" pitchFamily="50" charset="0"/>
                  </a:rPr>
                  <a:t>OPERATIONS</a:t>
                </a:r>
              </a:p>
            </p:txBody>
          </p:sp>
          <p:sp>
            <p:nvSpPr>
              <p:cNvPr id="30" name="TextBox 29">
                <a:extLst>
                  <a:ext uri="{FF2B5EF4-FFF2-40B4-BE49-F238E27FC236}">
                    <a16:creationId xmlns:a16="http://schemas.microsoft.com/office/drawing/2014/main" id="{1C3D65C5-DB5F-4901-811B-F14CDD253C70}"/>
                  </a:ext>
                </a:extLst>
              </p:cNvPr>
              <p:cNvSpPr txBox="1"/>
              <p:nvPr/>
            </p:nvSpPr>
            <p:spPr>
              <a:xfrm>
                <a:off x="8994665" y="1048741"/>
                <a:ext cx="865943" cy="338554"/>
              </a:xfrm>
              <a:prstGeom prst="rect">
                <a:avLst/>
              </a:prstGeom>
              <a:noFill/>
            </p:spPr>
            <p:txBody>
              <a:bodyPr wrap="none" rtlCol="0" anchor="ctr" anchorCtr="0">
                <a:spAutoFit/>
              </a:bodyPr>
              <a:lstStyle/>
              <a:p>
                <a:pPr algn="ctr"/>
                <a:r>
                  <a:rPr lang="en-US" sz="1600" b="1" dirty="0">
                    <a:solidFill>
                      <a:schemeClr val="bg1"/>
                    </a:solidFill>
                    <a:latin typeface="Montserrat" panose="00000500000000000000" pitchFamily="50" charset="0"/>
                  </a:rPr>
                  <a:t>SALES</a:t>
                </a:r>
              </a:p>
            </p:txBody>
          </p:sp>
          <p:sp>
            <p:nvSpPr>
              <p:cNvPr id="24" name="TextBox 23">
                <a:extLst>
                  <a:ext uri="{FF2B5EF4-FFF2-40B4-BE49-F238E27FC236}">
                    <a16:creationId xmlns:a16="http://schemas.microsoft.com/office/drawing/2014/main" id="{0375B769-2B9E-4788-AD21-9CFC18CDB186}"/>
                  </a:ext>
                </a:extLst>
              </p:cNvPr>
              <p:cNvSpPr txBox="1"/>
              <p:nvPr/>
            </p:nvSpPr>
            <p:spPr>
              <a:xfrm>
                <a:off x="2681499" y="1700745"/>
                <a:ext cx="996428" cy="430887"/>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Demand Generation</a:t>
                </a:r>
              </a:p>
            </p:txBody>
          </p:sp>
          <p:sp>
            <p:nvSpPr>
              <p:cNvPr id="32" name="TextBox 31">
                <a:extLst>
                  <a:ext uri="{FF2B5EF4-FFF2-40B4-BE49-F238E27FC236}">
                    <a16:creationId xmlns:a16="http://schemas.microsoft.com/office/drawing/2014/main" id="{5C27793F-CD79-40F6-80D6-CB33DD580C00}"/>
                  </a:ext>
                </a:extLst>
              </p:cNvPr>
              <p:cNvSpPr txBox="1"/>
              <p:nvPr/>
            </p:nvSpPr>
            <p:spPr>
              <a:xfrm>
                <a:off x="3371993" y="2333662"/>
                <a:ext cx="996428" cy="261610"/>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Creative</a:t>
                </a:r>
              </a:p>
            </p:txBody>
          </p:sp>
          <p:sp>
            <p:nvSpPr>
              <p:cNvPr id="33" name="TextBox 32">
                <a:extLst>
                  <a:ext uri="{FF2B5EF4-FFF2-40B4-BE49-F238E27FC236}">
                    <a16:creationId xmlns:a16="http://schemas.microsoft.com/office/drawing/2014/main" id="{E8EFC4E7-6ECE-4046-840A-774C0D0147F9}"/>
                  </a:ext>
                </a:extLst>
              </p:cNvPr>
              <p:cNvSpPr txBox="1"/>
              <p:nvPr/>
            </p:nvSpPr>
            <p:spPr>
              <a:xfrm>
                <a:off x="3910863" y="1750862"/>
                <a:ext cx="996428" cy="261610"/>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Content</a:t>
                </a:r>
              </a:p>
            </p:txBody>
          </p:sp>
          <p:sp>
            <p:nvSpPr>
              <p:cNvPr id="34" name="TextBox 33">
                <a:extLst>
                  <a:ext uri="{FF2B5EF4-FFF2-40B4-BE49-F238E27FC236}">
                    <a16:creationId xmlns:a16="http://schemas.microsoft.com/office/drawing/2014/main" id="{3F83C210-E09E-484A-97AB-CB72F6011EE1}"/>
                  </a:ext>
                </a:extLst>
              </p:cNvPr>
              <p:cNvSpPr txBox="1"/>
              <p:nvPr/>
            </p:nvSpPr>
            <p:spPr>
              <a:xfrm>
                <a:off x="2873779" y="3061684"/>
                <a:ext cx="996428" cy="261610"/>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Digital</a:t>
                </a:r>
              </a:p>
            </p:txBody>
          </p:sp>
          <p:sp>
            <p:nvSpPr>
              <p:cNvPr id="35" name="TextBox 34">
                <a:extLst>
                  <a:ext uri="{FF2B5EF4-FFF2-40B4-BE49-F238E27FC236}">
                    <a16:creationId xmlns:a16="http://schemas.microsoft.com/office/drawing/2014/main" id="{0D8E18C5-B838-4C31-B5B8-9ABB1F5407B0}"/>
                  </a:ext>
                </a:extLst>
              </p:cNvPr>
              <p:cNvSpPr txBox="1"/>
              <p:nvPr/>
            </p:nvSpPr>
            <p:spPr>
              <a:xfrm>
                <a:off x="3752576" y="3624295"/>
                <a:ext cx="996428" cy="430887"/>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Product Marketing</a:t>
                </a:r>
              </a:p>
            </p:txBody>
          </p:sp>
          <p:sp>
            <p:nvSpPr>
              <p:cNvPr id="36" name="TextBox 35">
                <a:extLst>
                  <a:ext uri="{FF2B5EF4-FFF2-40B4-BE49-F238E27FC236}">
                    <a16:creationId xmlns:a16="http://schemas.microsoft.com/office/drawing/2014/main" id="{CBAB1302-2A50-4468-BE3F-228AC78F050C}"/>
                  </a:ext>
                </a:extLst>
              </p:cNvPr>
              <p:cNvSpPr txBox="1"/>
              <p:nvPr/>
            </p:nvSpPr>
            <p:spPr>
              <a:xfrm>
                <a:off x="4383785" y="3296220"/>
                <a:ext cx="996428" cy="261610"/>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Design</a:t>
                </a:r>
              </a:p>
            </p:txBody>
          </p:sp>
          <p:sp>
            <p:nvSpPr>
              <p:cNvPr id="37" name="TextBox 36">
                <a:extLst>
                  <a:ext uri="{FF2B5EF4-FFF2-40B4-BE49-F238E27FC236}">
                    <a16:creationId xmlns:a16="http://schemas.microsoft.com/office/drawing/2014/main" id="{BFF7C639-AABE-4BC6-B6D6-0582562BB191}"/>
                  </a:ext>
                </a:extLst>
              </p:cNvPr>
              <p:cNvSpPr txBox="1"/>
              <p:nvPr/>
            </p:nvSpPr>
            <p:spPr>
              <a:xfrm>
                <a:off x="5251195" y="2900378"/>
                <a:ext cx="460244" cy="261610"/>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UX</a:t>
                </a:r>
              </a:p>
            </p:txBody>
          </p:sp>
          <p:sp>
            <p:nvSpPr>
              <p:cNvPr id="46" name="TextBox 45">
                <a:extLst>
                  <a:ext uri="{FF2B5EF4-FFF2-40B4-BE49-F238E27FC236}">
                    <a16:creationId xmlns:a16="http://schemas.microsoft.com/office/drawing/2014/main" id="{BECC753B-E078-4B39-8DEA-7864DE396A65}"/>
                  </a:ext>
                </a:extLst>
              </p:cNvPr>
              <p:cNvSpPr txBox="1"/>
              <p:nvPr/>
            </p:nvSpPr>
            <p:spPr>
              <a:xfrm>
                <a:off x="5491698" y="3323293"/>
                <a:ext cx="1153682" cy="261610"/>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Dev</a:t>
                </a:r>
              </a:p>
            </p:txBody>
          </p:sp>
          <p:sp>
            <p:nvSpPr>
              <p:cNvPr id="47" name="TextBox 46">
                <a:extLst>
                  <a:ext uri="{FF2B5EF4-FFF2-40B4-BE49-F238E27FC236}">
                    <a16:creationId xmlns:a16="http://schemas.microsoft.com/office/drawing/2014/main" id="{5B29C9FC-BF0F-40AD-A4F1-B6A9ADD27240}"/>
                  </a:ext>
                </a:extLst>
              </p:cNvPr>
              <p:cNvSpPr txBox="1"/>
              <p:nvPr/>
            </p:nvSpPr>
            <p:spPr>
              <a:xfrm>
                <a:off x="3672298" y="4389523"/>
                <a:ext cx="1153682" cy="430887"/>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Product Management</a:t>
                </a:r>
              </a:p>
            </p:txBody>
          </p:sp>
          <p:sp>
            <p:nvSpPr>
              <p:cNvPr id="48" name="TextBox 47">
                <a:extLst>
                  <a:ext uri="{FF2B5EF4-FFF2-40B4-BE49-F238E27FC236}">
                    <a16:creationId xmlns:a16="http://schemas.microsoft.com/office/drawing/2014/main" id="{AF43F591-F6A5-447A-904A-84AFA39E4B45}"/>
                  </a:ext>
                </a:extLst>
              </p:cNvPr>
              <p:cNvSpPr txBox="1"/>
              <p:nvPr/>
            </p:nvSpPr>
            <p:spPr>
              <a:xfrm>
                <a:off x="1368495" y="3995400"/>
                <a:ext cx="1313004" cy="261610"/>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Partnership</a:t>
                </a:r>
              </a:p>
            </p:txBody>
          </p:sp>
          <p:sp>
            <p:nvSpPr>
              <p:cNvPr id="49" name="TextBox 48">
                <a:extLst>
                  <a:ext uri="{FF2B5EF4-FFF2-40B4-BE49-F238E27FC236}">
                    <a16:creationId xmlns:a16="http://schemas.microsoft.com/office/drawing/2014/main" id="{A59C71D2-57A2-4B95-BE2E-880D685D313E}"/>
                  </a:ext>
                </a:extLst>
              </p:cNvPr>
              <p:cNvSpPr txBox="1"/>
              <p:nvPr/>
            </p:nvSpPr>
            <p:spPr>
              <a:xfrm>
                <a:off x="2184597" y="4728878"/>
                <a:ext cx="1313004" cy="261610"/>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Development</a:t>
                </a:r>
              </a:p>
            </p:txBody>
          </p:sp>
          <p:sp>
            <p:nvSpPr>
              <p:cNvPr id="50" name="TextBox 49">
                <a:extLst>
                  <a:ext uri="{FF2B5EF4-FFF2-40B4-BE49-F238E27FC236}">
                    <a16:creationId xmlns:a16="http://schemas.microsoft.com/office/drawing/2014/main" id="{AC28D8DD-C82D-4414-B549-8BD6FEAB12BF}"/>
                  </a:ext>
                </a:extLst>
              </p:cNvPr>
              <p:cNvSpPr txBox="1"/>
              <p:nvPr/>
            </p:nvSpPr>
            <p:spPr>
              <a:xfrm>
                <a:off x="7125974" y="3289519"/>
                <a:ext cx="399030" cy="261610"/>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IT</a:t>
                </a:r>
              </a:p>
            </p:txBody>
          </p:sp>
          <p:sp>
            <p:nvSpPr>
              <p:cNvPr id="51" name="TextBox 50">
                <a:extLst>
                  <a:ext uri="{FF2B5EF4-FFF2-40B4-BE49-F238E27FC236}">
                    <a16:creationId xmlns:a16="http://schemas.microsoft.com/office/drawing/2014/main" id="{6FC7F74F-38A7-43AB-8E46-0C99D12B1E84}"/>
                  </a:ext>
                </a:extLst>
              </p:cNvPr>
              <p:cNvSpPr txBox="1"/>
              <p:nvPr/>
            </p:nvSpPr>
            <p:spPr>
              <a:xfrm>
                <a:off x="7309999" y="4092053"/>
                <a:ext cx="1071242" cy="261610"/>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Finance</a:t>
                </a:r>
              </a:p>
            </p:txBody>
          </p:sp>
          <p:sp>
            <p:nvSpPr>
              <p:cNvPr id="52" name="TextBox 51">
                <a:extLst>
                  <a:ext uri="{FF2B5EF4-FFF2-40B4-BE49-F238E27FC236}">
                    <a16:creationId xmlns:a16="http://schemas.microsoft.com/office/drawing/2014/main" id="{0CD0CF32-E7F3-45F1-B80F-F1A5F2B14E69}"/>
                  </a:ext>
                </a:extLst>
              </p:cNvPr>
              <p:cNvSpPr txBox="1"/>
              <p:nvPr/>
            </p:nvSpPr>
            <p:spPr>
              <a:xfrm>
                <a:off x="8555182" y="4324984"/>
                <a:ext cx="1071242" cy="430887"/>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Talent Acquisition</a:t>
                </a:r>
              </a:p>
            </p:txBody>
          </p:sp>
          <p:sp>
            <p:nvSpPr>
              <p:cNvPr id="53" name="TextBox 52">
                <a:extLst>
                  <a:ext uri="{FF2B5EF4-FFF2-40B4-BE49-F238E27FC236}">
                    <a16:creationId xmlns:a16="http://schemas.microsoft.com/office/drawing/2014/main" id="{6D250C99-BDCD-493B-826E-3F5F92C09F08}"/>
                  </a:ext>
                </a:extLst>
              </p:cNvPr>
              <p:cNvSpPr txBox="1"/>
              <p:nvPr/>
            </p:nvSpPr>
            <p:spPr>
              <a:xfrm>
                <a:off x="7384323" y="4540427"/>
                <a:ext cx="1071242" cy="430887"/>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People Operations</a:t>
                </a:r>
              </a:p>
            </p:txBody>
          </p:sp>
          <p:sp>
            <p:nvSpPr>
              <p:cNvPr id="54" name="TextBox 53">
                <a:extLst>
                  <a:ext uri="{FF2B5EF4-FFF2-40B4-BE49-F238E27FC236}">
                    <a16:creationId xmlns:a16="http://schemas.microsoft.com/office/drawing/2014/main" id="{F3AC824D-B5F7-4342-8799-7F90D57D784D}"/>
                  </a:ext>
                </a:extLst>
              </p:cNvPr>
              <p:cNvSpPr txBox="1"/>
              <p:nvPr/>
            </p:nvSpPr>
            <p:spPr>
              <a:xfrm>
                <a:off x="8248340" y="4925385"/>
                <a:ext cx="1071242" cy="261610"/>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Support</a:t>
                </a:r>
              </a:p>
            </p:txBody>
          </p:sp>
          <p:sp>
            <p:nvSpPr>
              <p:cNvPr id="55" name="TextBox 54">
                <a:extLst>
                  <a:ext uri="{FF2B5EF4-FFF2-40B4-BE49-F238E27FC236}">
                    <a16:creationId xmlns:a16="http://schemas.microsoft.com/office/drawing/2014/main" id="{CBCE0D69-3F98-4BC5-95B7-0F5672B656F2}"/>
                  </a:ext>
                </a:extLst>
              </p:cNvPr>
              <p:cNvSpPr txBox="1"/>
              <p:nvPr/>
            </p:nvSpPr>
            <p:spPr>
              <a:xfrm>
                <a:off x="7373319" y="1859975"/>
                <a:ext cx="1153682" cy="430887"/>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Solution Engineers</a:t>
                </a:r>
              </a:p>
            </p:txBody>
          </p:sp>
          <p:sp>
            <p:nvSpPr>
              <p:cNvPr id="56" name="TextBox 55">
                <a:extLst>
                  <a:ext uri="{FF2B5EF4-FFF2-40B4-BE49-F238E27FC236}">
                    <a16:creationId xmlns:a16="http://schemas.microsoft.com/office/drawing/2014/main" id="{4FCD78DB-DB1C-4D93-A81B-7A8FD23866B0}"/>
                  </a:ext>
                </a:extLst>
              </p:cNvPr>
              <p:cNvSpPr txBox="1"/>
              <p:nvPr/>
            </p:nvSpPr>
            <p:spPr>
              <a:xfrm>
                <a:off x="8216356" y="3370589"/>
                <a:ext cx="1153682" cy="430887"/>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Sales Operations</a:t>
                </a:r>
              </a:p>
            </p:txBody>
          </p:sp>
          <p:sp>
            <p:nvSpPr>
              <p:cNvPr id="57" name="TextBox 56">
                <a:extLst>
                  <a:ext uri="{FF2B5EF4-FFF2-40B4-BE49-F238E27FC236}">
                    <a16:creationId xmlns:a16="http://schemas.microsoft.com/office/drawing/2014/main" id="{64BB0A5D-1A1F-499F-AB3F-72736F79DD02}"/>
                  </a:ext>
                </a:extLst>
              </p:cNvPr>
              <p:cNvSpPr txBox="1"/>
              <p:nvPr/>
            </p:nvSpPr>
            <p:spPr>
              <a:xfrm>
                <a:off x="8567137" y="1598066"/>
                <a:ext cx="1153682" cy="430887"/>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Inbound Sales</a:t>
                </a:r>
              </a:p>
            </p:txBody>
          </p:sp>
          <p:sp>
            <p:nvSpPr>
              <p:cNvPr id="58" name="TextBox 57">
                <a:extLst>
                  <a:ext uri="{FF2B5EF4-FFF2-40B4-BE49-F238E27FC236}">
                    <a16:creationId xmlns:a16="http://schemas.microsoft.com/office/drawing/2014/main" id="{931FC2F2-9B65-4259-9677-A725D2251CCE}"/>
                  </a:ext>
                </a:extLst>
              </p:cNvPr>
              <p:cNvSpPr txBox="1"/>
              <p:nvPr/>
            </p:nvSpPr>
            <p:spPr>
              <a:xfrm>
                <a:off x="9626424" y="1803275"/>
                <a:ext cx="1153682" cy="430887"/>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Customer Success</a:t>
                </a:r>
              </a:p>
            </p:txBody>
          </p:sp>
          <p:sp>
            <p:nvSpPr>
              <p:cNvPr id="59" name="TextBox 58">
                <a:extLst>
                  <a:ext uri="{FF2B5EF4-FFF2-40B4-BE49-F238E27FC236}">
                    <a16:creationId xmlns:a16="http://schemas.microsoft.com/office/drawing/2014/main" id="{D9DF0A6F-2649-4F7E-A154-6110A6561664}"/>
                  </a:ext>
                </a:extLst>
              </p:cNvPr>
              <p:cNvSpPr txBox="1"/>
              <p:nvPr/>
            </p:nvSpPr>
            <p:spPr>
              <a:xfrm>
                <a:off x="8609821" y="2236018"/>
                <a:ext cx="1153682" cy="430887"/>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Account Development</a:t>
                </a:r>
              </a:p>
            </p:txBody>
          </p:sp>
          <p:sp>
            <p:nvSpPr>
              <p:cNvPr id="60" name="TextBox 59">
                <a:extLst>
                  <a:ext uri="{FF2B5EF4-FFF2-40B4-BE49-F238E27FC236}">
                    <a16:creationId xmlns:a16="http://schemas.microsoft.com/office/drawing/2014/main" id="{84C8BB6A-F4F1-4468-8AD5-058BBBDE7CA5}"/>
                  </a:ext>
                </a:extLst>
              </p:cNvPr>
              <p:cNvSpPr txBox="1"/>
              <p:nvPr/>
            </p:nvSpPr>
            <p:spPr>
              <a:xfrm>
                <a:off x="9626424" y="2600086"/>
                <a:ext cx="1153682" cy="430887"/>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Outbound Sales</a:t>
                </a:r>
              </a:p>
            </p:txBody>
          </p:sp>
          <p:sp>
            <p:nvSpPr>
              <p:cNvPr id="61" name="TextBox 60">
                <a:extLst>
                  <a:ext uri="{FF2B5EF4-FFF2-40B4-BE49-F238E27FC236}">
                    <a16:creationId xmlns:a16="http://schemas.microsoft.com/office/drawing/2014/main" id="{8A9D0CBC-BE83-4612-A118-A5138F711819}"/>
                  </a:ext>
                </a:extLst>
              </p:cNvPr>
              <p:cNvSpPr txBox="1"/>
              <p:nvPr/>
            </p:nvSpPr>
            <p:spPr>
              <a:xfrm>
                <a:off x="9351965" y="3107850"/>
                <a:ext cx="1153682" cy="430887"/>
              </a:xfrm>
              <a:prstGeom prst="rect">
                <a:avLst/>
              </a:prstGeom>
              <a:noFill/>
            </p:spPr>
            <p:txBody>
              <a:bodyPr wrap="square" rtlCol="0">
                <a:spAutoFit/>
              </a:bodyPr>
              <a:lstStyle/>
              <a:p>
                <a:pPr algn="ctr"/>
                <a:r>
                  <a:rPr lang="en-US" sz="1100" dirty="0">
                    <a:solidFill>
                      <a:schemeClr val="bg1"/>
                    </a:solidFill>
                    <a:latin typeface="Montserrat" panose="00000500000000000000" pitchFamily="50" charset="0"/>
                  </a:rPr>
                  <a:t>Strategic Sales</a:t>
                </a:r>
              </a:p>
            </p:txBody>
          </p:sp>
        </p:grpSp>
        <p:sp>
          <p:nvSpPr>
            <p:cNvPr id="63" name="TextBox 62">
              <a:extLst>
                <a:ext uri="{FF2B5EF4-FFF2-40B4-BE49-F238E27FC236}">
                  <a16:creationId xmlns:a16="http://schemas.microsoft.com/office/drawing/2014/main" id="{26A06E24-C779-404A-8EBC-AF69FD379357}"/>
                </a:ext>
              </a:extLst>
            </p:cNvPr>
            <p:cNvSpPr txBox="1"/>
            <p:nvPr/>
          </p:nvSpPr>
          <p:spPr>
            <a:xfrm>
              <a:off x="539450" y="936320"/>
              <a:ext cx="2469512" cy="1477328"/>
            </a:xfrm>
            <a:prstGeom prst="rect">
              <a:avLst/>
            </a:prstGeom>
            <a:noFill/>
          </p:spPr>
          <p:txBody>
            <a:bodyPr wrap="square" rtlCol="0">
              <a:spAutoFit/>
            </a:bodyPr>
            <a:lstStyle>
              <a:defPPr>
                <a:defRPr lang="en-US"/>
              </a:defPPr>
              <a:lvl1pPr>
                <a:defRPr sz="3000" b="1">
                  <a:solidFill>
                    <a:schemeClr val="tx2">
                      <a:lumMod val="40000"/>
                      <a:lumOff val="60000"/>
                    </a:schemeClr>
                  </a:solidFill>
                  <a:latin typeface="Montserrat" panose="00000500000000000000" pitchFamily="50" charset="0"/>
                </a:defRPr>
              </a:lvl1pPr>
            </a:lstStyle>
            <a:p>
              <a:r>
                <a:rPr lang="en-US" dirty="0"/>
                <a:t>COMPANY ROLES OVERLAP</a:t>
              </a:r>
            </a:p>
          </p:txBody>
        </p:sp>
      </p:grpSp>
    </p:spTree>
    <p:extLst>
      <p:ext uri="{BB962C8B-B14F-4D97-AF65-F5344CB8AC3E}">
        <p14:creationId xmlns:p14="http://schemas.microsoft.com/office/powerpoint/2010/main" val="4292669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5432B386-0352-48DC-84F2-BC6630471C11}"/>
              </a:ext>
            </a:extLst>
          </p:cNvPr>
          <p:cNvSpPr/>
          <p:nvPr/>
        </p:nvSpPr>
        <p:spPr>
          <a:xfrm>
            <a:off x="1464768" y="1845812"/>
            <a:ext cx="9262464" cy="4215492"/>
          </a:xfrm>
          <a:prstGeom prst="roundRect">
            <a:avLst>
              <a:gd name="adj" fmla="val 50000"/>
            </a:avLst>
          </a:prstGeom>
          <a:gradFill flip="none" rotWithShape="1">
            <a:gsLst>
              <a:gs pos="0">
                <a:srgbClr val="5F81E8">
                  <a:alpha val="25000"/>
                </a:srgbClr>
              </a:gs>
              <a:gs pos="100000">
                <a:srgbClr val="B0C3FD">
                  <a:alpha val="25000"/>
                </a:srgb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Rectangle: Rounded Corners 11">
            <a:extLst>
              <a:ext uri="{FF2B5EF4-FFF2-40B4-BE49-F238E27FC236}">
                <a16:creationId xmlns:a16="http://schemas.microsoft.com/office/drawing/2014/main" id="{13981818-23A2-4934-BDCE-2CAFE0339333}"/>
              </a:ext>
            </a:extLst>
          </p:cNvPr>
          <p:cNvSpPr/>
          <p:nvPr/>
        </p:nvSpPr>
        <p:spPr>
          <a:xfrm>
            <a:off x="4782870" y="2322062"/>
            <a:ext cx="5468112" cy="3262992"/>
          </a:xfrm>
          <a:prstGeom prst="roundRect">
            <a:avLst>
              <a:gd name="adj" fmla="val 50000"/>
            </a:avLst>
          </a:prstGeom>
          <a:gradFill flip="none" rotWithShape="1">
            <a:gsLst>
              <a:gs pos="0">
                <a:schemeClr val="accent3">
                  <a:alpha val="40000"/>
                </a:schemeClr>
              </a:gs>
              <a:gs pos="100000">
                <a:schemeClr val="accent3">
                  <a:lumMod val="60000"/>
                  <a:lumOff val="40000"/>
                  <a:alpha val="4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5" name="TextBox 34">
            <a:extLst>
              <a:ext uri="{FF2B5EF4-FFF2-40B4-BE49-F238E27FC236}">
                <a16:creationId xmlns:a16="http://schemas.microsoft.com/office/drawing/2014/main" id="{51C99743-83EA-4716-B7E2-30E386E78B30}"/>
              </a:ext>
            </a:extLst>
          </p:cNvPr>
          <p:cNvSpPr txBox="1"/>
          <p:nvPr/>
        </p:nvSpPr>
        <p:spPr>
          <a:xfrm>
            <a:off x="2505907" y="796697"/>
            <a:ext cx="7180187" cy="553998"/>
          </a:xfrm>
          <a:prstGeom prst="rect">
            <a:avLst/>
          </a:prstGeom>
          <a:noFill/>
        </p:spPr>
        <p:txBody>
          <a:bodyPr wrap="square" rtlCol="0">
            <a:spAutoFit/>
          </a:bodyPr>
          <a:lstStyle>
            <a:defPPr>
              <a:defRPr lang="en-US"/>
            </a:defPPr>
            <a:lvl1pPr>
              <a:defRPr sz="3000" b="1">
                <a:solidFill>
                  <a:schemeClr val="tx2">
                    <a:lumMod val="40000"/>
                    <a:lumOff val="60000"/>
                  </a:schemeClr>
                </a:solidFill>
                <a:latin typeface="Montserrat" panose="00000500000000000000" pitchFamily="50" charset="0"/>
              </a:defRPr>
            </a:lvl1pPr>
          </a:lstStyle>
          <a:p>
            <a:pPr algn="ctr"/>
            <a:r>
              <a:rPr lang="en-US" dirty="0"/>
              <a:t>TOTAL ADDRESSABLE MARKET</a:t>
            </a:r>
          </a:p>
        </p:txBody>
      </p:sp>
      <p:sp>
        <p:nvSpPr>
          <p:cNvPr id="2" name="Oval 1">
            <a:extLst>
              <a:ext uri="{FF2B5EF4-FFF2-40B4-BE49-F238E27FC236}">
                <a16:creationId xmlns:a16="http://schemas.microsoft.com/office/drawing/2014/main" id="{F644B5EA-5EE6-47FA-9808-CE0A8DBF10F1}"/>
              </a:ext>
            </a:extLst>
          </p:cNvPr>
          <p:cNvSpPr/>
          <p:nvPr/>
        </p:nvSpPr>
        <p:spPr>
          <a:xfrm>
            <a:off x="1464768" y="1845812"/>
            <a:ext cx="4215492" cy="4215492"/>
          </a:xfrm>
          <a:prstGeom prst="ellipse">
            <a:avLst/>
          </a:prstGeom>
          <a:gradFill flip="none" rotWithShape="1">
            <a:gsLst>
              <a:gs pos="0">
                <a:schemeClr val="accent1"/>
              </a:gs>
              <a:gs pos="99000">
                <a:srgbClr val="B0C3FD"/>
              </a:gs>
            </a:gsLst>
            <a:path path="circle">
              <a:fillToRect t="100000" r="100000"/>
            </a:path>
            <a:tileRect l="-100000" b="-100000"/>
          </a:gra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Oval 5">
            <a:extLst>
              <a:ext uri="{FF2B5EF4-FFF2-40B4-BE49-F238E27FC236}">
                <a16:creationId xmlns:a16="http://schemas.microsoft.com/office/drawing/2014/main" id="{4D18DD3C-D07F-46CB-A177-700D38E496F5}"/>
              </a:ext>
            </a:extLst>
          </p:cNvPr>
          <p:cNvSpPr/>
          <p:nvPr/>
        </p:nvSpPr>
        <p:spPr>
          <a:xfrm>
            <a:off x="4782870" y="2322062"/>
            <a:ext cx="3262992" cy="3262992"/>
          </a:xfrm>
          <a:prstGeom prst="ellipse">
            <a:avLst/>
          </a:prstGeom>
          <a:gradFill flip="none" rotWithShape="1">
            <a:gsLst>
              <a:gs pos="0">
                <a:schemeClr val="accent3"/>
              </a:gs>
              <a:gs pos="100000">
                <a:schemeClr val="accent3">
                  <a:lumMod val="60000"/>
                  <a:lumOff val="40000"/>
                  <a:alpha val="55000"/>
                </a:schemeClr>
              </a:gs>
            </a:gsLst>
            <a:path path="circle">
              <a:fillToRect t="100000" r="100000"/>
            </a:path>
            <a:tileRect l="-100000" b="-100000"/>
          </a:gra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Oval 6">
            <a:extLst>
              <a:ext uri="{FF2B5EF4-FFF2-40B4-BE49-F238E27FC236}">
                <a16:creationId xmlns:a16="http://schemas.microsoft.com/office/drawing/2014/main" id="{8FC18312-CDBC-465A-A5F2-085201B6EC6A}"/>
              </a:ext>
            </a:extLst>
          </p:cNvPr>
          <p:cNvSpPr/>
          <p:nvPr/>
        </p:nvSpPr>
        <p:spPr>
          <a:xfrm>
            <a:off x="7445190" y="2779262"/>
            <a:ext cx="2348592" cy="2348592"/>
          </a:xfrm>
          <a:prstGeom prst="ellipse">
            <a:avLst/>
          </a:prstGeom>
          <a:gradFill flip="none" rotWithShape="1">
            <a:gsLst>
              <a:gs pos="0">
                <a:schemeClr val="accent4">
                  <a:lumMod val="75000"/>
                </a:schemeClr>
              </a:gs>
              <a:gs pos="100000">
                <a:schemeClr val="accent4">
                  <a:lumMod val="60000"/>
                  <a:lumOff val="40000"/>
                  <a:alpha val="55000"/>
                </a:schemeClr>
              </a:gs>
            </a:gsLst>
            <a:path path="circle">
              <a:fillToRect t="100000" r="100000"/>
            </a:path>
            <a:tileRect l="-100000" b="-100000"/>
          </a:gra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 name="TextBox 13">
            <a:extLst>
              <a:ext uri="{FF2B5EF4-FFF2-40B4-BE49-F238E27FC236}">
                <a16:creationId xmlns:a16="http://schemas.microsoft.com/office/drawing/2014/main" id="{5E228149-8246-40B0-802C-DEE42E6D2523}"/>
              </a:ext>
            </a:extLst>
          </p:cNvPr>
          <p:cNvSpPr txBox="1"/>
          <p:nvPr/>
        </p:nvSpPr>
        <p:spPr>
          <a:xfrm>
            <a:off x="2378229" y="3443202"/>
            <a:ext cx="1802096" cy="553998"/>
          </a:xfrm>
          <a:prstGeom prst="rect">
            <a:avLst/>
          </a:prstGeom>
          <a:noFill/>
        </p:spPr>
        <p:txBody>
          <a:bodyPr wrap="none" rtlCol="0" anchor="ctr" anchorCtr="0">
            <a:spAutoFit/>
          </a:bodyPr>
          <a:lstStyle/>
          <a:p>
            <a:pPr algn="ctr"/>
            <a:r>
              <a:rPr lang="en-US" sz="3000" b="1" dirty="0">
                <a:solidFill>
                  <a:schemeClr val="bg1"/>
                </a:solidFill>
                <a:latin typeface="Montserrat" panose="00000500000000000000" pitchFamily="50" charset="0"/>
              </a:rPr>
              <a:t>$160 BN</a:t>
            </a:r>
          </a:p>
        </p:txBody>
      </p:sp>
      <p:sp>
        <p:nvSpPr>
          <p:cNvPr id="16" name="TextBox 15">
            <a:extLst>
              <a:ext uri="{FF2B5EF4-FFF2-40B4-BE49-F238E27FC236}">
                <a16:creationId xmlns:a16="http://schemas.microsoft.com/office/drawing/2014/main" id="{F590E009-C0A3-4995-9C69-2FDD4A65CDB4}"/>
              </a:ext>
            </a:extLst>
          </p:cNvPr>
          <p:cNvSpPr txBox="1"/>
          <p:nvPr/>
        </p:nvSpPr>
        <p:spPr>
          <a:xfrm>
            <a:off x="2886381" y="3101973"/>
            <a:ext cx="785793" cy="400110"/>
          </a:xfrm>
          <a:prstGeom prst="rect">
            <a:avLst/>
          </a:prstGeom>
          <a:noFill/>
        </p:spPr>
        <p:txBody>
          <a:bodyPr wrap="none" rtlCol="0" anchor="ctr" anchorCtr="0">
            <a:spAutoFit/>
          </a:bodyPr>
          <a:lstStyle/>
          <a:p>
            <a:pPr algn="ctr"/>
            <a:r>
              <a:rPr lang="en-US" sz="2000" dirty="0">
                <a:solidFill>
                  <a:schemeClr val="bg1"/>
                </a:solidFill>
                <a:latin typeface="Montserrat" panose="00000500000000000000" pitchFamily="50" charset="0"/>
              </a:rPr>
              <a:t>TAM</a:t>
            </a:r>
          </a:p>
        </p:txBody>
      </p:sp>
      <p:sp>
        <p:nvSpPr>
          <p:cNvPr id="17" name="TextBox 16">
            <a:extLst>
              <a:ext uri="{FF2B5EF4-FFF2-40B4-BE49-F238E27FC236}">
                <a16:creationId xmlns:a16="http://schemas.microsoft.com/office/drawing/2014/main" id="{7918E766-9158-498C-9577-EDD23E3E37F5}"/>
              </a:ext>
            </a:extLst>
          </p:cNvPr>
          <p:cNvSpPr txBox="1"/>
          <p:nvPr/>
        </p:nvSpPr>
        <p:spPr>
          <a:xfrm>
            <a:off x="2065020" y="4015825"/>
            <a:ext cx="2428538" cy="789319"/>
          </a:xfrm>
          <a:prstGeom prst="rect">
            <a:avLst/>
          </a:prstGeom>
          <a:noFill/>
        </p:spPr>
        <p:txBody>
          <a:bodyPr wrap="square" rtlCol="0" anchor="ctr" anchorCtr="0">
            <a:spAutoFit/>
          </a:bodyPr>
          <a:lstStyle/>
          <a:p>
            <a:pPr algn="ctr"/>
            <a:r>
              <a:rPr lang="en-US" sz="1500" b="1" dirty="0">
                <a:solidFill>
                  <a:schemeClr val="bg1"/>
                </a:solidFill>
                <a:latin typeface="Montserrat" panose="00000500000000000000" pitchFamily="50" charset="0"/>
              </a:rPr>
              <a:t>1.5BN People</a:t>
            </a:r>
          </a:p>
          <a:p>
            <a:pPr algn="ctr">
              <a:lnSpc>
                <a:spcPts val="1600"/>
              </a:lnSpc>
              <a:spcBef>
                <a:spcPts val="600"/>
              </a:spcBef>
            </a:pPr>
            <a:r>
              <a:rPr lang="en-US" sz="1000" dirty="0">
                <a:solidFill>
                  <a:schemeClr val="bg1"/>
                </a:solidFill>
                <a:latin typeface="Montserrat" panose="00000500000000000000" pitchFamily="50" charset="0"/>
              </a:rPr>
              <a:t>People who get and Engineering degree around the world</a:t>
            </a:r>
          </a:p>
        </p:txBody>
      </p:sp>
      <p:sp>
        <p:nvSpPr>
          <p:cNvPr id="25" name="TextBox 24">
            <a:extLst>
              <a:ext uri="{FF2B5EF4-FFF2-40B4-BE49-F238E27FC236}">
                <a16:creationId xmlns:a16="http://schemas.microsoft.com/office/drawing/2014/main" id="{52D363B4-904B-4BC8-B387-A078F01A8463}"/>
              </a:ext>
            </a:extLst>
          </p:cNvPr>
          <p:cNvSpPr txBox="1"/>
          <p:nvPr/>
        </p:nvSpPr>
        <p:spPr>
          <a:xfrm>
            <a:off x="5419741" y="3443202"/>
            <a:ext cx="1659430" cy="553998"/>
          </a:xfrm>
          <a:prstGeom prst="rect">
            <a:avLst/>
          </a:prstGeom>
          <a:noFill/>
        </p:spPr>
        <p:txBody>
          <a:bodyPr wrap="none" rtlCol="0" anchor="ctr" anchorCtr="0">
            <a:spAutoFit/>
          </a:bodyPr>
          <a:lstStyle/>
          <a:p>
            <a:pPr algn="ctr"/>
            <a:r>
              <a:rPr lang="en-US" sz="3000" b="1" dirty="0">
                <a:solidFill>
                  <a:schemeClr val="bg1"/>
                </a:solidFill>
                <a:latin typeface="Montserrat" panose="00000500000000000000" pitchFamily="50" charset="0"/>
              </a:rPr>
              <a:t>$80 BN</a:t>
            </a:r>
          </a:p>
        </p:txBody>
      </p:sp>
      <p:sp>
        <p:nvSpPr>
          <p:cNvPr id="26" name="TextBox 25">
            <a:extLst>
              <a:ext uri="{FF2B5EF4-FFF2-40B4-BE49-F238E27FC236}">
                <a16:creationId xmlns:a16="http://schemas.microsoft.com/office/drawing/2014/main" id="{37361FC3-9849-4587-A480-8D79DF464D16}"/>
              </a:ext>
            </a:extLst>
          </p:cNvPr>
          <p:cNvSpPr txBox="1"/>
          <p:nvPr/>
        </p:nvSpPr>
        <p:spPr>
          <a:xfrm>
            <a:off x="5863773" y="3101973"/>
            <a:ext cx="771366" cy="400110"/>
          </a:xfrm>
          <a:prstGeom prst="rect">
            <a:avLst/>
          </a:prstGeom>
          <a:noFill/>
        </p:spPr>
        <p:txBody>
          <a:bodyPr wrap="none" rtlCol="0" anchor="ctr" anchorCtr="0">
            <a:spAutoFit/>
          </a:bodyPr>
          <a:lstStyle/>
          <a:p>
            <a:pPr algn="ctr"/>
            <a:r>
              <a:rPr lang="en-US" sz="2000" dirty="0">
                <a:solidFill>
                  <a:schemeClr val="bg1"/>
                </a:solidFill>
                <a:latin typeface="Montserrat" panose="00000500000000000000" pitchFamily="50" charset="0"/>
              </a:rPr>
              <a:t>SAM</a:t>
            </a:r>
          </a:p>
        </p:txBody>
      </p:sp>
      <p:sp>
        <p:nvSpPr>
          <p:cNvPr id="27" name="TextBox 26">
            <a:extLst>
              <a:ext uri="{FF2B5EF4-FFF2-40B4-BE49-F238E27FC236}">
                <a16:creationId xmlns:a16="http://schemas.microsoft.com/office/drawing/2014/main" id="{B33C07E2-FBEF-4D69-A390-DC9E57B5535B}"/>
              </a:ext>
            </a:extLst>
          </p:cNvPr>
          <p:cNvSpPr txBox="1"/>
          <p:nvPr/>
        </p:nvSpPr>
        <p:spPr>
          <a:xfrm>
            <a:off x="5348408" y="4015825"/>
            <a:ext cx="1802120" cy="789319"/>
          </a:xfrm>
          <a:prstGeom prst="rect">
            <a:avLst/>
          </a:prstGeom>
          <a:noFill/>
        </p:spPr>
        <p:txBody>
          <a:bodyPr wrap="square" rtlCol="0" anchor="ctr" anchorCtr="0">
            <a:spAutoFit/>
          </a:bodyPr>
          <a:lstStyle/>
          <a:p>
            <a:pPr algn="ctr"/>
            <a:r>
              <a:rPr lang="en-US" sz="1500" b="1" dirty="0">
                <a:solidFill>
                  <a:schemeClr val="bg1"/>
                </a:solidFill>
                <a:latin typeface="Montserrat" panose="00000500000000000000" pitchFamily="50" charset="0"/>
              </a:rPr>
              <a:t>553MN People</a:t>
            </a:r>
          </a:p>
          <a:p>
            <a:pPr algn="ctr">
              <a:lnSpc>
                <a:spcPts val="1600"/>
              </a:lnSpc>
              <a:spcBef>
                <a:spcPts val="600"/>
              </a:spcBef>
            </a:pPr>
            <a:r>
              <a:rPr lang="en-US" sz="1000" dirty="0">
                <a:solidFill>
                  <a:schemeClr val="bg1"/>
                </a:solidFill>
                <a:latin typeface="Montserrat" panose="00000500000000000000" pitchFamily="50" charset="0"/>
              </a:rPr>
              <a:t>People who live in underdeveloped country</a:t>
            </a:r>
          </a:p>
        </p:txBody>
      </p:sp>
      <p:sp>
        <p:nvSpPr>
          <p:cNvPr id="30" name="TextBox 29">
            <a:extLst>
              <a:ext uri="{FF2B5EF4-FFF2-40B4-BE49-F238E27FC236}">
                <a16:creationId xmlns:a16="http://schemas.microsoft.com/office/drawing/2014/main" id="{6C45915A-7AB2-4765-847E-071BB5A1D585}"/>
              </a:ext>
            </a:extLst>
          </p:cNvPr>
          <p:cNvSpPr txBox="1"/>
          <p:nvPr/>
        </p:nvSpPr>
        <p:spPr>
          <a:xfrm>
            <a:off x="7813804" y="3387786"/>
            <a:ext cx="1611340" cy="553998"/>
          </a:xfrm>
          <a:prstGeom prst="rect">
            <a:avLst/>
          </a:prstGeom>
          <a:noFill/>
        </p:spPr>
        <p:txBody>
          <a:bodyPr wrap="none" rtlCol="0" anchor="ctr" anchorCtr="0">
            <a:spAutoFit/>
          </a:bodyPr>
          <a:lstStyle/>
          <a:p>
            <a:pPr algn="ctr"/>
            <a:r>
              <a:rPr lang="en-US" sz="3000" b="1" dirty="0">
                <a:solidFill>
                  <a:schemeClr val="bg1"/>
                </a:solidFill>
                <a:latin typeface="Montserrat" panose="00000500000000000000" pitchFamily="50" charset="0"/>
              </a:rPr>
              <a:t>$72 BN</a:t>
            </a:r>
          </a:p>
        </p:txBody>
      </p:sp>
      <p:sp>
        <p:nvSpPr>
          <p:cNvPr id="31" name="TextBox 30">
            <a:extLst>
              <a:ext uri="{FF2B5EF4-FFF2-40B4-BE49-F238E27FC236}">
                <a16:creationId xmlns:a16="http://schemas.microsoft.com/office/drawing/2014/main" id="{A648A346-35F2-46A6-8457-71DD32D63D7B}"/>
              </a:ext>
            </a:extLst>
          </p:cNvPr>
          <p:cNvSpPr txBox="1"/>
          <p:nvPr/>
        </p:nvSpPr>
        <p:spPr>
          <a:xfrm>
            <a:off x="8218563" y="3046557"/>
            <a:ext cx="801823" cy="400110"/>
          </a:xfrm>
          <a:prstGeom prst="rect">
            <a:avLst/>
          </a:prstGeom>
          <a:noFill/>
        </p:spPr>
        <p:txBody>
          <a:bodyPr wrap="none" rtlCol="0" anchor="ctr" anchorCtr="0">
            <a:spAutoFit/>
          </a:bodyPr>
          <a:lstStyle/>
          <a:p>
            <a:pPr algn="ctr"/>
            <a:r>
              <a:rPr lang="en-US" sz="2000" dirty="0">
                <a:solidFill>
                  <a:schemeClr val="bg1"/>
                </a:solidFill>
                <a:latin typeface="Montserrat" panose="00000500000000000000" pitchFamily="50" charset="0"/>
              </a:rPr>
              <a:t>SOM</a:t>
            </a:r>
          </a:p>
        </p:txBody>
      </p:sp>
      <p:sp>
        <p:nvSpPr>
          <p:cNvPr id="32" name="TextBox 31">
            <a:extLst>
              <a:ext uri="{FF2B5EF4-FFF2-40B4-BE49-F238E27FC236}">
                <a16:creationId xmlns:a16="http://schemas.microsoft.com/office/drawing/2014/main" id="{F81CB0DC-51F0-4880-84F6-2FEE12FA563F}"/>
              </a:ext>
            </a:extLst>
          </p:cNvPr>
          <p:cNvSpPr txBox="1"/>
          <p:nvPr/>
        </p:nvSpPr>
        <p:spPr>
          <a:xfrm>
            <a:off x="7718426" y="3960409"/>
            <a:ext cx="1802120" cy="789319"/>
          </a:xfrm>
          <a:prstGeom prst="rect">
            <a:avLst/>
          </a:prstGeom>
          <a:noFill/>
        </p:spPr>
        <p:txBody>
          <a:bodyPr wrap="square" rtlCol="0" anchor="ctr" anchorCtr="0">
            <a:spAutoFit/>
          </a:bodyPr>
          <a:lstStyle/>
          <a:p>
            <a:pPr algn="ctr"/>
            <a:r>
              <a:rPr lang="en-US" sz="1500" b="1" dirty="0">
                <a:solidFill>
                  <a:schemeClr val="bg1"/>
                </a:solidFill>
                <a:latin typeface="Montserrat" panose="00000500000000000000" pitchFamily="50" charset="0"/>
              </a:rPr>
              <a:t>1.9MN People</a:t>
            </a:r>
          </a:p>
          <a:p>
            <a:pPr algn="ctr">
              <a:lnSpc>
                <a:spcPts val="1600"/>
              </a:lnSpc>
              <a:spcBef>
                <a:spcPts val="600"/>
              </a:spcBef>
            </a:pPr>
            <a:r>
              <a:rPr lang="en-US" sz="1000" dirty="0">
                <a:solidFill>
                  <a:schemeClr val="bg1"/>
                </a:solidFill>
                <a:latin typeface="Montserrat" panose="00000500000000000000" pitchFamily="50" charset="0"/>
              </a:rPr>
              <a:t>People we plan to support in next 10 Years</a:t>
            </a:r>
          </a:p>
        </p:txBody>
      </p:sp>
    </p:spTree>
    <p:extLst>
      <p:ext uri="{BB962C8B-B14F-4D97-AF65-F5344CB8AC3E}">
        <p14:creationId xmlns:p14="http://schemas.microsoft.com/office/powerpoint/2010/main" val="3935096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1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500"/>
                                        <p:tgtEl>
                                          <p:spTgt spid="2"/>
                                        </p:tgtEl>
                                      </p:cBhvr>
                                    </p:animEffect>
                                  </p:childTnLst>
                                </p:cTn>
                              </p:par>
                              <p:par>
                                <p:cTn id="14" presetID="0" presetClass="path" presetSubtype="0" decel="50000" fill="hold" grpId="1" nodeType="withEffect">
                                  <p:stCondLst>
                                    <p:cond delay="0"/>
                                  </p:stCondLst>
                                  <p:childTnLst>
                                    <p:animMotion origin="layout" path="M 0.13386 1.11111E-6 L -1.25E-6 1.11111E-6 " pathEditMode="relative" rAng="0" ptsTypes="AA">
                                      <p:cBhvr>
                                        <p:cTn id="15" dur="2500" fill="hold"/>
                                        <p:tgtEl>
                                          <p:spTgt spid="7"/>
                                        </p:tgtEl>
                                        <p:attrNameLst>
                                          <p:attrName>ppt_x</p:attrName>
                                          <p:attrName>ppt_y</p:attrName>
                                        </p:attrNameLst>
                                      </p:cBhvr>
                                      <p:rCtr x="-6693" y="0"/>
                                    </p:animMotion>
                                  </p:childTnLst>
                                </p:cTn>
                              </p:par>
                              <p:par>
                                <p:cTn id="16" presetID="0" presetClass="path" presetSubtype="0" decel="50000" fill="hold" grpId="1" nodeType="withEffect">
                                  <p:stCondLst>
                                    <p:cond delay="0"/>
                                  </p:stCondLst>
                                  <p:childTnLst>
                                    <p:animMotion origin="layout" path="M 0.31459 0.00069 L -2.5E-6 -3.33333E-6 " pathEditMode="relative" rAng="0" ptsTypes="AA">
                                      <p:cBhvr>
                                        <p:cTn id="17" dur="2500" fill="hold"/>
                                        <p:tgtEl>
                                          <p:spTgt spid="6"/>
                                        </p:tgtEl>
                                        <p:attrNameLst>
                                          <p:attrName>ppt_x</p:attrName>
                                          <p:attrName>ppt_y</p:attrName>
                                        </p:attrNameLst>
                                      </p:cBhvr>
                                      <p:rCtr x="-15703" y="0"/>
                                    </p:animMotion>
                                  </p:childTnLst>
                                </p:cTn>
                              </p:par>
                              <p:par>
                                <p:cTn id="18" presetID="0" presetClass="path" presetSubtype="0" decel="50000" fill="hold" grpId="1" nodeType="withEffect">
                                  <p:stCondLst>
                                    <p:cond delay="0"/>
                                  </p:stCondLst>
                                  <p:childTnLst>
                                    <p:animMotion origin="layout" path="M 0.54766 1.11111E-6 L 2.5E-6 1.11111E-6 " pathEditMode="relative" rAng="0" ptsTypes="AA">
                                      <p:cBhvr>
                                        <p:cTn id="19" dur="2500" fill="hold"/>
                                        <p:tgtEl>
                                          <p:spTgt spid="2"/>
                                        </p:tgtEl>
                                        <p:attrNameLst>
                                          <p:attrName>ppt_x</p:attrName>
                                          <p:attrName>ppt_y</p:attrName>
                                        </p:attrNameLst>
                                      </p:cBhvr>
                                      <p:rCtr x="-27422" y="0"/>
                                    </p:animMotion>
                                  </p:childTnLst>
                                </p:cTn>
                              </p:par>
                              <p:par>
                                <p:cTn id="20" presetID="22" presetClass="entr" presetSubtype="8" fill="hold" grpId="0" nodeType="withEffect">
                                  <p:stCondLst>
                                    <p:cond delay="2000"/>
                                  </p:stCondLst>
                                  <p:childTnLst>
                                    <p:set>
                                      <p:cBhvr>
                                        <p:cTn id="21" dur="1" fill="hold">
                                          <p:stCondLst>
                                            <p:cond delay="0"/>
                                          </p:stCondLst>
                                        </p:cTn>
                                        <p:tgtEl>
                                          <p:spTgt spid="12"/>
                                        </p:tgtEl>
                                        <p:attrNameLst>
                                          <p:attrName>style.visibility</p:attrName>
                                        </p:attrNameLst>
                                      </p:cBhvr>
                                      <p:to>
                                        <p:strVal val="visible"/>
                                      </p:to>
                                    </p:set>
                                    <p:animEffect transition="in" filter="wipe(left)">
                                      <p:cBhvr>
                                        <p:cTn id="22" dur="1500"/>
                                        <p:tgtEl>
                                          <p:spTgt spid="12"/>
                                        </p:tgtEl>
                                      </p:cBhvr>
                                    </p:animEffect>
                                  </p:childTnLst>
                                </p:cTn>
                              </p:par>
                              <p:par>
                                <p:cTn id="23" presetID="22" presetClass="entr" presetSubtype="8" fill="hold" grpId="0" nodeType="withEffect">
                                  <p:stCondLst>
                                    <p:cond delay="2000"/>
                                  </p:stCondLst>
                                  <p:childTnLst>
                                    <p:set>
                                      <p:cBhvr>
                                        <p:cTn id="24" dur="1" fill="hold">
                                          <p:stCondLst>
                                            <p:cond delay="0"/>
                                          </p:stCondLst>
                                        </p:cTn>
                                        <p:tgtEl>
                                          <p:spTgt spid="5"/>
                                        </p:tgtEl>
                                        <p:attrNameLst>
                                          <p:attrName>style.visibility</p:attrName>
                                        </p:attrNameLst>
                                      </p:cBhvr>
                                      <p:to>
                                        <p:strVal val="visible"/>
                                      </p:to>
                                    </p:set>
                                    <p:animEffect transition="in" filter="wipe(left)">
                                      <p:cBhvr>
                                        <p:cTn id="25" dur="1500"/>
                                        <p:tgtEl>
                                          <p:spTgt spid="5"/>
                                        </p:tgtEl>
                                      </p:cBhvr>
                                    </p:animEffect>
                                  </p:childTnLst>
                                </p:cTn>
                              </p:par>
                              <p:par>
                                <p:cTn id="26" presetID="10" presetClass="entr" presetSubtype="0" fill="hold" grpId="0" nodeType="withEffect">
                                  <p:stCondLst>
                                    <p:cond delay="200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1000"/>
                                        <p:tgtEl>
                                          <p:spTgt spid="16"/>
                                        </p:tgtEl>
                                      </p:cBhvr>
                                    </p:animEffect>
                                  </p:childTnLst>
                                </p:cTn>
                              </p:par>
                              <p:par>
                                <p:cTn id="29" presetID="10" presetClass="entr" presetSubtype="0" fill="hold" grpId="0" nodeType="withEffect">
                                  <p:stCondLst>
                                    <p:cond delay="2000"/>
                                  </p:stCondLst>
                                  <p:childTnLst>
                                    <p:set>
                                      <p:cBhvr>
                                        <p:cTn id="30" dur="1" fill="hold">
                                          <p:stCondLst>
                                            <p:cond delay="0"/>
                                          </p:stCondLst>
                                        </p:cTn>
                                        <p:tgtEl>
                                          <p:spTgt spid="26"/>
                                        </p:tgtEl>
                                        <p:attrNameLst>
                                          <p:attrName>style.visibility</p:attrName>
                                        </p:attrNameLst>
                                      </p:cBhvr>
                                      <p:to>
                                        <p:strVal val="visible"/>
                                      </p:to>
                                    </p:set>
                                    <p:animEffect transition="in" filter="fade">
                                      <p:cBhvr>
                                        <p:cTn id="31" dur="1000"/>
                                        <p:tgtEl>
                                          <p:spTgt spid="26"/>
                                        </p:tgtEl>
                                      </p:cBhvr>
                                    </p:animEffect>
                                  </p:childTnLst>
                                </p:cTn>
                              </p:par>
                              <p:par>
                                <p:cTn id="32" presetID="10" presetClass="entr" presetSubtype="0" fill="hold" grpId="0" nodeType="withEffect">
                                  <p:stCondLst>
                                    <p:cond delay="2000"/>
                                  </p:stCondLst>
                                  <p:childTnLst>
                                    <p:set>
                                      <p:cBhvr>
                                        <p:cTn id="33" dur="1" fill="hold">
                                          <p:stCondLst>
                                            <p:cond delay="0"/>
                                          </p:stCondLst>
                                        </p:cTn>
                                        <p:tgtEl>
                                          <p:spTgt spid="31"/>
                                        </p:tgtEl>
                                        <p:attrNameLst>
                                          <p:attrName>style.visibility</p:attrName>
                                        </p:attrNameLst>
                                      </p:cBhvr>
                                      <p:to>
                                        <p:strVal val="visible"/>
                                      </p:to>
                                    </p:set>
                                    <p:animEffect transition="in" filter="fade">
                                      <p:cBhvr>
                                        <p:cTn id="34" dur="1000"/>
                                        <p:tgtEl>
                                          <p:spTgt spid="31"/>
                                        </p:tgtEl>
                                      </p:cBhvr>
                                    </p:animEffect>
                                  </p:childTnLst>
                                </p:cTn>
                              </p:par>
                              <p:par>
                                <p:cTn id="35" presetID="23" presetClass="entr" presetSubtype="16" fill="hold" grpId="0" nodeType="withEffect">
                                  <p:stCondLst>
                                    <p:cond delay="2500"/>
                                  </p:stCondLst>
                                  <p:childTnLst>
                                    <p:set>
                                      <p:cBhvr>
                                        <p:cTn id="36" dur="1" fill="hold">
                                          <p:stCondLst>
                                            <p:cond delay="0"/>
                                          </p:stCondLst>
                                        </p:cTn>
                                        <p:tgtEl>
                                          <p:spTgt spid="14"/>
                                        </p:tgtEl>
                                        <p:attrNameLst>
                                          <p:attrName>style.visibility</p:attrName>
                                        </p:attrNameLst>
                                      </p:cBhvr>
                                      <p:to>
                                        <p:strVal val="visible"/>
                                      </p:to>
                                    </p:set>
                                    <p:anim calcmode="lin" valueType="num">
                                      <p:cBhvr>
                                        <p:cTn id="37" dur="1500" fill="hold"/>
                                        <p:tgtEl>
                                          <p:spTgt spid="14"/>
                                        </p:tgtEl>
                                        <p:attrNameLst>
                                          <p:attrName>ppt_w</p:attrName>
                                        </p:attrNameLst>
                                      </p:cBhvr>
                                      <p:tavLst>
                                        <p:tav tm="0">
                                          <p:val>
                                            <p:fltVal val="0"/>
                                          </p:val>
                                        </p:tav>
                                        <p:tav tm="100000">
                                          <p:val>
                                            <p:strVal val="#ppt_w"/>
                                          </p:val>
                                        </p:tav>
                                      </p:tavLst>
                                    </p:anim>
                                    <p:anim calcmode="lin" valueType="num">
                                      <p:cBhvr>
                                        <p:cTn id="38" dur="1500" fill="hold"/>
                                        <p:tgtEl>
                                          <p:spTgt spid="14"/>
                                        </p:tgtEl>
                                        <p:attrNameLst>
                                          <p:attrName>ppt_h</p:attrName>
                                        </p:attrNameLst>
                                      </p:cBhvr>
                                      <p:tavLst>
                                        <p:tav tm="0">
                                          <p:val>
                                            <p:fltVal val="0"/>
                                          </p:val>
                                        </p:tav>
                                        <p:tav tm="100000">
                                          <p:val>
                                            <p:strVal val="#ppt_h"/>
                                          </p:val>
                                        </p:tav>
                                      </p:tavLst>
                                    </p:anim>
                                  </p:childTnLst>
                                </p:cTn>
                              </p:par>
                              <p:par>
                                <p:cTn id="39" presetID="23" presetClass="entr" presetSubtype="16" fill="hold" grpId="0" nodeType="withEffect">
                                  <p:stCondLst>
                                    <p:cond delay="2500"/>
                                  </p:stCondLst>
                                  <p:childTnLst>
                                    <p:set>
                                      <p:cBhvr>
                                        <p:cTn id="40" dur="1" fill="hold">
                                          <p:stCondLst>
                                            <p:cond delay="0"/>
                                          </p:stCondLst>
                                        </p:cTn>
                                        <p:tgtEl>
                                          <p:spTgt spid="25"/>
                                        </p:tgtEl>
                                        <p:attrNameLst>
                                          <p:attrName>style.visibility</p:attrName>
                                        </p:attrNameLst>
                                      </p:cBhvr>
                                      <p:to>
                                        <p:strVal val="visible"/>
                                      </p:to>
                                    </p:set>
                                    <p:anim calcmode="lin" valueType="num">
                                      <p:cBhvr>
                                        <p:cTn id="41" dur="1500" fill="hold"/>
                                        <p:tgtEl>
                                          <p:spTgt spid="25"/>
                                        </p:tgtEl>
                                        <p:attrNameLst>
                                          <p:attrName>ppt_w</p:attrName>
                                        </p:attrNameLst>
                                      </p:cBhvr>
                                      <p:tavLst>
                                        <p:tav tm="0">
                                          <p:val>
                                            <p:fltVal val="0"/>
                                          </p:val>
                                        </p:tav>
                                        <p:tav tm="100000">
                                          <p:val>
                                            <p:strVal val="#ppt_w"/>
                                          </p:val>
                                        </p:tav>
                                      </p:tavLst>
                                    </p:anim>
                                    <p:anim calcmode="lin" valueType="num">
                                      <p:cBhvr>
                                        <p:cTn id="42" dur="1500" fill="hold"/>
                                        <p:tgtEl>
                                          <p:spTgt spid="25"/>
                                        </p:tgtEl>
                                        <p:attrNameLst>
                                          <p:attrName>ppt_h</p:attrName>
                                        </p:attrNameLst>
                                      </p:cBhvr>
                                      <p:tavLst>
                                        <p:tav tm="0">
                                          <p:val>
                                            <p:fltVal val="0"/>
                                          </p:val>
                                        </p:tav>
                                        <p:tav tm="100000">
                                          <p:val>
                                            <p:strVal val="#ppt_h"/>
                                          </p:val>
                                        </p:tav>
                                      </p:tavLst>
                                    </p:anim>
                                  </p:childTnLst>
                                </p:cTn>
                              </p:par>
                              <p:par>
                                <p:cTn id="43" presetID="23" presetClass="entr" presetSubtype="16" fill="hold" grpId="0" nodeType="withEffect">
                                  <p:stCondLst>
                                    <p:cond delay="2500"/>
                                  </p:stCondLst>
                                  <p:childTnLst>
                                    <p:set>
                                      <p:cBhvr>
                                        <p:cTn id="44" dur="1" fill="hold">
                                          <p:stCondLst>
                                            <p:cond delay="0"/>
                                          </p:stCondLst>
                                        </p:cTn>
                                        <p:tgtEl>
                                          <p:spTgt spid="30"/>
                                        </p:tgtEl>
                                        <p:attrNameLst>
                                          <p:attrName>style.visibility</p:attrName>
                                        </p:attrNameLst>
                                      </p:cBhvr>
                                      <p:to>
                                        <p:strVal val="visible"/>
                                      </p:to>
                                    </p:set>
                                    <p:anim calcmode="lin" valueType="num">
                                      <p:cBhvr>
                                        <p:cTn id="45" dur="1500" fill="hold"/>
                                        <p:tgtEl>
                                          <p:spTgt spid="30"/>
                                        </p:tgtEl>
                                        <p:attrNameLst>
                                          <p:attrName>ppt_w</p:attrName>
                                        </p:attrNameLst>
                                      </p:cBhvr>
                                      <p:tavLst>
                                        <p:tav tm="0">
                                          <p:val>
                                            <p:fltVal val="0"/>
                                          </p:val>
                                        </p:tav>
                                        <p:tav tm="100000">
                                          <p:val>
                                            <p:strVal val="#ppt_w"/>
                                          </p:val>
                                        </p:tav>
                                      </p:tavLst>
                                    </p:anim>
                                    <p:anim calcmode="lin" valueType="num">
                                      <p:cBhvr>
                                        <p:cTn id="46" dur="1500" fill="hold"/>
                                        <p:tgtEl>
                                          <p:spTgt spid="30"/>
                                        </p:tgtEl>
                                        <p:attrNameLst>
                                          <p:attrName>ppt_h</p:attrName>
                                        </p:attrNameLst>
                                      </p:cBhvr>
                                      <p:tavLst>
                                        <p:tav tm="0">
                                          <p:val>
                                            <p:fltVal val="0"/>
                                          </p:val>
                                        </p:tav>
                                        <p:tav tm="100000">
                                          <p:val>
                                            <p:strVal val="#ppt_h"/>
                                          </p:val>
                                        </p:tav>
                                      </p:tavLst>
                                    </p:anim>
                                  </p:childTnLst>
                                </p:cTn>
                              </p:par>
                              <p:par>
                                <p:cTn id="47" presetID="10" presetClass="entr" presetSubtype="0" fill="hold" grpId="0" nodeType="withEffect">
                                  <p:stCondLst>
                                    <p:cond delay="4000"/>
                                  </p:stCondLst>
                                  <p:childTnLst>
                                    <p:set>
                                      <p:cBhvr>
                                        <p:cTn id="48" dur="1" fill="hold">
                                          <p:stCondLst>
                                            <p:cond delay="0"/>
                                          </p:stCondLst>
                                        </p:cTn>
                                        <p:tgtEl>
                                          <p:spTgt spid="17"/>
                                        </p:tgtEl>
                                        <p:attrNameLst>
                                          <p:attrName>style.visibility</p:attrName>
                                        </p:attrNameLst>
                                      </p:cBhvr>
                                      <p:to>
                                        <p:strVal val="visible"/>
                                      </p:to>
                                    </p:set>
                                    <p:animEffect transition="in" filter="fade">
                                      <p:cBhvr>
                                        <p:cTn id="49" dur="1000"/>
                                        <p:tgtEl>
                                          <p:spTgt spid="17"/>
                                        </p:tgtEl>
                                      </p:cBhvr>
                                    </p:animEffect>
                                  </p:childTnLst>
                                </p:cTn>
                              </p:par>
                              <p:par>
                                <p:cTn id="50" presetID="10" presetClass="entr" presetSubtype="0" fill="hold" grpId="0" nodeType="withEffect">
                                  <p:stCondLst>
                                    <p:cond delay="4000"/>
                                  </p:stCondLst>
                                  <p:childTnLst>
                                    <p:set>
                                      <p:cBhvr>
                                        <p:cTn id="51" dur="1" fill="hold">
                                          <p:stCondLst>
                                            <p:cond delay="0"/>
                                          </p:stCondLst>
                                        </p:cTn>
                                        <p:tgtEl>
                                          <p:spTgt spid="27"/>
                                        </p:tgtEl>
                                        <p:attrNameLst>
                                          <p:attrName>style.visibility</p:attrName>
                                        </p:attrNameLst>
                                      </p:cBhvr>
                                      <p:to>
                                        <p:strVal val="visible"/>
                                      </p:to>
                                    </p:set>
                                    <p:animEffect transition="in" filter="fade">
                                      <p:cBhvr>
                                        <p:cTn id="52" dur="1000"/>
                                        <p:tgtEl>
                                          <p:spTgt spid="27"/>
                                        </p:tgtEl>
                                      </p:cBhvr>
                                    </p:animEffect>
                                  </p:childTnLst>
                                </p:cTn>
                              </p:par>
                              <p:par>
                                <p:cTn id="53" presetID="10" presetClass="entr" presetSubtype="0" fill="hold" grpId="0" nodeType="withEffect">
                                  <p:stCondLst>
                                    <p:cond delay="400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1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2" grpId="0" animBg="1"/>
      <p:bldP spid="2" grpId="0" animBg="1"/>
      <p:bldP spid="2" grpId="1" animBg="1"/>
      <p:bldP spid="6" grpId="0" animBg="1"/>
      <p:bldP spid="6" grpId="1" animBg="1"/>
      <p:bldP spid="7" grpId="0" animBg="1"/>
      <p:bldP spid="7" grpId="1" animBg="1"/>
      <p:bldP spid="14" grpId="0"/>
      <p:bldP spid="16" grpId="0"/>
      <p:bldP spid="17" grpId="0"/>
      <p:bldP spid="25" grpId="0"/>
      <p:bldP spid="26" grpId="0"/>
      <p:bldP spid="27" grpId="0"/>
      <p:bldP spid="30" grpId="0"/>
      <p:bldP spid="31" grpId="0"/>
      <p:bldP spid="32"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859B60E1-AF8C-4730-ACC7-06A34B4D6C3C}"/>
              </a:ext>
            </a:extLst>
          </p:cNvPr>
          <p:cNvGrpSpPr/>
          <p:nvPr/>
        </p:nvGrpSpPr>
        <p:grpSpPr>
          <a:xfrm>
            <a:off x="952500" y="904925"/>
            <a:ext cx="10287000" cy="5048152"/>
            <a:chOff x="1320800" y="796697"/>
            <a:chExt cx="9550400" cy="4686681"/>
          </a:xfrm>
        </p:grpSpPr>
        <p:grpSp>
          <p:nvGrpSpPr>
            <p:cNvPr id="48" name="Group 47">
              <a:extLst>
                <a:ext uri="{FF2B5EF4-FFF2-40B4-BE49-F238E27FC236}">
                  <a16:creationId xmlns:a16="http://schemas.microsoft.com/office/drawing/2014/main" id="{4B7E1F00-C85C-4BBB-BC1F-2766332F6F77}"/>
                </a:ext>
              </a:extLst>
            </p:cNvPr>
            <p:cNvGrpSpPr/>
            <p:nvPr/>
          </p:nvGrpSpPr>
          <p:grpSpPr>
            <a:xfrm>
              <a:off x="1320800" y="1958822"/>
              <a:ext cx="9550400" cy="3524556"/>
              <a:chOff x="1320800" y="1958822"/>
              <a:chExt cx="9550400" cy="3524556"/>
            </a:xfrm>
          </p:grpSpPr>
          <p:grpSp>
            <p:nvGrpSpPr>
              <p:cNvPr id="45" name="Group 44">
                <a:extLst>
                  <a:ext uri="{FF2B5EF4-FFF2-40B4-BE49-F238E27FC236}">
                    <a16:creationId xmlns:a16="http://schemas.microsoft.com/office/drawing/2014/main" id="{5F921E3B-C48F-4E2C-8A70-77878155BDB0}"/>
                  </a:ext>
                </a:extLst>
              </p:cNvPr>
              <p:cNvGrpSpPr/>
              <p:nvPr/>
            </p:nvGrpSpPr>
            <p:grpSpPr>
              <a:xfrm>
                <a:off x="1320800" y="1958822"/>
                <a:ext cx="9550400" cy="3524556"/>
                <a:chOff x="787400" y="1965172"/>
                <a:chExt cx="10617200" cy="3918256"/>
              </a:xfrm>
            </p:grpSpPr>
            <p:sp>
              <p:nvSpPr>
                <p:cNvPr id="40" name="Freeform: Shape 39">
                  <a:extLst>
                    <a:ext uri="{FF2B5EF4-FFF2-40B4-BE49-F238E27FC236}">
                      <a16:creationId xmlns:a16="http://schemas.microsoft.com/office/drawing/2014/main" id="{4364871C-E79C-461B-A3FF-BF74BED302F2}"/>
                    </a:ext>
                  </a:extLst>
                </p:cNvPr>
                <p:cNvSpPr/>
                <p:nvPr/>
              </p:nvSpPr>
              <p:spPr>
                <a:xfrm>
                  <a:off x="3247894" y="2647708"/>
                  <a:ext cx="3235717" cy="3235720"/>
                </a:xfrm>
                <a:custGeom>
                  <a:avLst/>
                  <a:gdLst>
                    <a:gd name="connsiteX0" fmla="*/ 3026934 w 3398277"/>
                    <a:gd name="connsiteY0" fmla="*/ 2123449 h 3398280"/>
                    <a:gd name="connsiteX1" fmla="*/ 3081773 w 3398277"/>
                    <a:gd name="connsiteY1" fmla="*/ 2183788 h 3398280"/>
                    <a:gd name="connsiteX2" fmla="*/ 3202436 w 3398277"/>
                    <a:gd name="connsiteY2" fmla="*/ 2293454 h 3398280"/>
                    <a:gd name="connsiteX3" fmla="*/ 3270632 w 3398277"/>
                    <a:gd name="connsiteY3" fmla="*/ 2344451 h 3398280"/>
                    <a:gd name="connsiteX4" fmla="*/ 3264750 w 3398277"/>
                    <a:gd name="connsiteY4" fmla="*/ 2360522 h 3398280"/>
                    <a:gd name="connsiteX5" fmla="*/ 1699138 w 3398277"/>
                    <a:gd name="connsiteY5" fmla="*/ 3398280 h 3398280"/>
                    <a:gd name="connsiteX6" fmla="*/ 133526 w 3398277"/>
                    <a:gd name="connsiteY6" fmla="*/ 2360522 h 3398280"/>
                    <a:gd name="connsiteX7" fmla="*/ 127644 w 3398277"/>
                    <a:gd name="connsiteY7" fmla="*/ 2344451 h 3398280"/>
                    <a:gd name="connsiteX8" fmla="*/ 195841 w 3398277"/>
                    <a:gd name="connsiteY8" fmla="*/ 2293454 h 3398280"/>
                    <a:gd name="connsiteX9" fmla="*/ 316504 w 3398277"/>
                    <a:gd name="connsiteY9" fmla="*/ 2183788 h 3398280"/>
                    <a:gd name="connsiteX10" fmla="*/ 371343 w 3398277"/>
                    <a:gd name="connsiteY10" fmla="*/ 2123450 h 3398280"/>
                    <a:gd name="connsiteX11" fmla="*/ 414647 w 3398277"/>
                    <a:gd name="connsiteY11" fmla="*/ 2241764 h 3398280"/>
                    <a:gd name="connsiteX12" fmla="*/ 1699138 w 3398277"/>
                    <a:gd name="connsiteY12" fmla="*/ 3093182 h 3398280"/>
                    <a:gd name="connsiteX13" fmla="*/ 2983629 w 3398277"/>
                    <a:gd name="connsiteY13" fmla="*/ 2241764 h 3398280"/>
                    <a:gd name="connsiteX14" fmla="*/ 1699139 w 3398277"/>
                    <a:gd name="connsiteY14" fmla="*/ 0 h 3398280"/>
                    <a:gd name="connsiteX15" fmla="*/ 2649144 w 3398277"/>
                    <a:gd name="connsiteY15" fmla="*/ 290186 h 3398280"/>
                    <a:gd name="connsiteX16" fmla="*/ 2711753 w 3398277"/>
                    <a:gd name="connsiteY16" fmla="*/ 337005 h 3398280"/>
                    <a:gd name="connsiteX17" fmla="*/ 2711753 w 3398277"/>
                    <a:gd name="connsiteY17" fmla="*/ 337006 h 3398280"/>
                    <a:gd name="connsiteX18" fmla="*/ 2779948 w 3398277"/>
                    <a:gd name="connsiteY18" fmla="*/ 388001 h 3398280"/>
                    <a:gd name="connsiteX19" fmla="*/ 2900611 w 3398277"/>
                    <a:gd name="connsiteY19" fmla="*/ 497667 h 3398280"/>
                    <a:gd name="connsiteX20" fmla="*/ 2955451 w 3398277"/>
                    <a:gd name="connsiteY20" fmla="*/ 558006 h 3398280"/>
                    <a:gd name="connsiteX21" fmla="*/ 3010276 w 3398277"/>
                    <a:gd name="connsiteY21" fmla="*/ 618329 h 3398280"/>
                    <a:gd name="connsiteX22" fmla="*/ 3398277 w 3398277"/>
                    <a:gd name="connsiteY22" fmla="*/ 1699140 h 3398280"/>
                    <a:gd name="connsiteX23" fmla="*/ 3389505 w 3398277"/>
                    <a:gd name="connsiteY23" fmla="*/ 1872867 h 3398280"/>
                    <a:gd name="connsiteX24" fmla="*/ 3365542 w 3398277"/>
                    <a:gd name="connsiteY24" fmla="*/ 2029884 h 3398280"/>
                    <a:gd name="connsiteX25" fmla="*/ 3297510 w 3398277"/>
                    <a:gd name="connsiteY25" fmla="*/ 1968052 h 3398280"/>
                    <a:gd name="connsiteX26" fmla="*/ 3127285 w 3398277"/>
                    <a:gd name="connsiteY26" fmla="*/ 1761737 h 3398280"/>
                    <a:gd name="connsiteX27" fmla="*/ 3092879 w 3398277"/>
                    <a:gd name="connsiteY27" fmla="*/ 1705104 h 3398280"/>
                    <a:gd name="connsiteX28" fmla="*/ 3093180 w 3398277"/>
                    <a:gd name="connsiteY28" fmla="*/ 1699140 h 3398280"/>
                    <a:gd name="connsiteX29" fmla="*/ 2924927 w 3398277"/>
                    <a:gd name="connsiteY29" fmla="*/ 1034657 h 3398280"/>
                    <a:gd name="connsiteX30" fmla="*/ 2889505 w 3398277"/>
                    <a:gd name="connsiteY30" fmla="*/ 976352 h 3398280"/>
                    <a:gd name="connsiteX31" fmla="*/ 2855099 w 3398277"/>
                    <a:gd name="connsiteY31" fmla="*/ 919718 h 3398280"/>
                    <a:gd name="connsiteX32" fmla="*/ 2684875 w 3398277"/>
                    <a:gd name="connsiteY32" fmla="*/ 713404 h 3398280"/>
                    <a:gd name="connsiteX33" fmla="*/ 2616843 w 3398277"/>
                    <a:gd name="connsiteY33" fmla="*/ 651572 h 3398280"/>
                    <a:gd name="connsiteX34" fmla="*/ 2616843 w 3398277"/>
                    <a:gd name="connsiteY34" fmla="*/ 651571 h 3398280"/>
                    <a:gd name="connsiteX35" fmla="*/ 2585879 w 3398277"/>
                    <a:gd name="connsiteY35" fmla="*/ 623429 h 3398280"/>
                    <a:gd name="connsiteX36" fmla="*/ 1699139 w 3398277"/>
                    <a:gd name="connsiteY36" fmla="*/ 305098 h 3398280"/>
                    <a:gd name="connsiteX37" fmla="*/ 812399 w 3398277"/>
                    <a:gd name="connsiteY37" fmla="*/ 623429 h 3398280"/>
                    <a:gd name="connsiteX38" fmla="*/ 781436 w 3398277"/>
                    <a:gd name="connsiteY38" fmla="*/ 651571 h 3398280"/>
                    <a:gd name="connsiteX39" fmla="*/ 713403 w 3398277"/>
                    <a:gd name="connsiteY39" fmla="*/ 713404 h 3398280"/>
                    <a:gd name="connsiteX40" fmla="*/ 543178 w 3398277"/>
                    <a:gd name="connsiteY40" fmla="*/ 919718 h 3398280"/>
                    <a:gd name="connsiteX41" fmla="*/ 508773 w 3398277"/>
                    <a:gd name="connsiteY41" fmla="*/ 976350 h 3398280"/>
                    <a:gd name="connsiteX42" fmla="*/ 473350 w 3398277"/>
                    <a:gd name="connsiteY42" fmla="*/ 1034657 h 3398280"/>
                    <a:gd name="connsiteX43" fmla="*/ 305097 w 3398277"/>
                    <a:gd name="connsiteY43" fmla="*/ 1699140 h 3398280"/>
                    <a:gd name="connsiteX44" fmla="*/ 305398 w 3398277"/>
                    <a:gd name="connsiteY44" fmla="*/ 1705105 h 3398280"/>
                    <a:gd name="connsiteX45" fmla="*/ 270993 w 3398277"/>
                    <a:gd name="connsiteY45" fmla="*/ 1761737 h 3398280"/>
                    <a:gd name="connsiteX46" fmla="*/ 100769 w 3398277"/>
                    <a:gd name="connsiteY46" fmla="*/ 1968052 h 3398280"/>
                    <a:gd name="connsiteX47" fmla="*/ 32736 w 3398277"/>
                    <a:gd name="connsiteY47" fmla="*/ 2029885 h 3398280"/>
                    <a:gd name="connsiteX48" fmla="*/ 8772 w 3398277"/>
                    <a:gd name="connsiteY48" fmla="*/ 1872867 h 3398280"/>
                    <a:gd name="connsiteX49" fmla="*/ 0 w 3398277"/>
                    <a:gd name="connsiteY49" fmla="*/ 1699140 h 3398280"/>
                    <a:gd name="connsiteX50" fmla="*/ 388001 w 3398277"/>
                    <a:gd name="connsiteY50" fmla="*/ 618329 h 3398280"/>
                    <a:gd name="connsiteX51" fmla="*/ 442827 w 3398277"/>
                    <a:gd name="connsiteY51" fmla="*/ 558005 h 3398280"/>
                    <a:gd name="connsiteX52" fmla="*/ 497666 w 3398277"/>
                    <a:gd name="connsiteY52" fmla="*/ 497667 h 3398280"/>
                    <a:gd name="connsiteX53" fmla="*/ 618329 w 3398277"/>
                    <a:gd name="connsiteY53" fmla="*/ 388001 h 3398280"/>
                    <a:gd name="connsiteX54" fmla="*/ 686526 w 3398277"/>
                    <a:gd name="connsiteY54" fmla="*/ 337004 h 3398280"/>
                    <a:gd name="connsiteX55" fmla="*/ 749134 w 3398277"/>
                    <a:gd name="connsiteY55" fmla="*/ 290186 h 3398280"/>
                    <a:gd name="connsiteX56" fmla="*/ 1699139 w 3398277"/>
                    <a:gd name="connsiteY56" fmla="*/ 0 h 3398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398277" h="3398280">
                      <a:moveTo>
                        <a:pt x="3026934" y="2123449"/>
                      </a:moveTo>
                      <a:lnTo>
                        <a:pt x="3081773" y="2183788"/>
                      </a:lnTo>
                      <a:cubicBezTo>
                        <a:pt x="3120209" y="2222224"/>
                        <a:pt x="3160477" y="2258827"/>
                        <a:pt x="3202436" y="2293454"/>
                      </a:cubicBezTo>
                      <a:lnTo>
                        <a:pt x="3270632" y="2344451"/>
                      </a:lnTo>
                      <a:lnTo>
                        <a:pt x="3264750" y="2360522"/>
                      </a:lnTo>
                      <a:cubicBezTo>
                        <a:pt x="3006807" y="2970369"/>
                        <a:pt x="2402945" y="3398280"/>
                        <a:pt x="1699138" y="3398280"/>
                      </a:cubicBezTo>
                      <a:cubicBezTo>
                        <a:pt x="995331" y="3398280"/>
                        <a:pt x="391469" y="2970369"/>
                        <a:pt x="133526" y="2360522"/>
                      </a:cubicBezTo>
                      <a:lnTo>
                        <a:pt x="127644" y="2344451"/>
                      </a:lnTo>
                      <a:lnTo>
                        <a:pt x="195841" y="2293454"/>
                      </a:lnTo>
                      <a:cubicBezTo>
                        <a:pt x="237800" y="2258827"/>
                        <a:pt x="278069" y="2222224"/>
                        <a:pt x="316504" y="2183788"/>
                      </a:cubicBezTo>
                      <a:lnTo>
                        <a:pt x="371343" y="2123450"/>
                      </a:lnTo>
                      <a:lnTo>
                        <a:pt x="414647" y="2241764"/>
                      </a:lnTo>
                      <a:cubicBezTo>
                        <a:pt x="626274" y="2742107"/>
                        <a:pt x="1121707" y="3093182"/>
                        <a:pt x="1699138" y="3093182"/>
                      </a:cubicBezTo>
                      <a:cubicBezTo>
                        <a:pt x="2276569" y="3093182"/>
                        <a:pt x="2772002" y="2742107"/>
                        <a:pt x="2983629" y="2241764"/>
                      </a:cubicBezTo>
                      <a:close/>
                      <a:moveTo>
                        <a:pt x="1699139" y="0"/>
                      </a:moveTo>
                      <a:cubicBezTo>
                        <a:pt x="2051043" y="0"/>
                        <a:pt x="2377960" y="106978"/>
                        <a:pt x="2649144" y="290186"/>
                      </a:cubicBezTo>
                      <a:lnTo>
                        <a:pt x="2711753" y="337005"/>
                      </a:lnTo>
                      <a:lnTo>
                        <a:pt x="2711753" y="337006"/>
                      </a:lnTo>
                      <a:lnTo>
                        <a:pt x="2779948" y="388001"/>
                      </a:lnTo>
                      <a:cubicBezTo>
                        <a:pt x="2821907" y="422629"/>
                        <a:pt x="2862176" y="459231"/>
                        <a:pt x="2900611" y="497667"/>
                      </a:cubicBezTo>
                      <a:lnTo>
                        <a:pt x="2955451" y="558006"/>
                      </a:lnTo>
                      <a:lnTo>
                        <a:pt x="3010276" y="618329"/>
                      </a:lnTo>
                      <a:cubicBezTo>
                        <a:pt x="3252669" y="912041"/>
                        <a:pt x="3398277" y="1288586"/>
                        <a:pt x="3398277" y="1699140"/>
                      </a:cubicBezTo>
                      <a:cubicBezTo>
                        <a:pt x="3398277" y="1757791"/>
                        <a:pt x="3395306" y="1815747"/>
                        <a:pt x="3389505" y="1872867"/>
                      </a:cubicBezTo>
                      <a:lnTo>
                        <a:pt x="3365542" y="2029884"/>
                      </a:lnTo>
                      <a:lnTo>
                        <a:pt x="3297510" y="1968052"/>
                      </a:lnTo>
                      <a:cubicBezTo>
                        <a:pt x="3234442" y="1904984"/>
                        <a:pt x="3177389" y="1835901"/>
                        <a:pt x="3127285" y="1761737"/>
                      </a:cubicBezTo>
                      <a:lnTo>
                        <a:pt x="3092879" y="1705104"/>
                      </a:lnTo>
                      <a:lnTo>
                        <a:pt x="3093180" y="1699140"/>
                      </a:lnTo>
                      <a:cubicBezTo>
                        <a:pt x="3093180" y="1458544"/>
                        <a:pt x="3032230" y="1232183"/>
                        <a:pt x="2924927" y="1034657"/>
                      </a:cubicBezTo>
                      <a:lnTo>
                        <a:pt x="2889505" y="976352"/>
                      </a:lnTo>
                      <a:lnTo>
                        <a:pt x="2855099" y="919718"/>
                      </a:lnTo>
                      <a:cubicBezTo>
                        <a:pt x="2804996" y="845555"/>
                        <a:pt x="2747943" y="776472"/>
                        <a:pt x="2684875" y="713404"/>
                      </a:cubicBezTo>
                      <a:lnTo>
                        <a:pt x="2616843" y="651572"/>
                      </a:lnTo>
                      <a:lnTo>
                        <a:pt x="2616843" y="651571"/>
                      </a:lnTo>
                      <a:lnTo>
                        <a:pt x="2585879" y="623429"/>
                      </a:lnTo>
                      <a:cubicBezTo>
                        <a:pt x="2344907" y="424561"/>
                        <a:pt x="2035974" y="305098"/>
                        <a:pt x="1699139" y="305098"/>
                      </a:cubicBezTo>
                      <a:cubicBezTo>
                        <a:pt x="1362304" y="305098"/>
                        <a:pt x="1053372" y="424561"/>
                        <a:pt x="812399" y="623429"/>
                      </a:cubicBezTo>
                      <a:lnTo>
                        <a:pt x="781436" y="651571"/>
                      </a:lnTo>
                      <a:lnTo>
                        <a:pt x="713403" y="713404"/>
                      </a:lnTo>
                      <a:cubicBezTo>
                        <a:pt x="650335" y="776472"/>
                        <a:pt x="593282" y="845555"/>
                        <a:pt x="543178" y="919718"/>
                      </a:cubicBezTo>
                      <a:lnTo>
                        <a:pt x="508773" y="976350"/>
                      </a:lnTo>
                      <a:lnTo>
                        <a:pt x="473350" y="1034657"/>
                      </a:lnTo>
                      <a:cubicBezTo>
                        <a:pt x="366048" y="1232183"/>
                        <a:pt x="305097" y="1458544"/>
                        <a:pt x="305097" y="1699140"/>
                      </a:cubicBezTo>
                      <a:lnTo>
                        <a:pt x="305398" y="1705105"/>
                      </a:lnTo>
                      <a:lnTo>
                        <a:pt x="270993" y="1761737"/>
                      </a:lnTo>
                      <a:cubicBezTo>
                        <a:pt x="220890" y="1835901"/>
                        <a:pt x="163837" y="1904984"/>
                        <a:pt x="100769" y="1968052"/>
                      </a:cubicBezTo>
                      <a:lnTo>
                        <a:pt x="32736" y="2029885"/>
                      </a:lnTo>
                      <a:lnTo>
                        <a:pt x="8772" y="1872867"/>
                      </a:lnTo>
                      <a:cubicBezTo>
                        <a:pt x="2972" y="1815747"/>
                        <a:pt x="0" y="1757791"/>
                        <a:pt x="0" y="1699140"/>
                      </a:cubicBezTo>
                      <a:cubicBezTo>
                        <a:pt x="0" y="1288586"/>
                        <a:pt x="145609" y="912041"/>
                        <a:pt x="388001" y="618329"/>
                      </a:cubicBezTo>
                      <a:lnTo>
                        <a:pt x="442827" y="558005"/>
                      </a:lnTo>
                      <a:lnTo>
                        <a:pt x="497666" y="497667"/>
                      </a:lnTo>
                      <a:cubicBezTo>
                        <a:pt x="536102" y="459231"/>
                        <a:pt x="576370" y="422629"/>
                        <a:pt x="618329" y="388001"/>
                      </a:cubicBezTo>
                      <a:lnTo>
                        <a:pt x="686526" y="337004"/>
                      </a:lnTo>
                      <a:lnTo>
                        <a:pt x="749134" y="290186"/>
                      </a:lnTo>
                      <a:cubicBezTo>
                        <a:pt x="1020318" y="106978"/>
                        <a:pt x="1347236" y="0"/>
                        <a:pt x="1699139" y="0"/>
                      </a:cubicBezTo>
                      <a:close/>
                    </a:path>
                  </a:pathLst>
                </a:custGeom>
                <a:gradFill>
                  <a:gsLst>
                    <a:gs pos="0">
                      <a:schemeClr val="accent3"/>
                    </a:gs>
                    <a:gs pos="100000">
                      <a:schemeClr val="accent3">
                        <a:lumMod val="40000"/>
                        <a:lumOff val="60000"/>
                      </a:schemeClr>
                    </a:gs>
                  </a:gsLst>
                  <a:path path="circle">
                    <a:fillToRect t="100000" r="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42" name="Freeform: Shape 41">
                  <a:extLst>
                    <a:ext uri="{FF2B5EF4-FFF2-40B4-BE49-F238E27FC236}">
                      <a16:creationId xmlns:a16="http://schemas.microsoft.com/office/drawing/2014/main" id="{C3F79B15-4509-4CFB-B3F7-80510896DEE8}"/>
                    </a:ext>
                  </a:extLst>
                </p:cNvPr>
                <p:cNvSpPr/>
                <p:nvPr/>
              </p:nvSpPr>
              <p:spPr>
                <a:xfrm>
                  <a:off x="5708387" y="1965172"/>
                  <a:ext cx="3235719" cy="3235720"/>
                </a:xfrm>
                <a:custGeom>
                  <a:avLst/>
                  <a:gdLst>
                    <a:gd name="connsiteX0" fmla="*/ 781436 w 3398279"/>
                    <a:gd name="connsiteY0" fmla="*/ 2746709 h 3398280"/>
                    <a:gd name="connsiteX1" fmla="*/ 812400 w 3398279"/>
                    <a:gd name="connsiteY1" fmla="*/ 2774851 h 3398280"/>
                    <a:gd name="connsiteX2" fmla="*/ 1699140 w 3398279"/>
                    <a:gd name="connsiteY2" fmla="*/ 3093182 h 3398280"/>
                    <a:gd name="connsiteX3" fmla="*/ 2585880 w 3398279"/>
                    <a:gd name="connsiteY3" fmla="*/ 2774851 h 3398280"/>
                    <a:gd name="connsiteX4" fmla="*/ 2616844 w 3398279"/>
                    <a:gd name="connsiteY4" fmla="*/ 2746710 h 3398280"/>
                    <a:gd name="connsiteX5" fmla="*/ 2618628 w 3398279"/>
                    <a:gd name="connsiteY5" fmla="*/ 2758401 h 3398280"/>
                    <a:gd name="connsiteX6" fmla="*/ 2660498 w 3398279"/>
                    <a:gd name="connsiteY6" fmla="*/ 2921237 h 3398280"/>
                    <a:gd name="connsiteX7" fmla="*/ 2711753 w 3398279"/>
                    <a:gd name="connsiteY7" fmla="*/ 3061276 h 3398280"/>
                    <a:gd name="connsiteX8" fmla="*/ 2649145 w 3398279"/>
                    <a:gd name="connsiteY8" fmla="*/ 3108094 h 3398280"/>
                    <a:gd name="connsiteX9" fmla="*/ 1699140 w 3398279"/>
                    <a:gd name="connsiteY9" fmla="*/ 3398280 h 3398280"/>
                    <a:gd name="connsiteX10" fmla="*/ 749135 w 3398279"/>
                    <a:gd name="connsiteY10" fmla="*/ 3108094 h 3398280"/>
                    <a:gd name="connsiteX11" fmla="*/ 686526 w 3398279"/>
                    <a:gd name="connsiteY11" fmla="*/ 3061276 h 3398280"/>
                    <a:gd name="connsiteX12" fmla="*/ 737781 w 3398279"/>
                    <a:gd name="connsiteY12" fmla="*/ 2921237 h 3398280"/>
                    <a:gd name="connsiteX13" fmla="*/ 779651 w 3398279"/>
                    <a:gd name="connsiteY13" fmla="*/ 2758401 h 3398280"/>
                    <a:gd name="connsiteX14" fmla="*/ 32736 w 3398279"/>
                    <a:gd name="connsiteY14" fmla="*/ 1368397 h 3398280"/>
                    <a:gd name="connsiteX15" fmla="*/ 100768 w 3398279"/>
                    <a:gd name="connsiteY15" fmla="*/ 1430229 h 3398280"/>
                    <a:gd name="connsiteX16" fmla="*/ 270992 w 3398279"/>
                    <a:gd name="connsiteY16" fmla="*/ 1636543 h 3398280"/>
                    <a:gd name="connsiteX17" fmla="*/ 305398 w 3398279"/>
                    <a:gd name="connsiteY17" fmla="*/ 1693177 h 3398280"/>
                    <a:gd name="connsiteX18" fmla="*/ 305097 w 3398279"/>
                    <a:gd name="connsiteY18" fmla="*/ 1699140 h 3398280"/>
                    <a:gd name="connsiteX19" fmla="*/ 473350 w 3398279"/>
                    <a:gd name="connsiteY19" fmla="*/ 2363623 h 3398280"/>
                    <a:gd name="connsiteX20" fmla="*/ 508772 w 3398279"/>
                    <a:gd name="connsiteY20" fmla="*/ 2421929 h 3398280"/>
                    <a:gd name="connsiteX21" fmla="*/ 543178 w 3398279"/>
                    <a:gd name="connsiteY21" fmla="*/ 2478562 h 3398280"/>
                    <a:gd name="connsiteX22" fmla="*/ 713403 w 3398279"/>
                    <a:gd name="connsiteY22" fmla="*/ 2684877 h 3398280"/>
                    <a:gd name="connsiteX23" fmla="*/ 781435 w 3398279"/>
                    <a:gd name="connsiteY23" fmla="*/ 2746709 h 3398280"/>
                    <a:gd name="connsiteX24" fmla="*/ 779650 w 3398279"/>
                    <a:gd name="connsiteY24" fmla="*/ 2758401 h 3398280"/>
                    <a:gd name="connsiteX25" fmla="*/ 737780 w 3398279"/>
                    <a:gd name="connsiteY25" fmla="*/ 2921237 h 3398280"/>
                    <a:gd name="connsiteX26" fmla="*/ 686525 w 3398279"/>
                    <a:gd name="connsiteY26" fmla="*/ 3061276 h 3398280"/>
                    <a:gd name="connsiteX27" fmla="*/ 618329 w 3398279"/>
                    <a:gd name="connsiteY27" fmla="*/ 3010279 h 3398280"/>
                    <a:gd name="connsiteX28" fmla="*/ 497666 w 3398279"/>
                    <a:gd name="connsiteY28" fmla="*/ 2900613 h 3398280"/>
                    <a:gd name="connsiteX29" fmla="*/ 442827 w 3398279"/>
                    <a:gd name="connsiteY29" fmla="*/ 2840274 h 3398280"/>
                    <a:gd name="connsiteX30" fmla="*/ 388001 w 3398279"/>
                    <a:gd name="connsiteY30" fmla="*/ 2779951 h 3398280"/>
                    <a:gd name="connsiteX31" fmla="*/ 0 w 3398279"/>
                    <a:gd name="connsiteY31" fmla="*/ 1699140 h 3398280"/>
                    <a:gd name="connsiteX32" fmla="*/ 8772 w 3398279"/>
                    <a:gd name="connsiteY32" fmla="*/ 1525413 h 3398280"/>
                    <a:gd name="connsiteX33" fmla="*/ 3365543 w 3398279"/>
                    <a:gd name="connsiteY33" fmla="*/ 1368396 h 3398280"/>
                    <a:gd name="connsiteX34" fmla="*/ 3389507 w 3398279"/>
                    <a:gd name="connsiteY34" fmla="*/ 1525413 h 3398280"/>
                    <a:gd name="connsiteX35" fmla="*/ 3398279 w 3398279"/>
                    <a:gd name="connsiteY35" fmla="*/ 1699140 h 3398280"/>
                    <a:gd name="connsiteX36" fmla="*/ 3010278 w 3398279"/>
                    <a:gd name="connsiteY36" fmla="*/ 2779951 h 3398280"/>
                    <a:gd name="connsiteX37" fmla="*/ 2955452 w 3398279"/>
                    <a:gd name="connsiteY37" fmla="*/ 2840275 h 3398280"/>
                    <a:gd name="connsiteX38" fmla="*/ 2951878 w 3398279"/>
                    <a:gd name="connsiteY38" fmla="*/ 2830510 h 3398280"/>
                    <a:gd name="connsiteX39" fmla="*/ 2896402 w 3398279"/>
                    <a:gd name="connsiteY39" fmla="*/ 2558498 h 3398280"/>
                    <a:gd name="connsiteX40" fmla="*/ 2889506 w 3398279"/>
                    <a:gd name="connsiteY40" fmla="*/ 2421930 h 3398280"/>
                    <a:gd name="connsiteX41" fmla="*/ 2924929 w 3398279"/>
                    <a:gd name="connsiteY41" fmla="*/ 2363623 h 3398280"/>
                    <a:gd name="connsiteX42" fmla="*/ 3093182 w 3398279"/>
                    <a:gd name="connsiteY42" fmla="*/ 1699140 h 3398280"/>
                    <a:gd name="connsiteX43" fmla="*/ 3092881 w 3398279"/>
                    <a:gd name="connsiteY43" fmla="*/ 1693175 h 3398280"/>
                    <a:gd name="connsiteX44" fmla="*/ 3127286 w 3398279"/>
                    <a:gd name="connsiteY44" fmla="*/ 1636543 h 3398280"/>
                    <a:gd name="connsiteX45" fmla="*/ 3297511 w 3398279"/>
                    <a:gd name="connsiteY45" fmla="*/ 1430229 h 3398280"/>
                    <a:gd name="connsiteX46" fmla="*/ 1699139 w 3398279"/>
                    <a:gd name="connsiteY46" fmla="*/ 0 h 3398280"/>
                    <a:gd name="connsiteX47" fmla="*/ 3264751 w 3398279"/>
                    <a:gd name="connsiteY47" fmla="*/ 1037758 h 3398280"/>
                    <a:gd name="connsiteX48" fmla="*/ 3270633 w 3398279"/>
                    <a:gd name="connsiteY48" fmla="*/ 1053829 h 3398280"/>
                    <a:gd name="connsiteX49" fmla="*/ 3321888 w 3398279"/>
                    <a:gd name="connsiteY49" fmla="*/ 1193868 h 3398280"/>
                    <a:gd name="connsiteX50" fmla="*/ 3363758 w 3398279"/>
                    <a:gd name="connsiteY50" fmla="*/ 1356704 h 3398280"/>
                    <a:gd name="connsiteX51" fmla="*/ 3365542 w 3398279"/>
                    <a:gd name="connsiteY51" fmla="*/ 1368396 h 3398280"/>
                    <a:gd name="connsiteX52" fmla="*/ 3297510 w 3398279"/>
                    <a:gd name="connsiteY52" fmla="*/ 1430229 h 3398280"/>
                    <a:gd name="connsiteX53" fmla="*/ 3127285 w 3398279"/>
                    <a:gd name="connsiteY53" fmla="*/ 1636543 h 3398280"/>
                    <a:gd name="connsiteX54" fmla="*/ 3092880 w 3398279"/>
                    <a:gd name="connsiteY54" fmla="*/ 1693175 h 3398280"/>
                    <a:gd name="connsiteX55" fmla="*/ 3085984 w 3398279"/>
                    <a:gd name="connsiteY55" fmla="*/ 1556607 h 3398280"/>
                    <a:gd name="connsiteX56" fmla="*/ 3030508 w 3398279"/>
                    <a:gd name="connsiteY56" fmla="*/ 1284595 h 3398280"/>
                    <a:gd name="connsiteX57" fmla="*/ 3026934 w 3398279"/>
                    <a:gd name="connsiteY57" fmla="*/ 1274830 h 3398280"/>
                    <a:gd name="connsiteX58" fmla="*/ 2983630 w 3398279"/>
                    <a:gd name="connsiteY58" fmla="*/ 1156516 h 3398280"/>
                    <a:gd name="connsiteX59" fmla="*/ 1699139 w 3398279"/>
                    <a:gd name="connsiteY59" fmla="*/ 305098 h 3398280"/>
                    <a:gd name="connsiteX60" fmla="*/ 414648 w 3398279"/>
                    <a:gd name="connsiteY60" fmla="*/ 1156516 h 3398280"/>
                    <a:gd name="connsiteX61" fmla="*/ 371344 w 3398279"/>
                    <a:gd name="connsiteY61" fmla="*/ 1274831 h 3398280"/>
                    <a:gd name="connsiteX62" fmla="*/ 316504 w 3398279"/>
                    <a:gd name="connsiteY62" fmla="*/ 1214492 h 3398280"/>
                    <a:gd name="connsiteX63" fmla="*/ 195841 w 3398279"/>
                    <a:gd name="connsiteY63" fmla="*/ 1104826 h 3398280"/>
                    <a:gd name="connsiteX64" fmla="*/ 127645 w 3398279"/>
                    <a:gd name="connsiteY64" fmla="*/ 1053830 h 3398280"/>
                    <a:gd name="connsiteX65" fmla="*/ 133527 w 3398279"/>
                    <a:gd name="connsiteY65" fmla="*/ 1037758 h 3398280"/>
                    <a:gd name="connsiteX66" fmla="*/ 1699139 w 3398279"/>
                    <a:gd name="connsiteY66" fmla="*/ 0 h 3398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398279" h="3398280">
                      <a:moveTo>
                        <a:pt x="781436" y="2746709"/>
                      </a:moveTo>
                      <a:lnTo>
                        <a:pt x="812400" y="2774851"/>
                      </a:lnTo>
                      <a:cubicBezTo>
                        <a:pt x="1053373" y="2973719"/>
                        <a:pt x="1362305" y="3093182"/>
                        <a:pt x="1699140" y="3093182"/>
                      </a:cubicBezTo>
                      <a:cubicBezTo>
                        <a:pt x="2035975" y="3093182"/>
                        <a:pt x="2344908" y="2973719"/>
                        <a:pt x="2585880" y="2774851"/>
                      </a:cubicBezTo>
                      <a:lnTo>
                        <a:pt x="2616844" y="2746710"/>
                      </a:lnTo>
                      <a:lnTo>
                        <a:pt x="2618628" y="2758401"/>
                      </a:lnTo>
                      <a:cubicBezTo>
                        <a:pt x="2629946" y="2813706"/>
                        <a:pt x="2643950" y="2868032"/>
                        <a:pt x="2660498" y="2921237"/>
                      </a:cubicBezTo>
                      <a:lnTo>
                        <a:pt x="2711753" y="3061276"/>
                      </a:lnTo>
                      <a:lnTo>
                        <a:pt x="2649145" y="3108094"/>
                      </a:lnTo>
                      <a:cubicBezTo>
                        <a:pt x="2377961" y="3291302"/>
                        <a:pt x="2051044" y="3398280"/>
                        <a:pt x="1699140" y="3398280"/>
                      </a:cubicBezTo>
                      <a:cubicBezTo>
                        <a:pt x="1347237" y="3398280"/>
                        <a:pt x="1020320" y="3291302"/>
                        <a:pt x="749135" y="3108094"/>
                      </a:cubicBezTo>
                      <a:lnTo>
                        <a:pt x="686526" y="3061276"/>
                      </a:lnTo>
                      <a:lnTo>
                        <a:pt x="737781" y="2921237"/>
                      </a:lnTo>
                      <a:cubicBezTo>
                        <a:pt x="754330" y="2868032"/>
                        <a:pt x="768334" y="2813706"/>
                        <a:pt x="779651" y="2758401"/>
                      </a:cubicBezTo>
                      <a:close/>
                      <a:moveTo>
                        <a:pt x="32736" y="1368397"/>
                      </a:moveTo>
                      <a:lnTo>
                        <a:pt x="100768" y="1430229"/>
                      </a:lnTo>
                      <a:cubicBezTo>
                        <a:pt x="163836" y="1493297"/>
                        <a:pt x="220889" y="1562380"/>
                        <a:pt x="270992" y="1636543"/>
                      </a:cubicBezTo>
                      <a:lnTo>
                        <a:pt x="305398" y="1693177"/>
                      </a:lnTo>
                      <a:lnTo>
                        <a:pt x="305097" y="1699140"/>
                      </a:lnTo>
                      <a:cubicBezTo>
                        <a:pt x="305097" y="1939736"/>
                        <a:pt x="366048" y="2166097"/>
                        <a:pt x="473350" y="2363623"/>
                      </a:cubicBezTo>
                      <a:lnTo>
                        <a:pt x="508772" y="2421929"/>
                      </a:lnTo>
                      <a:lnTo>
                        <a:pt x="543178" y="2478562"/>
                      </a:lnTo>
                      <a:cubicBezTo>
                        <a:pt x="593282" y="2552726"/>
                        <a:pt x="650335" y="2621809"/>
                        <a:pt x="713403" y="2684877"/>
                      </a:cubicBezTo>
                      <a:lnTo>
                        <a:pt x="781435" y="2746709"/>
                      </a:lnTo>
                      <a:lnTo>
                        <a:pt x="779650" y="2758401"/>
                      </a:lnTo>
                      <a:cubicBezTo>
                        <a:pt x="768333" y="2813706"/>
                        <a:pt x="754329" y="2868032"/>
                        <a:pt x="737780" y="2921237"/>
                      </a:cubicBezTo>
                      <a:lnTo>
                        <a:pt x="686525" y="3061276"/>
                      </a:lnTo>
                      <a:lnTo>
                        <a:pt x="618329" y="3010279"/>
                      </a:lnTo>
                      <a:cubicBezTo>
                        <a:pt x="576370" y="2975652"/>
                        <a:pt x="536102" y="2939049"/>
                        <a:pt x="497666" y="2900613"/>
                      </a:cubicBezTo>
                      <a:lnTo>
                        <a:pt x="442827" y="2840274"/>
                      </a:lnTo>
                      <a:lnTo>
                        <a:pt x="388001" y="2779951"/>
                      </a:lnTo>
                      <a:cubicBezTo>
                        <a:pt x="145609" y="2486239"/>
                        <a:pt x="0" y="2109694"/>
                        <a:pt x="0" y="1699140"/>
                      </a:cubicBezTo>
                      <a:cubicBezTo>
                        <a:pt x="0" y="1640490"/>
                        <a:pt x="2972" y="1582533"/>
                        <a:pt x="8772" y="1525413"/>
                      </a:cubicBezTo>
                      <a:close/>
                      <a:moveTo>
                        <a:pt x="3365543" y="1368396"/>
                      </a:moveTo>
                      <a:lnTo>
                        <a:pt x="3389507" y="1525413"/>
                      </a:lnTo>
                      <a:cubicBezTo>
                        <a:pt x="3395307" y="1582533"/>
                        <a:pt x="3398279" y="1640490"/>
                        <a:pt x="3398279" y="1699140"/>
                      </a:cubicBezTo>
                      <a:cubicBezTo>
                        <a:pt x="3398279" y="2109694"/>
                        <a:pt x="3252671" y="2486239"/>
                        <a:pt x="3010278" y="2779951"/>
                      </a:cubicBezTo>
                      <a:lnTo>
                        <a:pt x="2955452" y="2840275"/>
                      </a:lnTo>
                      <a:lnTo>
                        <a:pt x="2951878" y="2830510"/>
                      </a:lnTo>
                      <a:cubicBezTo>
                        <a:pt x="2924724" y="2743207"/>
                        <a:pt x="2905921" y="2652225"/>
                        <a:pt x="2896402" y="2558498"/>
                      </a:cubicBezTo>
                      <a:lnTo>
                        <a:pt x="2889506" y="2421930"/>
                      </a:lnTo>
                      <a:lnTo>
                        <a:pt x="2924929" y="2363623"/>
                      </a:lnTo>
                      <a:cubicBezTo>
                        <a:pt x="3032231" y="2166097"/>
                        <a:pt x="3093182" y="1939736"/>
                        <a:pt x="3093182" y="1699140"/>
                      </a:cubicBezTo>
                      <a:lnTo>
                        <a:pt x="3092881" y="1693175"/>
                      </a:lnTo>
                      <a:lnTo>
                        <a:pt x="3127286" y="1636543"/>
                      </a:lnTo>
                      <a:cubicBezTo>
                        <a:pt x="3177389" y="1562380"/>
                        <a:pt x="3234442" y="1493297"/>
                        <a:pt x="3297511" y="1430229"/>
                      </a:cubicBezTo>
                      <a:close/>
                      <a:moveTo>
                        <a:pt x="1699139" y="0"/>
                      </a:moveTo>
                      <a:cubicBezTo>
                        <a:pt x="2402946" y="0"/>
                        <a:pt x="3006808" y="427911"/>
                        <a:pt x="3264751" y="1037758"/>
                      </a:cubicBezTo>
                      <a:lnTo>
                        <a:pt x="3270633" y="1053829"/>
                      </a:lnTo>
                      <a:lnTo>
                        <a:pt x="3321888" y="1193868"/>
                      </a:lnTo>
                      <a:cubicBezTo>
                        <a:pt x="3338437" y="1247073"/>
                        <a:pt x="3352441" y="1301399"/>
                        <a:pt x="3363758" y="1356704"/>
                      </a:cubicBezTo>
                      <a:lnTo>
                        <a:pt x="3365542" y="1368396"/>
                      </a:lnTo>
                      <a:lnTo>
                        <a:pt x="3297510" y="1430229"/>
                      </a:lnTo>
                      <a:cubicBezTo>
                        <a:pt x="3234441" y="1493297"/>
                        <a:pt x="3177388" y="1562380"/>
                        <a:pt x="3127285" y="1636543"/>
                      </a:cubicBezTo>
                      <a:lnTo>
                        <a:pt x="3092880" y="1693175"/>
                      </a:lnTo>
                      <a:lnTo>
                        <a:pt x="3085984" y="1556607"/>
                      </a:lnTo>
                      <a:cubicBezTo>
                        <a:pt x="3076465" y="1462880"/>
                        <a:pt x="3057662" y="1371898"/>
                        <a:pt x="3030508" y="1284595"/>
                      </a:cubicBezTo>
                      <a:lnTo>
                        <a:pt x="3026934" y="1274830"/>
                      </a:lnTo>
                      <a:lnTo>
                        <a:pt x="2983630" y="1156516"/>
                      </a:lnTo>
                      <a:cubicBezTo>
                        <a:pt x="2772003" y="656174"/>
                        <a:pt x="2276570" y="305098"/>
                        <a:pt x="1699139" y="305098"/>
                      </a:cubicBezTo>
                      <a:cubicBezTo>
                        <a:pt x="1121708" y="305098"/>
                        <a:pt x="626275" y="656174"/>
                        <a:pt x="414648" y="1156516"/>
                      </a:cubicBezTo>
                      <a:lnTo>
                        <a:pt x="371344" y="1274831"/>
                      </a:lnTo>
                      <a:lnTo>
                        <a:pt x="316504" y="1214492"/>
                      </a:lnTo>
                      <a:cubicBezTo>
                        <a:pt x="278069" y="1176056"/>
                        <a:pt x="237800" y="1139454"/>
                        <a:pt x="195841" y="1104826"/>
                      </a:cubicBezTo>
                      <a:lnTo>
                        <a:pt x="127645" y="1053830"/>
                      </a:lnTo>
                      <a:lnTo>
                        <a:pt x="133527" y="1037758"/>
                      </a:lnTo>
                      <a:cubicBezTo>
                        <a:pt x="391470" y="427911"/>
                        <a:pt x="995332" y="0"/>
                        <a:pt x="1699139" y="0"/>
                      </a:cubicBezTo>
                      <a:close/>
                    </a:path>
                  </a:pathLst>
                </a:custGeom>
                <a:gradFill>
                  <a:gsLst>
                    <a:gs pos="0">
                      <a:schemeClr val="accent4">
                        <a:lumMod val="75000"/>
                      </a:schemeClr>
                    </a:gs>
                    <a:gs pos="100000">
                      <a:schemeClr val="accent4">
                        <a:lumMod val="40000"/>
                        <a:lumOff val="60000"/>
                      </a:schemeClr>
                    </a:gs>
                  </a:gsLst>
                  <a:path path="circle">
                    <a:fillToRect t="100000" r="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41" name="Freeform: Shape 40">
                  <a:extLst>
                    <a:ext uri="{FF2B5EF4-FFF2-40B4-BE49-F238E27FC236}">
                      <a16:creationId xmlns:a16="http://schemas.microsoft.com/office/drawing/2014/main" id="{FA6F5355-E463-4306-A91F-935DA5B36068}"/>
                    </a:ext>
                  </a:extLst>
                </p:cNvPr>
                <p:cNvSpPr/>
                <p:nvPr/>
              </p:nvSpPr>
              <p:spPr>
                <a:xfrm>
                  <a:off x="787400" y="1965172"/>
                  <a:ext cx="3235718" cy="3235720"/>
                </a:xfrm>
                <a:custGeom>
                  <a:avLst/>
                  <a:gdLst>
                    <a:gd name="connsiteX0" fmla="*/ 3365543 w 3398278"/>
                    <a:gd name="connsiteY0" fmla="*/ 1368397 h 3398280"/>
                    <a:gd name="connsiteX1" fmla="*/ 3389506 w 3398278"/>
                    <a:gd name="connsiteY1" fmla="*/ 1525414 h 3398280"/>
                    <a:gd name="connsiteX2" fmla="*/ 3398278 w 3398278"/>
                    <a:gd name="connsiteY2" fmla="*/ 1699141 h 3398280"/>
                    <a:gd name="connsiteX3" fmla="*/ 3010277 w 3398278"/>
                    <a:gd name="connsiteY3" fmla="*/ 2779952 h 3398280"/>
                    <a:gd name="connsiteX4" fmla="*/ 2955451 w 3398278"/>
                    <a:gd name="connsiteY4" fmla="*/ 2840276 h 3398280"/>
                    <a:gd name="connsiteX5" fmla="*/ 2951877 w 3398278"/>
                    <a:gd name="connsiteY5" fmla="*/ 2830511 h 3398280"/>
                    <a:gd name="connsiteX6" fmla="*/ 2896401 w 3398278"/>
                    <a:gd name="connsiteY6" fmla="*/ 2558499 h 3398280"/>
                    <a:gd name="connsiteX7" fmla="*/ 2889505 w 3398278"/>
                    <a:gd name="connsiteY7" fmla="*/ 2421931 h 3398280"/>
                    <a:gd name="connsiteX8" fmla="*/ 2924928 w 3398278"/>
                    <a:gd name="connsiteY8" fmla="*/ 2363624 h 3398280"/>
                    <a:gd name="connsiteX9" fmla="*/ 3093181 w 3398278"/>
                    <a:gd name="connsiteY9" fmla="*/ 1699141 h 3398280"/>
                    <a:gd name="connsiteX10" fmla="*/ 3092880 w 3398278"/>
                    <a:gd name="connsiteY10" fmla="*/ 1693176 h 3398280"/>
                    <a:gd name="connsiteX11" fmla="*/ 3127285 w 3398278"/>
                    <a:gd name="connsiteY11" fmla="*/ 1636544 h 3398280"/>
                    <a:gd name="connsiteX12" fmla="*/ 3297510 w 3398278"/>
                    <a:gd name="connsiteY12" fmla="*/ 1430230 h 3398280"/>
                    <a:gd name="connsiteX13" fmla="*/ 1699139 w 3398278"/>
                    <a:gd name="connsiteY13" fmla="*/ 0 h 3398280"/>
                    <a:gd name="connsiteX14" fmla="*/ 3264751 w 3398278"/>
                    <a:gd name="connsiteY14" fmla="*/ 1037758 h 3398280"/>
                    <a:gd name="connsiteX15" fmla="*/ 3270633 w 3398278"/>
                    <a:gd name="connsiteY15" fmla="*/ 1053829 h 3398280"/>
                    <a:gd name="connsiteX16" fmla="*/ 3202436 w 3398278"/>
                    <a:gd name="connsiteY16" fmla="*/ 1104826 h 3398280"/>
                    <a:gd name="connsiteX17" fmla="*/ 3081773 w 3398278"/>
                    <a:gd name="connsiteY17" fmla="*/ 1214492 h 3398280"/>
                    <a:gd name="connsiteX18" fmla="*/ 3026934 w 3398278"/>
                    <a:gd name="connsiteY18" fmla="*/ 1274830 h 3398280"/>
                    <a:gd name="connsiteX19" fmla="*/ 2983630 w 3398278"/>
                    <a:gd name="connsiteY19" fmla="*/ 1156516 h 3398280"/>
                    <a:gd name="connsiteX20" fmla="*/ 1699139 w 3398278"/>
                    <a:gd name="connsiteY20" fmla="*/ 305098 h 3398280"/>
                    <a:gd name="connsiteX21" fmla="*/ 305097 w 3398278"/>
                    <a:gd name="connsiteY21" fmla="*/ 1699140 h 3398280"/>
                    <a:gd name="connsiteX22" fmla="*/ 1699139 w 3398278"/>
                    <a:gd name="connsiteY22" fmla="*/ 3093182 h 3398280"/>
                    <a:gd name="connsiteX23" fmla="*/ 2585879 w 3398278"/>
                    <a:gd name="connsiteY23" fmla="*/ 2774851 h 3398280"/>
                    <a:gd name="connsiteX24" fmla="*/ 2616843 w 3398278"/>
                    <a:gd name="connsiteY24" fmla="*/ 2746710 h 3398280"/>
                    <a:gd name="connsiteX25" fmla="*/ 2616843 w 3398278"/>
                    <a:gd name="connsiteY25" fmla="*/ 2746710 h 3398280"/>
                    <a:gd name="connsiteX26" fmla="*/ 2684875 w 3398278"/>
                    <a:gd name="connsiteY26" fmla="*/ 2684878 h 3398280"/>
                    <a:gd name="connsiteX27" fmla="*/ 2855099 w 3398278"/>
                    <a:gd name="connsiteY27" fmla="*/ 2478563 h 3398280"/>
                    <a:gd name="connsiteX28" fmla="*/ 2889504 w 3398278"/>
                    <a:gd name="connsiteY28" fmla="*/ 2421931 h 3398280"/>
                    <a:gd name="connsiteX29" fmla="*/ 2896400 w 3398278"/>
                    <a:gd name="connsiteY29" fmla="*/ 2558499 h 3398280"/>
                    <a:gd name="connsiteX30" fmla="*/ 2951876 w 3398278"/>
                    <a:gd name="connsiteY30" fmla="*/ 2830511 h 3398280"/>
                    <a:gd name="connsiteX31" fmla="*/ 2955450 w 3398278"/>
                    <a:gd name="connsiteY31" fmla="*/ 2840276 h 3398280"/>
                    <a:gd name="connsiteX32" fmla="*/ 2900611 w 3398278"/>
                    <a:gd name="connsiteY32" fmla="*/ 2900614 h 3398280"/>
                    <a:gd name="connsiteX33" fmla="*/ 2779948 w 3398278"/>
                    <a:gd name="connsiteY33" fmla="*/ 3010280 h 3398280"/>
                    <a:gd name="connsiteX34" fmla="*/ 2711751 w 3398278"/>
                    <a:gd name="connsiteY34" fmla="*/ 3061277 h 3398280"/>
                    <a:gd name="connsiteX35" fmla="*/ 2711751 w 3398278"/>
                    <a:gd name="connsiteY35" fmla="*/ 3061277 h 3398280"/>
                    <a:gd name="connsiteX36" fmla="*/ 2649144 w 3398278"/>
                    <a:gd name="connsiteY36" fmla="*/ 3108094 h 3398280"/>
                    <a:gd name="connsiteX37" fmla="*/ 1699139 w 3398278"/>
                    <a:gd name="connsiteY37" fmla="*/ 3398280 h 3398280"/>
                    <a:gd name="connsiteX38" fmla="*/ 0 w 3398278"/>
                    <a:gd name="connsiteY38" fmla="*/ 1699140 h 3398280"/>
                    <a:gd name="connsiteX39" fmla="*/ 1699139 w 3398278"/>
                    <a:gd name="connsiteY39" fmla="*/ 0 h 3398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398278" h="3398280">
                      <a:moveTo>
                        <a:pt x="3365543" y="1368397"/>
                      </a:moveTo>
                      <a:lnTo>
                        <a:pt x="3389506" y="1525414"/>
                      </a:lnTo>
                      <a:cubicBezTo>
                        <a:pt x="3395307" y="1582534"/>
                        <a:pt x="3398278" y="1640491"/>
                        <a:pt x="3398278" y="1699141"/>
                      </a:cubicBezTo>
                      <a:cubicBezTo>
                        <a:pt x="3398278" y="2109695"/>
                        <a:pt x="3252670" y="2486240"/>
                        <a:pt x="3010277" y="2779952"/>
                      </a:cubicBezTo>
                      <a:lnTo>
                        <a:pt x="2955451" y="2840276"/>
                      </a:lnTo>
                      <a:lnTo>
                        <a:pt x="2951877" y="2830511"/>
                      </a:lnTo>
                      <a:cubicBezTo>
                        <a:pt x="2924723" y="2743208"/>
                        <a:pt x="2905920" y="2652226"/>
                        <a:pt x="2896401" y="2558499"/>
                      </a:cubicBezTo>
                      <a:lnTo>
                        <a:pt x="2889505" y="2421931"/>
                      </a:lnTo>
                      <a:lnTo>
                        <a:pt x="2924928" y="2363624"/>
                      </a:lnTo>
                      <a:cubicBezTo>
                        <a:pt x="3032231" y="2166098"/>
                        <a:pt x="3093181" y="1939737"/>
                        <a:pt x="3093181" y="1699141"/>
                      </a:cubicBezTo>
                      <a:lnTo>
                        <a:pt x="3092880" y="1693176"/>
                      </a:lnTo>
                      <a:lnTo>
                        <a:pt x="3127285" y="1636544"/>
                      </a:lnTo>
                      <a:cubicBezTo>
                        <a:pt x="3177389" y="1562381"/>
                        <a:pt x="3234442" y="1493298"/>
                        <a:pt x="3297510" y="1430230"/>
                      </a:cubicBezTo>
                      <a:close/>
                      <a:moveTo>
                        <a:pt x="1699139" y="0"/>
                      </a:moveTo>
                      <a:cubicBezTo>
                        <a:pt x="2402946" y="0"/>
                        <a:pt x="3006808" y="427911"/>
                        <a:pt x="3264751" y="1037758"/>
                      </a:cubicBezTo>
                      <a:lnTo>
                        <a:pt x="3270633" y="1053829"/>
                      </a:lnTo>
                      <a:lnTo>
                        <a:pt x="3202436" y="1104826"/>
                      </a:lnTo>
                      <a:cubicBezTo>
                        <a:pt x="3160477" y="1139454"/>
                        <a:pt x="3120209" y="1176056"/>
                        <a:pt x="3081773" y="1214492"/>
                      </a:cubicBezTo>
                      <a:lnTo>
                        <a:pt x="3026934" y="1274830"/>
                      </a:lnTo>
                      <a:lnTo>
                        <a:pt x="2983630" y="1156516"/>
                      </a:lnTo>
                      <a:cubicBezTo>
                        <a:pt x="2772003" y="656174"/>
                        <a:pt x="2276570" y="305098"/>
                        <a:pt x="1699139" y="305098"/>
                      </a:cubicBezTo>
                      <a:cubicBezTo>
                        <a:pt x="929231" y="305098"/>
                        <a:pt x="305097" y="929232"/>
                        <a:pt x="305097" y="1699140"/>
                      </a:cubicBezTo>
                      <a:cubicBezTo>
                        <a:pt x="305097" y="2469048"/>
                        <a:pt x="929231" y="3093182"/>
                        <a:pt x="1699139" y="3093182"/>
                      </a:cubicBezTo>
                      <a:cubicBezTo>
                        <a:pt x="2035974" y="3093182"/>
                        <a:pt x="2344907" y="2973719"/>
                        <a:pt x="2585879" y="2774851"/>
                      </a:cubicBezTo>
                      <a:lnTo>
                        <a:pt x="2616843" y="2746710"/>
                      </a:lnTo>
                      <a:lnTo>
                        <a:pt x="2616843" y="2746710"/>
                      </a:lnTo>
                      <a:lnTo>
                        <a:pt x="2684875" y="2684878"/>
                      </a:lnTo>
                      <a:cubicBezTo>
                        <a:pt x="2747943" y="2621810"/>
                        <a:pt x="2804996" y="2552727"/>
                        <a:pt x="2855099" y="2478563"/>
                      </a:cubicBezTo>
                      <a:lnTo>
                        <a:pt x="2889504" y="2421931"/>
                      </a:lnTo>
                      <a:lnTo>
                        <a:pt x="2896400" y="2558499"/>
                      </a:lnTo>
                      <a:cubicBezTo>
                        <a:pt x="2905919" y="2652226"/>
                        <a:pt x="2924722" y="2743208"/>
                        <a:pt x="2951876" y="2830511"/>
                      </a:cubicBezTo>
                      <a:lnTo>
                        <a:pt x="2955450" y="2840276"/>
                      </a:lnTo>
                      <a:lnTo>
                        <a:pt x="2900611" y="2900614"/>
                      </a:lnTo>
                      <a:cubicBezTo>
                        <a:pt x="2862176" y="2939050"/>
                        <a:pt x="2821907" y="2975653"/>
                        <a:pt x="2779948" y="3010280"/>
                      </a:cubicBezTo>
                      <a:lnTo>
                        <a:pt x="2711751" y="3061277"/>
                      </a:lnTo>
                      <a:lnTo>
                        <a:pt x="2711751" y="3061277"/>
                      </a:lnTo>
                      <a:lnTo>
                        <a:pt x="2649144" y="3108094"/>
                      </a:lnTo>
                      <a:cubicBezTo>
                        <a:pt x="2377960" y="3291302"/>
                        <a:pt x="2051043" y="3398280"/>
                        <a:pt x="1699139" y="3398280"/>
                      </a:cubicBezTo>
                      <a:cubicBezTo>
                        <a:pt x="760730" y="3398280"/>
                        <a:pt x="0" y="2637549"/>
                        <a:pt x="0" y="1699140"/>
                      </a:cubicBezTo>
                      <a:cubicBezTo>
                        <a:pt x="0" y="760731"/>
                        <a:pt x="760730" y="0"/>
                        <a:pt x="1699139" y="0"/>
                      </a:cubicBezTo>
                      <a:close/>
                    </a:path>
                  </a:pathLst>
                </a:custGeom>
                <a:gradFill>
                  <a:gsLst>
                    <a:gs pos="0">
                      <a:schemeClr val="accent1"/>
                    </a:gs>
                    <a:gs pos="100000">
                      <a:schemeClr val="accent1">
                        <a:lumMod val="40000"/>
                        <a:lumOff val="60000"/>
                      </a:schemeClr>
                    </a:gs>
                  </a:gsLst>
                  <a:path path="circle">
                    <a:fillToRect t="100000" r="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3" name="Freeform: Shape 42">
                  <a:extLst>
                    <a:ext uri="{FF2B5EF4-FFF2-40B4-BE49-F238E27FC236}">
                      <a16:creationId xmlns:a16="http://schemas.microsoft.com/office/drawing/2014/main" id="{46956326-89E5-4F6B-9570-6FED10E05DD2}"/>
                    </a:ext>
                  </a:extLst>
                </p:cNvPr>
                <p:cNvSpPr/>
                <p:nvPr/>
              </p:nvSpPr>
              <p:spPr>
                <a:xfrm>
                  <a:off x="8168882" y="2647707"/>
                  <a:ext cx="3235718" cy="3235720"/>
                </a:xfrm>
                <a:custGeom>
                  <a:avLst/>
                  <a:gdLst>
                    <a:gd name="connsiteX0" fmla="*/ 1699139 w 3398278"/>
                    <a:gd name="connsiteY0" fmla="*/ 0 h 3398280"/>
                    <a:gd name="connsiteX1" fmla="*/ 3398278 w 3398278"/>
                    <a:gd name="connsiteY1" fmla="*/ 1699140 h 3398280"/>
                    <a:gd name="connsiteX2" fmla="*/ 1699139 w 3398278"/>
                    <a:gd name="connsiteY2" fmla="*/ 3398280 h 3398280"/>
                    <a:gd name="connsiteX3" fmla="*/ 133527 w 3398278"/>
                    <a:gd name="connsiteY3" fmla="*/ 2360522 h 3398280"/>
                    <a:gd name="connsiteX4" fmla="*/ 127645 w 3398278"/>
                    <a:gd name="connsiteY4" fmla="*/ 2344451 h 3398280"/>
                    <a:gd name="connsiteX5" fmla="*/ 127644 w 3398278"/>
                    <a:gd name="connsiteY5" fmla="*/ 2344452 h 3398280"/>
                    <a:gd name="connsiteX6" fmla="*/ 76389 w 3398278"/>
                    <a:gd name="connsiteY6" fmla="*/ 2204413 h 3398280"/>
                    <a:gd name="connsiteX7" fmla="*/ 34519 w 3398278"/>
                    <a:gd name="connsiteY7" fmla="*/ 2041577 h 3398280"/>
                    <a:gd name="connsiteX8" fmla="*/ 32735 w 3398278"/>
                    <a:gd name="connsiteY8" fmla="*/ 2029886 h 3398280"/>
                    <a:gd name="connsiteX9" fmla="*/ 32736 w 3398278"/>
                    <a:gd name="connsiteY9" fmla="*/ 2029885 h 3398280"/>
                    <a:gd name="connsiteX10" fmla="*/ 8772 w 3398278"/>
                    <a:gd name="connsiteY10" fmla="*/ 1872868 h 3398280"/>
                    <a:gd name="connsiteX11" fmla="*/ 0 w 3398278"/>
                    <a:gd name="connsiteY11" fmla="*/ 1699141 h 3398280"/>
                    <a:gd name="connsiteX12" fmla="*/ 388001 w 3398278"/>
                    <a:gd name="connsiteY12" fmla="*/ 618330 h 3398280"/>
                    <a:gd name="connsiteX13" fmla="*/ 442827 w 3398278"/>
                    <a:gd name="connsiteY13" fmla="*/ 558006 h 3398280"/>
                    <a:gd name="connsiteX14" fmla="*/ 446401 w 3398278"/>
                    <a:gd name="connsiteY14" fmla="*/ 567771 h 3398280"/>
                    <a:gd name="connsiteX15" fmla="*/ 501877 w 3398278"/>
                    <a:gd name="connsiteY15" fmla="*/ 839783 h 3398280"/>
                    <a:gd name="connsiteX16" fmla="*/ 508773 w 3398278"/>
                    <a:gd name="connsiteY16" fmla="*/ 976351 h 3398280"/>
                    <a:gd name="connsiteX17" fmla="*/ 473350 w 3398278"/>
                    <a:gd name="connsiteY17" fmla="*/ 1034658 h 3398280"/>
                    <a:gd name="connsiteX18" fmla="*/ 305097 w 3398278"/>
                    <a:gd name="connsiteY18" fmla="*/ 1699141 h 3398280"/>
                    <a:gd name="connsiteX19" fmla="*/ 305398 w 3398278"/>
                    <a:gd name="connsiteY19" fmla="*/ 1705106 h 3398280"/>
                    <a:gd name="connsiteX20" fmla="*/ 305397 w 3398278"/>
                    <a:gd name="connsiteY20" fmla="*/ 1705108 h 3398280"/>
                    <a:gd name="connsiteX21" fmla="*/ 312293 w 3398278"/>
                    <a:gd name="connsiteY21" fmla="*/ 1841674 h 3398280"/>
                    <a:gd name="connsiteX22" fmla="*/ 367769 w 3398278"/>
                    <a:gd name="connsiteY22" fmla="*/ 2113686 h 3398280"/>
                    <a:gd name="connsiteX23" fmla="*/ 371343 w 3398278"/>
                    <a:gd name="connsiteY23" fmla="*/ 2123451 h 3398280"/>
                    <a:gd name="connsiteX24" fmla="*/ 316504 w 3398278"/>
                    <a:gd name="connsiteY24" fmla="*/ 2183789 h 3398280"/>
                    <a:gd name="connsiteX25" fmla="*/ 316505 w 3398278"/>
                    <a:gd name="connsiteY25" fmla="*/ 2183788 h 3398280"/>
                    <a:gd name="connsiteX26" fmla="*/ 371344 w 3398278"/>
                    <a:gd name="connsiteY26" fmla="*/ 2123450 h 3398280"/>
                    <a:gd name="connsiteX27" fmla="*/ 414648 w 3398278"/>
                    <a:gd name="connsiteY27" fmla="*/ 2241764 h 3398280"/>
                    <a:gd name="connsiteX28" fmla="*/ 1699139 w 3398278"/>
                    <a:gd name="connsiteY28" fmla="*/ 3093182 h 3398280"/>
                    <a:gd name="connsiteX29" fmla="*/ 3093181 w 3398278"/>
                    <a:gd name="connsiteY29" fmla="*/ 1699140 h 3398280"/>
                    <a:gd name="connsiteX30" fmla="*/ 1699139 w 3398278"/>
                    <a:gd name="connsiteY30" fmla="*/ 305098 h 3398280"/>
                    <a:gd name="connsiteX31" fmla="*/ 812399 w 3398278"/>
                    <a:gd name="connsiteY31" fmla="*/ 623429 h 3398280"/>
                    <a:gd name="connsiteX32" fmla="*/ 781435 w 3398278"/>
                    <a:gd name="connsiteY32" fmla="*/ 651571 h 3398280"/>
                    <a:gd name="connsiteX33" fmla="*/ 779651 w 3398278"/>
                    <a:gd name="connsiteY33" fmla="*/ 639879 h 3398280"/>
                    <a:gd name="connsiteX34" fmla="*/ 737781 w 3398278"/>
                    <a:gd name="connsiteY34" fmla="*/ 477043 h 3398280"/>
                    <a:gd name="connsiteX35" fmla="*/ 686526 w 3398278"/>
                    <a:gd name="connsiteY35" fmla="*/ 337004 h 3398280"/>
                    <a:gd name="connsiteX36" fmla="*/ 749134 w 3398278"/>
                    <a:gd name="connsiteY36" fmla="*/ 290186 h 3398280"/>
                    <a:gd name="connsiteX37" fmla="*/ 1699139 w 3398278"/>
                    <a:gd name="connsiteY37" fmla="*/ 0 h 3398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398278" h="3398280">
                      <a:moveTo>
                        <a:pt x="1699139" y="0"/>
                      </a:moveTo>
                      <a:cubicBezTo>
                        <a:pt x="2637548" y="0"/>
                        <a:pt x="3398278" y="760731"/>
                        <a:pt x="3398278" y="1699140"/>
                      </a:cubicBezTo>
                      <a:cubicBezTo>
                        <a:pt x="3398278" y="2637549"/>
                        <a:pt x="2637548" y="3398280"/>
                        <a:pt x="1699139" y="3398280"/>
                      </a:cubicBezTo>
                      <a:cubicBezTo>
                        <a:pt x="995332" y="3398280"/>
                        <a:pt x="391470" y="2970369"/>
                        <a:pt x="133527" y="2360522"/>
                      </a:cubicBezTo>
                      <a:lnTo>
                        <a:pt x="127645" y="2344451"/>
                      </a:lnTo>
                      <a:lnTo>
                        <a:pt x="127644" y="2344452"/>
                      </a:lnTo>
                      <a:lnTo>
                        <a:pt x="76389" y="2204413"/>
                      </a:lnTo>
                      <a:cubicBezTo>
                        <a:pt x="59841" y="2151208"/>
                        <a:pt x="45837" y="2096882"/>
                        <a:pt x="34519" y="2041577"/>
                      </a:cubicBezTo>
                      <a:lnTo>
                        <a:pt x="32735" y="2029886"/>
                      </a:lnTo>
                      <a:lnTo>
                        <a:pt x="32736" y="2029885"/>
                      </a:lnTo>
                      <a:lnTo>
                        <a:pt x="8772" y="1872868"/>
                      </a:lnTo>
                      <a:cubicBezTo>
                        <a:pt x="2972" y="1815748"/>
                        <a:pt x="0" y="1757792"/>
                        <a:pt x="0" y="1699141"/>
                      </a:cubicBezTo>
                      <a:cubicBezTo>
                        <a:pt x="0" y="1288587"/>
                        <a:pt x="145608" y="912042"/>
                        <a:pt x="388001" y="618330"/>
                      </a:cubicBezTo>
                      <a:lnTo>
                        <a:pt x="442827" y="558006"/>
                      </a:lnTo>
                      <a:lnTo>
                        <a:pt x="446401" y="567771"/>
                      </a:lnTo>
                      <a:cubicBezTo>
                        <a:pt x="473555" y="655074"/>
                        <a:pt x="492358" y="746056"/>
                        <a:pt x="501877" y="839783"/>
                      </a:cubicBezTo>
                      <a:lnTo>
                        <a:pt x="508773" y="976351"/>
                      </a:lnTo>
                      <a:lnTo>
                        <a:pt x="473350" y="1034658"/>
                      </a:lnTo>
                      <a:cubicBezTo>
                        <a:pt x="366048" y="1232184"/>
                        <a:pt x="305097" y="1458545"/>
                        <a:pt x="305097" y="1699141"/>
                      </a:cubicBezTo>
                      <a:lnTo>
                        <a:pt x="305398" y="1705106"/>
                      </a:lnTo>
                      <a:lnTo>
                        <a:pt x="305397" y="1705108"/>
                      </a:lnTo>
                      <a:lnTo>
                        <a:pt x="312293" y="1841674"/>
                      </a:lnTo>
                      <a:cubicBezTo>
                        <a:pt x="321812" y="1935401"/>
                        <a:pt x="340615" y="2026383"/>
                        <a:pt x="367769" y="2113686"/>
                      </a:cubicBezTo>
                      <a:lnTo>
                        <a:pt x="371343" y="2123451"/>
                      </a:lnTo>
                      <a:lnTo>
                        <a:pt x="316504" y="2183789"/>
                      </a:lnTo>
                      <a:lnTo>
                        <a:pt x="316505" y="2183788"/>
                      </a:lnTo>
                      <a:lnTo>
                        <a:pt x="371344" y="2123450"/>
                      </a:lnTo>
                      <a:lnTo>
                        <a:pt x="414648" y="2241764"/>
                      </a:lnTo>
                      <a:cubicBezTo>
                        <a:pt x="626275" y="2742107"/>
                        <a:pt x="1121708" y="3093182"/>
                        <a:pt x="1699139" y="3093182"/>
                      </a:cubicBezTo>
                      <a:cubicBezTo>
                        <a:pt x="2469047" y="3093182"/>
                        <a:pt x="3093181" y="2469048"/>
                        <a:pt x="3093181" y="1699140"/>
                      </a:cubicBezTo>
                      <a:cubicBezTo>
                        <a:pt x="3093181" y="929232"/>
                        <a:pt x="2469047" y="305098"/>
                        <a:pt x="1699139" y="305098"/>
                      </a:cubicBezTo>
                      <a:cubicBezTo>
                        <a:pt x="1362304" y="305098"/>
                        <a:pt x="1053372" y="424561"/>
                        <a:pt x="812399" y="623429"/>
                      </a:cubicBezTo>
                      <a:lnTo>
                        <a:pt x="781435" y="651571"/>
                      </a:lnTo>
                      <a:lnTo>
                        <a:pt x="779651" y="639879"/>
                      </a:lnTo>
                      <a:cubicBezTo>
                        <a:pt x="768334" y="584574"/>
                        <a:pt x="754330" y="530248"/>
                        <a:pt x="737781" y="477043"/>
                      </a:cubicBezTo>
                      <a:lnTo>
                        <a:pt x="686526" y="337004"/>
                      </a:lnTo>
                      <a:lnTo>
                        <a:pt x="749134" y="290186"/>
                      </a:lnTo>
                      <a:cubicBezTo>
                        <a:pt x="1020318" y="106978"/>
                        <a:pt x="1347236" y="0"/>
                        <a:pt x="1699139" y="0"/>
                      </a:cubicBezTo>
                      <a:close/>
                    </a:path>
                  </a:pathLst>
                </a:custGeom>
                <a:gradFill>
                  <a:gsLst>
                    <a:gs pos="0">
                      <a:schemeClr val="accent2">
                        <a:lumMod val="75000"/>
                        <a:lumOff val="25000"/>
                      </a:schemeClr>
                    </a:gs>
                    <a:gs pos="100000">
                      <a:schemeClr val="accent2">
                        <a:lumMod val="25000"/>
                        <a:lumOff val="75000"/>
                      </a:schemeClr>
                    </a:gs>
                  </a:gsLst>
                  <a:path path="circle">
                    <a:fillToRect t="100000" r="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pSp>
          <p:grpSp>
            <p:nvGrpSpPr>
              <p:cNvPr id="47" name="Group 46">
                <a:extLst>
                  <a:ext uri="{FF2B5EF4-FFF2-40B4-BE49-F238E27FC236}">
                    <a16:creationId xmlns:a16="http://schemas.microsoft.com/office/drawing/2014/main" id="{2ECFD516-CEC3-48F2-A6D4-408095262BC9}"/>
                  </a:ext>
                </a:extLst>
              </p:cNvPr>
              <p:cNvGrpSpPr/>
              <p:nvPr/>
            </p:nvGrpSpPr>
            <p:grpSpPr>
              <a:xfrm>
                <a:off x="2018133" y="2839451"/>
                <a:ext cx="1294270" cy="1039272"/>
                <a:chOff x="1671294" y="3105835"/>
                <a:chExt cx="1294270" cy="1039272"/>
              </a:xfrm>
            </p:grpSpPr>
            <p:sp>
              <p:nvSpPr>
                <p:cNvPr id="44" name="TextBox 43">
                  <a:extLst>
                    <a:ext uri="{FF2B5EF4-FFF2-40B4-BE49-F238E27FC236}">
                      <a16:creationId xmlns:a16="http://schemas.microsoft.com/office/drawing/2014/main" id="{E3AD37FA-A1A1-4C36-973C-237E3DA2EE64}"/>
                    </a:ext>
                  </a:extLst>
                </p:cNvPr>
                <p:cNvSpPr txBox="1"/>
                <p:nvPr/>
              </p:nvSpPr>
              <p:spPr>
                <a:xfrm>
                  <a:off x="1789217" y="3105835"/>
                  <a:ext cx="1058422" cy="300025"/>
                </a:xfrm>
                <a:prstGeom prst="rect">
                  <a:avLst/>
                </a:prstGeom>
                <a:noFill/>
              </p:spPr>
              <p:txBody>
                <a:bodyPr wrap="none" rtlCol="0">
                  <a:spAutoFit/>
                </a:bodyPr>
                <a:lstStyle/>
                <a:p>
                  <a:pPr algn="ctr"/>
                  <a:r>
                    <a:rPr lang="en-US" sz="1500" b="1" dirty="0">
                      <a:solidFill>
                        <a:schemeClr val="accent1"/>
                      </a:solidFill>
                      <a:latin typeface="Montserrat" panose="00000500000000000000" pitchFamily="50" charset="0"/>
                    </a:rPr>
                    <a:t>Option 01</a:t>
                  </a:r>
                </a:p>
              </p:txBody>
            </p:sp>
            <p:sp>
              <p:nvSpPr>
                <p:cNvPr id="46" name="TextBox 45">
                  <a:extLst>
                    <a:ext uri="{FF2B5EF4-FFF2-40B4-BE49-F238E27FC236}">
                      <a16:creationId xmlns:a16="http://schemas.microsoft.com/office/drawing/2014/main" id="{16C8B583-01ED-4716-AD4A-13EF57A26820}"/>
                    </a:ext>
                  </a:extLst>
                </p:cNvPr>
                <p:cNvSpPr txBox="1"/>
                <p:nvPr/>
              </p:nvSpPr>
              <p:spPr>
                <a:xfrm>
                  <a:off x="1671294" y="3436475"/>
                  <a:ext cx="1294270" cy="708632"/>
                </a:xfrm>
                <a:prstGeom prst="rect">
                  <a:avLst/>
                </a:prstGeom>
                <a:noFill/>
              </p:spPr>
              <p:txBody>
                <a:bodyPr wrap="square" rtlCol="0">
                  <a:spAutoFit/>
                </a:bodyPr>
                <a:lstStyle/>
                <a:p>
                  <a:pPr algn="ctr">
                    <a:lnSpc>
                      <a:spcPts val="1800"/>
                    </a:lnSpc>
                  </a:pPr>
                  <a:r>
                    <a:rPr lang="en-US" sz="1200" dirty="0">
                      <a:latin typeface="Montserrat" panose="00000500000000000000" pitchFamily="50" charset="0"/>
                    </a:rPr>
                    <a:t>This is a sample text that you can edit</a:t>
                  </a:r>
                </a:p>
              </p:txBody>
            </p:sp>
          </p:grpSp>
          <p:grpSp>
            <p:nvGrpSpPr>
              <p:cNvPr id="49" name="Group 48">
                <a:extLst>
                  <a:ext uri="{FF2B5EF4-FFF2-40B4-BE49-F238E27FC236}">
                    <a16:creationId xmlns:a16="http://schemas.microsoft.com/office/drawing/2014/main" id="{66577624-2191-4E94-ABE7-B2ECF4F80A36}"/>
                  </a:ext>
                </a:extLst>
              </p:cNvPr>
              <p:cNvGrpSpPr/>
              <p:nvPr/>
            </p:nvGrpSpPr>
            <p:grpSpPr>
              <a:xfrm>
                <a:off x="4342230" y="3596570"/>
                <a:ext cx="1294270" cy="1039272"/>
                <a:chOff x="1671293" y="3105835"/>
                <a:chExt cx="1294270" cy="1039272"/>
              </a:xfrm>
            </p:grpSpPr>
            <p:sp>
              <p:nvSpPr>
                <p:cNvPr id="50" name="TextBox 49">
                  <a:extLst>
                    <a:ext uri="{FF2B5EF4-FFF2-40B4-BE49-F238E27FC236}">
                      <a16:creationId xmlns:a16="http://schemas.microsoft.com/office/drawing/2014/main" id="{79F829EC-1C59-4A45-B1EC-BF7E578807B0}"/>
                    </a:ext>
                  </a:extLst>
                </p:cNvPr>
                <p:cNvSpPr txBox="1"/>
                <p:nvPr/>
              </p:nvSpPr>
              <p:spPr>
                <a:xfrm>
                  <a:off x="1789217" y="3105835"/>
                  <a:ext cx="1058422" cy="300025"/>
                </a:xfrm>
                <a:prstGeom prst="rect">
                  <a:avLst/>
                </a:prstGeom>
                <a:noFill/>
              </p:spPr>
              <p:txBody>
                <a:bodyPr wrap="none" rtlCol="0">
                  <a:spAutoFit/>
                </a:bodyPr>
                <a:lstStyle/>
                <a:p>
                  <a:pPr algn="ctr"/>
                  <a:r>
                    <a:rPr lang="en-US" sz="1500" b="1" dirty="0">
                      <a:solidFill>
                        <a:schemeClr val="accent3"/>
                      </a:solidFill>
                      <a:latin typeface="Montserrat" panose="00000500000000000000" pitchFamily="50" charset="0"/>
                    </a:rPr>
                    <a:t>Option 01</a:t>
                  </a:r>
                </a:p>
              </p:txBody>
            </p:sp>
            <p:sp>
              <p:nvSpPr>
                <p:cNvPr id="51" name="TextBox 50">
                  <a:extLst>
                    <a:ext uri="{FF2B5EF4-FFF2-40B4-BE49-F238E27FC236}">
                      <a16:creationId xmlns:a16="http://schemas.microsoft.com/office/drawing/2014/main" id="{5E6E21F7-072D-4D3B-870B-2A083474E8BD}"/>
                    </a:ext>
                  </a:extLst>
                </p:cNvPr>
                <p:cNvSpPr txBox="1"/>
                <p:nvPr/>
              </p:nvSpPr>
              <p:spPr>
                <a:xfrm>
                  <a:off x="1671293" y="3436475"/>
                  <a:ext cx="1294270" cy="708632"/>
                </a:xfrm>
                <a:prstGeom prst="rect">
                  <a:avLst/>
                </a:prstGeom>
                <a:noFill/>
              </p:spPr>
              <p:txBody>
                <a:bodyPr wrap="square" rtlCol="0">
                  <a:spAutoFit/>
                </a:bodyPr>
                <a:lstStyle/>
                <a:p>
                  <a:pPr algn="ctr">
                    <a:lnSpc>
                      <a:spcPts val="1800"/>
                    </a:lnSpc>
                  </a:pPr>
                  <a:r>
                    <a:rPr lang="en-US" sz="1200" dirty="0">
                      <a:latin typeface="Montserrat" panose="00000500000000000000" pitchFamily="50" charset="0"/>
                    </a:rPr>
                    <a:t>This is a sample text that you can edit</a:t>
                  </a:r>
                </a:p>
              </p:txBody>
            </p:sp>
          </p:grpSp>
          <p:grpSp>
            <p:nvGrpSpPr>
              <p:cNvPr id="55" name="Group 54">
                <a:extLst>
                  <a:ext uri="{FF2B5EF4-FFF2-40B4-BE49-F238E27FC236}">
                    <a16:creationId xmlns:a16="http://schemas.microsoft.com/office/drawing/2014/main" id="{15223A8F-6E21-4E53-A7EF-BCAD414D0648}"/>
                  </a:ext>
                </a:extLst>
              </p:cNvPr>
              <p:cNvGrpSpPr/>
              <p:nvPr/>
            </p:nvGrpSpPr>
            <p:grpSpPr>
              <a:xfrm>
                <a:off x="6555498" y="2687780"/>
                <a:ext cx="1294270" cy="1039272"/>
                <a:chOff x="1671293" y="3105835"/>
                <a:chExt cx="1294270" cy="1039272"/>
              </a:xfrm>
            </p:grpSpPr>
            <p:sp>
              <p:nvSpPr>
                <p:cNvPr id="56" name="TextBox 55">
                  <a:extLst>
                    <a:ext uri="{FF2B5EF4-FFF2-40B4-BE49-F238E27FC236}">
                      <a16:creationId xmlns:a16="http://schemas.microsoft.com/office/drawing/2014/main" id="{67F3C8F2-2689-4250-87D3-EF673C9158A2}"/>
                    </a:ext>
                  </a:extLst>
                </p:cNvPr>
                <p:cNvSpPr txBox="1"/>
                <p:nvPr/>
              </p:nvSpPr>
              <p:spPr>
                <a:xfrm>
                  <a:off x="1789217" y="3105835"/>
                  <a:ext cx="1058422" cy="300025"/>
                </a:xfrm>
                <a:prstGeom prst="rect">
                  <a:avLst/>
                </a:prstGeom>
                <a:noFill/>
              </p:spPr>
              <p:txBody>
                <a:bodyPr wrap="none" rtlCol="0">
                  <a:spAutoFit/>
                </a:bodyPr>
                <a:lstStyle/>
                <a:p>
                  <a:pPr algn="ctr"/>
                  <a:r>
                    <a:rPr lang="en-US" sz="1500" b="1" dirty="0">
                      <a:solidFill>
                        <a:schemeClr val="accent4"/>
                      </a:solidFill>
                      <a:latin typeface="Montserrat" panose="00000500000000000000" pitchFamily="50" charset="0"/>
                    </a:rPr>
                    <a:t>Option 01</a:t>
                  </a:r>
                </a:p>
              </p:txBody>
            </p:sp>
            <p:sp>
              <p:nvSpPr>
                <p:cNvPr id="57" name="TextBox 56">
                  <a:extLst>
                    <a:ext uri="{FF2B5EF4-FFF2-40B4-BE49-F238E27FC236}">
                      <a16:creationId xmlns:a16="http://schemas.microsoft.com/office/drawing/2014/main" id="{410CB534-4F0D-4C33-BC8F-18B237EE88AA}"/>
                    </a:ext>
                  </a:extLst>
                </p:cNvPr>
                <p:cNvSpPr txBox="1"/>
                <p:nvPr/>
              </p:nvSpPr>
              <p:spPr>
                <a:xfrm>
                  <a:off x="1671293" y="3436475"/>
                  <a:ext cx="1294270" cy="708632"/>
                </a:xfrm>
                <a:prstGeom prst="rect">
                  <a:avLst/>
                </a:prstGeom>
                <a:noFill/>
              </p:spPr>
              <p:txBody>
                <a:bodyPr wrap="square" rtlCol="0">
                  <a:spAutoFit/>
                </a:bodyPr>
                <a:lstStyle/>
                <a:p>
                  <a:pPr algn="ctr">
                    <a:lnSpc>
                      <a:spcPts val="1800"/>
                    </a:lnSpc>
                  </a:pPr>
                  <a:r>
                    <a:rPr lang="en-US" sz="1200" dirty="0">
                      <a:latin typeface="Montserrat" panose="00000500000000000000" pitchFamily="50" charset="0"/>
                    </a:rPr>
                    <a:t>This is a sample text that you can edit</a:t>
                  </a:r>
                </a:p>
              </p:txBody>
            </p:sp>
          </p:grpSp>
          <p:grpSp>
            <p:nvGrpSpPr>
              <p:cNvPr id="58" name="Group 57">
                <a:extLst>
                  <a:ext uri="{FF2B5EF4-FFF2-40B4-BE49-F238E27FC236}">
                    <a16:creationId xmlns:a16="http://schemas.microsoft.com/office/drawing/2014/main" id="{BE24EDEC-61EC-494D-AC76-C3AAE055098F}"/>
                  </a:ext>
                </a:extLst>
              </p:cNvPr>
              <p:cNvGrpSpPr/>
              <p:nvPr/>
            </p:nvGrpSpPr>
            <p:grpSpPr>
              <a:xfrm>
                <a:off x="8879600" y="3527294"/>
                <a:ext cx="1294270" cy="1039272"/>
                <a:chOff x="1671293" y="3105835"/>
                <a:chExt cx="1294270" cy="1039272"/>
              </a:xfrm>
            </p:grpSpPr>
            <p:sp>
              <p:nvSpPr>
                <p:cNvPr id="59" name="TextBox 58">
                  <a:extLst>
                    <a:ext uri="{FF2B5EF4-FFF2-40B4-BE49-F238E27FC236}">
                      <a16:creationId xmlns:a16="http://schemas.microsoft.com/office/drawing/2014/main" id="{853A89E5-536C-4DFD-86A7-E84B53B235B1}"/>
                    </a:ext>
                  </a:extLst>
                </p:cNvPr>
                <p:cNvSpPr txBox="1"/>
                <p:nvPr/>
              </p:nvSpPr>
              <p:spPr>
                <a:xfrm>
                  <a:off x="1789217" y="3105835"/>
                  <a:ext cx="1058422" cy="300025"/>
                </a:xfrm>
                <a:prstGeom prst="rect">
                  <a:avLst/>
                </a:prstGeom>
                <a:noFill/>
              </p:spPr>
              <p:txBody>
                <a:bodyPr wrap="none" rtlCol="0">
                  <a:spAutoFit/>
                </a:bodyPr>
                <a:lstStyle/>
                <a:p>
                  <a:pPr algn="ctr"/>
                  <a:r>
                    <a:rPr lang="en-US" sz="1500" b="1" dirty="0">
                      <a:solidFill>
                        <a:schemeClr val="accent2">
                          <a:lumMod val="75000"/>
                          <a:lumOff val="25000"/>
                        </a:schemeClr>
                      </a:solidFill>
                      <a:latin typeface="Montserrat" panose="00000500000000000000" pitchFamily="50" charset="0"/>
                    </a:rPr>
                    <a:t>Option 01</a:t>
                  </a:r>
                </a:p>
              </p:txBody>
            </p:sp>
            <p:sp>
              <p:nvSpPr>
                <p:cNvPr id="60" name="TextBox 59">
                  <a:extLst>
                    <a:ext uri="{FF2B5EF4-FFF2-40B4-BE49-F238E27FC236}">
                      <a16:creationId xmlns:a16="http://schemas.microsoft.com/office/drawing/2014/main" id="{DE0B1DCB-9260-4DD5-8425-E73FBBEB1FB5}"/>
                    </a:ext>
                  </a:extLst>
                </p:cNvPr>
                <p:cNvSpPr txBox="1"/>
                <p:nvPr/>
              </p:nvSpPr>
              <p:spPr>
                <a:xfrm>
                  <a:off x="1671293" y="3436475"/>
                  <a:ext cx="1294270" cy="708632"/>
                </a:xfrm>
                <a:prstGeom prst="rect">
                  <a:avLst/>
                </a:prstGeom>
                <a:noFill/>
              </p:spPr>
              <p:txBody>
                <a:bodyPr wrap="square" rtlCol="0">
                  <a:spAutoFit/>
                </a:bodyPr>
                <a:lstStyle/>
                <a:p>
                  <a:pPr algn="ctr">
                    <a:lnSpc>
                      <a:spcPts val="1800"/>
                    </a:lnSpc>
                  </a:pPr>
                  <a:r>
                    <a:rPr lang="en-US" sz="1200" dirty="0">
                      <a:latin typeface="Montserrat" panose="00000500000000000000" pitchFamily="50" charset="0"/>
                    </a:rPr>
                    <a:t>This is a sample text that you can edit</a:t>
                  </a:r>
                </a:p>
              </p:txBody>
            </p:sp>
          </p:grpSp>
        </p:grpSp>
        <p:sp>
          <p:nvSpPr>
            <p:cNvPr id="62" name="TextBox 61">
              <a:extLst>
                <a:ext uri="{FF2B5EF4-FFF2-40B4-BE49-F238E27FC236}">
                  <a16:creationId xmlns:a16="http://schemas.microsoft.com/office/drawing/2014/main" id="{61D433A0-7775-42BA-8D37-C64FAFCB41E8}"/>
                </a:ext>
              </a:extLst>
            </p:cNvPr>
            <p:cNvSpPr txBox="1"/>
            <p:nvPr/>
          </p:nvSpPr>
          <p:spPr>
            <a:xfrm>
              <a:off x="2505907" y="796697"/>
              <a:ext cx="7180187" cy="553998"/>
            </a:xfrm>
            <a:prstGeom prst="rect">
              <a:avLst/>
            </a:prstGeom>
            <a:noFill/>
          </p:spPr>
          <p:txBody>
            <a:bodyPr wrap="square" rtlCol="0">
              <a:spAutoFit/>
            </a:bodyPr>
            <a:lstStyle>
              <a:defPPr>
                <a:defRPr lang="en-US"/>
              </a:defPPr>
              <a:lvl1pPr>
                <a:defRPr sz="3000" b="1">
                  <a:solidFill>
                    <a:schemeClr val="tx2">
                      <a:lumMod val="40000"/>
                      <a:lumOff val="60000"/>
                    </a:schemeClr>
                  </a:solidFill>
                  <a:latin typeface="Montserrat" panose="00000500000000000000" pitchFamily="50" charset="0"/>
                </a:defRPr>
              </a:lvl1pPr>
            </a:lstStyle>
            <a:p>
              <a:pPr algn="ctr"/>
              <a:r>
                <a:rPr lang="en-US" dirty="0"/>
                <a:t>LINEAR VENN DIAGRAM</a:t>
              </a:r>
            </a:p>
          </p:txBody>
        </p:sp>
      </p:grpSp>
    </p:spTree>
    <p:extLst>
      <p:ext uri="{BB962C8B-B14F-4D97-AF65-F5344CB8AC3E}">
        <p14:creationId xmlns:p14="http://schemas.microsoft.com/office/powerpoint/2010/main" val="28062568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CF308382-2B6C-4C0F-9B80-9FBC8CEE3D41}"/>
              </a:ext>
            </a:extLst>
          </p:cNvPr>
          <p:cNvGrpSpPr/>
          <p:nvPr/>
        </p:nvGrpSpPr>
        <p:grpSpPr>
          <a:xfrm>
            <a:off x="743899" y="1186745"/>
            <a:ext cx="10704202" cy="4484510"/>
            <a:chOff x="743900" y="874890"/>
            <a:chExt cx="10704202" cy="4484510"/>
          </a:xfrm>
        </p:grpSpPr>
        <p:grpSp>
          <p:nvGrpSpPr>
            <p:cNvPr id="49" name="Group 48">
              <a:extLst>
                <a:ext uri="{FF2B5EF4-FFF2-40B4-BE49-F238E27FC236}">
                  <a16:creationId xmlns:a16="http://schemas.microsoft.com/office/drawing/2014/main" id="{1E83E135-1B1A-49CA-955A-C9C7A268737F}"/>
                </a:ext>
              </a:extLst>
            </p:cNvPr>
            <p:cNvGrpSpPr/>
            <p:nvPr/>
          </p:nvGrpSpPr>
          <p:grpSpPr>
            <a:xfrm>
              <a:off x="743900" y="2144486"/>
              <a:ext cx="10704202" cy="3214914"/>
              <a:chOff x="743900" y="2144486"/>
              <a:chExt cx="10704202" cy="3214914"/>
            </a:xfrm>
          </p:grpSpPr>
          <p:sp>
            <p:nvSpPr>
              <p:cNvPr id="5" name="Oval 4">
                <a:extLst>
                  <a:ext uri="{FF2B5EF4-FFF2-40B4-BE49-F238E27FC236}">
                    <a16:creationId xmlns:a16="http://schemas.microsoft.com/office/drawing/2014/main" id="{473A1282-6467-4D3E-BDB7-C3087E3E9FE3}"/>
                  </a:ext>
                </a:extLst>
              </p:cNvPr>
              <p:cNvSpPr/>
              <p:nvPr/>
            </p:nvSpPr>
            <p:spPr>
              <a:xfrm>
                <a:off x="5736759" y="2144486"/>
                <a:ext cx="3214914" cy="3214914"/>
              </a:xfrm>
              <a:prstGeom prst="ellipse">
                <a:avLst/>
              </a:prstGeom>
              <a:gradFill flip="none" rotWithShape="1">
                <a:gsLst>
                  <a:gs pos="0">
                    <a:schemeClr val="accent4">
                      <a:lumMod val="75000"/>
                      <a:alpha val="80000"/>
                    </a:schemeClr>
                  </a:gs>
                  <a:gs pos="100000">
                    <a:schemeClr val="accent4">
                      <a:alpha val="4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Oval 5">
                <a:extLst>
                  <a:ext uri="{FF2B5EF4-FFF2-40B4-BE49-F238E27FC236}">
                    <a16:creationId xmlns:a16="http://schemas.microsoft.com/office/drawing/2014/main" id="{E55D7FD5-BC7A-4117-AAB0-FC1649222DF3}"/>
                  </a:ext>
                </a:extLst>
              </p:cNvPr>
              <p:cNvSpPr/>
              <p:nvPr/>
            </p:nvSpPr>
            <p:spPr>
              <a:xfrm>
                <a:off x="8233188" y="2144486"/>
                <a:ext cx="3214914" cy="3214914"/>
              </a:xfrm>
              <a:prstGeom prst="ellipse">
                <a:avLst/>
              </a:prstGeom>
              <a:gradFill flip="none" rotWithShape="1">
                <a:gsLst>
                  <a:gs pos="0">
                    <a:schemeClr val="accent5"/>
                  </a:gs>
                  <a:gs pos="100000">
                    <a:schemeClr val="accent5">
                      <a:lumMod val="60000"/>
                      <a:lumOff val="40000"/>
                      <a:alpha val="4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Oval 3">
                <a:extLst>
                  <a:ext uri="{FF2B5EF4-FFF2-40B4-BE49-F238E27FC236}">
                    <a16:creationId xmlns:a16="http://schemas.microsoft.com/office/drawing/2014/main" id="{8341C70F-4334-4594-94C3-53A830E81289}"/>
                  </a:ext>
                </a:extLst>
              </p:cNvPr>
              <p:cNvSpPr/>
              <p:nvPr/>
            </p:nvSpPr>
            <p:spPr>
              <a:xfrm>
                <a:off x="3240329" y="2144486"/>
                <a:ext cx="3214914" cy="3214914"/>
              </a:xfrm>
              <a:prstGeom prst="ellipse">
                <a:avLst/>
              </a:prstGeom>
              <a:gradFill flip="none" rotWithShape="1">
                <a:gsLst>
                  <a:gs pos="0">
                    <a:schemeClr val="accent3">
                      <a:alpha val="75000"/>
                    </a:schemeClr>
                  </a:gs>
                  <a:gs pos="100000">
                    <a:schemeClr val="accent3">
                      <a:lumMod val="60000"/>
                      <a:lumOff val="40000"/>
                      <a:alpha val="6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Oval 1">
                <a:extLst>
                  <a:ext uri="{FF2B5EF4-FFF2-40B4-BE49-F238E27FC236}">
                    <a16:creationId xmlns:a16="http://schemas.microsoft.com/office/drawing/2014/main" id="{FADA1093-07DB-4D5B-ADEE-857DD6296DFC}"/>
                  </a:ext>
                </a:extLst>
              </p:cNvPr>
              <p:cNvSpPr/>
              <p:nvPr/>
            </p:nvSpPr>
            <p:spPr>
              <a:xfrm>
                <a:off x="743900" y="2144486"/>
                <a:ext cx="3214914" cy="3214914"/>
              </a:xfrm>
              <a:prstGeom prst="ellipse">
                <a:avLst/>
              </a:prstGeom>
              <a:gradFill flip="none" rotWithShape="1">
                <a:gsLst>
                  <a:gs pos="0">
                    <a:schemeClr val="accent1">
                      <a:alpha val="75000"/>
                    </a:schemeClr>
                  </a:gs>
                  <a:gs pos="100000">
                    <a:schemeClr val="accent1">
                      <a:lumMod val="60000"/>
                      <a:lumOff val="40000"/>
                      <a:alpha val="4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7" name="Group 6">
                <a:extLst>
                  <a:ext uri="{FF2B5EF4-FFF2-40B4-BE49-F238E27FC236}">
                    <a16:creationId xmlns:a16="http://schemas.microsoft.com/office/drawing/2014/main" id="{E356A1CF-E114-423C-A040-E48A9B560428}"/>
                  </a:ext>
                </a:extLst>
              </p:cNvPr>
              <p:cNvGrpSpPr/>
              <p:nvPr/>
            </p:nvGrpSpPr>
            <p:grpSpPr>
              <a:xfrm>
                <a:off x="743900" y="2144486"/>
                <a:ext cx="10704202" cy="3214914"/>
                <a:chOff x="1306287" y="2741565"/>
                <a:chExt cx="9579428" cy="2877098"/>
              </a:xfrm>
              <a:noFill/>
            </p:grpSpPr>
            <p:sp>
              <p:nvSpPr>
                <p:cNvPr id="8" name="Oval 7">
                  <a:extLst>
                    <a:ext uri="{FF2B5EF4-FFF2-40B4-BE49-F238E27FC236}">
                      <a16:creationId xmlns:a16="http://schemas.microsoft.com/office/drawing/2014/main" id="{DAC5D7FF-398F-4A4B-8541-BC81FD91B126}"/>
                    </a:ext>
                  </a:extLst>
                </p:cNvPr>
                <p:cNvSpPr/>
                <p:nvPr/>
              </p:nvSpPr>
              <p:spPr>
                <a:xfrm>
                  <a:off x="5774507" y="2741565"/>
                  <a:ext cx="2877098" cy="2877098"/>
                </a:xfrm>
                <a:prstGeom prst="ellipse">
                  <a:avLst/>
                </a:prstGeom>
                <a:gr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Oval 8">
                  <a:extLst>
                    <a:ext uri="{FF2B5EF4-FFF2-40B4-BE49-F238E27FC236}">
                      <a16:creationId xmlns:a16="http://schemas.microsoft.com/office/drawing/2014/main" id="{B4DB0C44-8F06-4586-80BF-EE456FF96963}"/>
                    </a:ext>
                  </a:extLst>
                </p:cNvPr>
                <p:cNvSpPr/>
                <p:nvPr/>
              </p:nvSpPr>
              <p:spPr>
                <a:xfrm>
                  <a:off x="8008617" y="2741565"/>
                  <a:ext cx="2877098" cy="2877098"/>
                </a:xfrm>
                <a:prstGeom prst="ellipse">
                  <a:avLst/>
                </a:prstGeom>
                <a:gr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Oval 9">
                  <a:extLst>
                    <a:ext uri="{FF2B5EF4-FFF2-40B4-BE49-F238E27FC236}">
                      <a16:creationId xmlns:a16="http://schemas.microsoft.com/office/drawing/2014/main" id="{AA787A65-59B9-40FF-8C40-F811B03B4CCB}"/>
                    </a:ext>
                  </a:extLst>
                </p:cNvPr>
                <p:cNvSpPr/>
                <p:nvPr/>
              </p:nvSpPr>
              <p:spPr>
                <a:xfrm>
                  <a:off x="3540397" y="2741565"/>
                  <a:ext cx="2877098" cy="2877098"/>
                </a:xfrm>
                <a:prstGeom prst="ellipse">
                  <a:avLst/>
                </a:prstGeom>
                <a:gr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Oval 10">
                  <a:extLst>
                    <a:ext uri="{FF2B5EF4-FFF2-40B4-BE49-F238E27FC236}">
                      <a16:creationId xmlns:a16="http://schemas.microsoft.com/office/drawing/2014/main" id="{04F326C8-65DA-4657-BF13-0A71E448F3B5}"/>
                    </a:ext>
                  </a:extLst>
                </p:cNvPr>
                <p:cNvSpPr/>
                <p:nvPr/>
              </p:nvSpPr>
              <p:spPr>
                <a:xfrm>
                  <a:off x="1306287" y="2741565"/>
                  <a:ext cx="2877098" cy="2877098"/>
                </a:xfrm>
                <a:prstGeom prst="ellipse">
                  <a:avLst/>
                </a:prstGeom>
                <a:gr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14" name="Group 13">
                <a:extLst>
                  <a:ext uri="{FF2B5EF4-FFF2-40B4-BE49-F238E27FC236}">
                    <a16:creationId xmlns:a16="http://schemas.microsoft.com/office/drawing/2014/main" id="{58A89BEB-5CBA-4BE8-A856-D8D86109F6A0}"/>
                  </a:ext>
                </a:extLst>
              </p:cNvPr>
              <p:cNvGrpSpPr/>
              <p:nvPr/>
            </p:nvGrpSpPr>
            <p:grpSpPr>
              <a:xfrm>
                <a:off x="3476654" y="3629025"/>
                <a:ext cx="245836" cy="245836"/>
                <a:chOff x="740228" y="438150"/>
                <a:chExt cx="914400" cy="914400"/>
              </a:xfrm>
            </p:grpSpPr>
            <p:sp>
              <p:nvSpPr>
                <p:cNvPr id="13" name="Rectangle: Rounded Corners 12">
                  <a:extLst>
                    <a:ext uri="{FF2B5EF4-FFF2-40B4-BE49-F238E27FC236}">
                      <a16:creationId xmlns:a16="http://schemas.microsoft.com/office/drawing/2014/main" id="{122FA2F9-21E5-41E2-9992-AD104B7014FA}"/>
                    </a:ext>
                  </a:extLst>
                </p:cNvPr>
                <p:cNvSpPr/>
                <p:nvPr/>
              </p:nvSpPr>
              <p:spPr>
                <a:xfrm>
                  <a:off x="1088570" y="438150"/>
                  <a:ext cx="217715" cy="9144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6858F38B-8D36-451F-8FA2-5D5C78E3FE76}"/>
                    </a:ext>
                  </a:extLst>
                </p:cNvPr>
                <p:cNvSpPr/>
                <p:nvPr/>
              </p:nvSpPr>
              <p:spPr>
                <a:xfrm rot="5400000">
                  <a:off x="1088570" y="438150"/>
                  <a:ext cx="217715" cy="9144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D2B842B9-A4DF-4A6E-AFCF-293B828BC679}"/>
                  </a:ext>
                </a:extLst>
              </p:cNvPr>
              <p:cNvGrpSpPr/>
              <p:nvPr/>
            </p:nvGrpSpPr>
            <p:grpSpPr>
              <a:xfrm>
                <a:off x="5973083" y="3629025"/>
                <a:ext cx="245836" cy="245836"/>
                <a:chOff x="740228" y="438150"/>
                <a:chExt cx="914400" cy="914400"/>
              </a:xfrm>
            </p:grpSpPr>
            <p:sp>
              <p:nvSpPr>
                <p:cNvPr id="18" name="Rectangle: Rounded Corners 17">
                  <a:extLst>
                    <a:ext uri="{FF2B5EF4-FFF2-40B4-BE49-F238E27FC236}">
                      <a16:creationId xmlns:a16="http://schemas.microsoft.com/office/drawing/2014/main" id="{1C4218EE-B848-4D75-8C49-D2E6FDC515FC}"/>
                    </a:ext>
                  </a:extLst>
                </p:cNvPr>
                <p:cNvSpPr/>
                <p:nvPr/>
              </p:nvSpPr>
              <p:spPr>
                <a:xfrm>
                  <a:off x="1088570" y="438150"/>
                  <a:ext cx="217715" cy="9144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74FCBA26-5358-4520-BA26-B98AFBDE7F7A}"/>
                    </a:ext>
                  </a:extLst>
                </p:cNvPr>
                <p:cNvSpPr/>
                <p:nvPr/>
              </p:nvSpPr>
              <p:spPr>
                <a:xfrm rot="5400000">
                  <a:off x="1088570" y="438150"/>
                  <a:ext cx="217715" cy="9144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0" name="Group 19">
                <a:extLst>
                  <a:ext uri="{FF2B5EF4-FFF2-40B4-BE49-F238E27FC236}">
                    <a16:creationId xmlns:a16="http://schemas.microsoft.com/office/drawing/2014/main" id="{4586857D-6599-4856-96B4-9EBA179AC59B}"/>
                  </a:ext>
                </a:extLst>
              </p:cNvPr>
              <p:cNvGrpSpPr/>
              <p:nvPr/>
            </p:nvGrpSpPr>
            <p:grpSpPr>
              <a:xfrm>
                <a:off x="8469512" y="3629025"/>
                <a:ext cx="245836" cy="245836"/>
                <a:chOff x="740228" y="438150"/>
                <a:chExt cx="914400" cy="914400"/>
              </a:xfrm>
            </p:grpSpPr>
            <p:sp>
              <p:nvSpPr>
                <p:cNvPr id="21" name="Rectangle: Rounded Corners 20">
                  <a:extLst>
                    <a:ext uri="{FF2B5EF4-FFF2-40B4-BE49-F238E27FC236}">
                      <a16:creationId xmlns:a16="http://schemas.microsoft.com/office/drawing/2014/main" id="{32E7984B-E8AC-4124-9978-FBEBCF93EA9C}"/>
                    </a:ext>
                  </a:extLst>
                </p:cNvPr>
                <p:cNvSpPr/>
                <p:nvPr/>
              </p:nvSpPr>
              <p:spPr>
                <a:xfrm>
                  <a:off x="1088570" y="438150"/>
                  <a:ext cx="217715" cy="9144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13B4F2CC-AD24-41F8-8615-E4D65C25169E}"/>
                    </a:ext>
                  </a:extLst>
                </p:cNvPr>
                <p:cNvSpPr/>
                <p:nvPr/>
              </p:nvSpPr>
              <p:spPr>
                <a:xfrm rot="5400000">
                  <a:off x="1088570" y="438150"/>
                  <a:ext cx="217715" cy="9144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TextBox 23">
                <a:extLst>
                  <a:ext uri="{FF2B5EF4-FFF2-40B4-BE49-F238E27FC236}">
                    <a16:creationId xmlns:a16="http://schemas.microsoft.com/office/drawing/2014/main" id="{466CF817-D68C-4FE4-93CB-7500ABDDB1B8}"/>
                  </a:ext>
                </a:extLst>
              </p:cNvPr>
              <p:cNvSpPr txBox="1"/>
              <p:nvPr/>
            </p:nvSpPr>
            <p:spPr>
              <a:xfrm>
                <a:off x="1427407" y="3309566"/>
                <a:ext cx="1293620" cy="378306"/>
              </a:xfrm>
              <a:prstGeom prst="rect">
                <a:avLst/>
              </a:prstGeom>
              <a:noFill/>
            </p:spPr>
            <p:txBody>
              <a:bodyPr wrap="none" rtlCol="0">
                <a:spAutoFit/>
              </a:bodyPr>
              <a:lstStyle/>
              <a:p>
                <a:pPr algn="ctr"/>
                <a:r>
                  <a:rPr lang="en-US" sz="1600" b="1" dirty="0">
                    <a:solidFill>
                      <a:schemeClr val="bg1"/>
                    </a:solidFill>
                    <a:latin typeface="Montserrat" panose="00000500000000000000" pitchFamily="50" charset="0"/>
                  </a:rPr>
                  <a:t>Title One</a:t>
                </a:r>
              </a:p>
            </p:txBody>
          </p:sp>
          <p:sp>
            <p:nvSpPr>
              <p:cNvPr id="25" name="TextBox 24">
                <a:extLst>
                  <a:ext uri="{FF2B5EF4-FFF2-40B4-BE49-F238E27FC236}">
                    <a16:creationId xmlns:a16="http://schemas.microsoft.com/office/drawing/2014/main" id="{F64F7652-1FE6-46FE-93FE-45BBA6133BBA}"/>
                  </a:ext>
                </a:extLst>
              </p:cNvPr>
              <p:cNvSpPr txBox="1"/>
              <p:nvPr/>
            </p:nvSpPr>
            <p:spPr>
              <a:xfrm>
                <a:off x="1292516" y="3719787"/>
                <a:ext cx="1563402" cy="943015"/>
              </a:xfrm>
              <a:prstGeom prst="rect">
                <a:avLst/>
              </a:prstGeom>
              <a:noFill/>
            </p:spPr>
            <p:txBody>
              <a:bodyPr wrap="square" rtlCol="0">
                <a:spAutoFit/>
              </a:bodyPr>
              <a:lstStyle/>
              <a:p>
                <a:pPr algn="ctr">
                  <a:lnSpc>
                    <a:spcPts val="1700"/>
                  </a:lnSpc>
                </a:pPr>
                <a:r>
                  <a:rPr lang="en-US" sz="1100" dirty="0">
                    <a:solidFill>
                      <a:schemeClr val="bg1"/>
                    </a:solidFill>
                    <a:latin typeface="Montserrat" panose="00000500000000000000" pitchFamily="50" charset="0"/>
                  </a:rPr>
                  <a:t>Lorem ipsum dolor sit </a:t>
                </a:r>
                <a:r>
                  <a:rPr lang="en-US" sz="1100" dirty="0" err="1">
                    <a:solidFill>
                      <a:schemeClr val="bg1"/>
                    </a:solidFill>
                    <a:latin typeface="Montserrat" panose="00000500000000000000" pitchFamily="50" charset="0"/>
                  </a:rPr>
                  <a:t>amet</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adipiscing</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elit</a:t>
                </a:r>
                <a:r>
                  <a:rPr lang="en-US" sz="1100" dirty="0">
                    <a:solidFill>
                      <a:schemeClr val="bg1"/>
                    </a:solidFill>
                    <a:latin typeface="Montserrat" panose="00000500000000000000" pitchFamily="50" charset="0"/>
                  </a:rPr>
                  <a:t>, do </a:t>
                </a:r>
                <a:r>
                  <a:rPr lang="en-US" sz="1100" dirty="0" err="1">
                    <a:solidFill>
                      <a:schemeClr val="bg1"/>
                    </a:solidFill>
                    <a:latin typeface="Montserrat" panose="00000500000000000000" pitchFamily="50" charset="0"/>
                  </a:rPr>
                  <a:t>eiusmod</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tempor</a:t>
                </a:r>
                <a:r>
                  <a:rPr lang="en-US" sz="1100" dirty="0">
                    <a:solidFill>
                      <a:schemeClr val="bg1"/>
                    </a:solidFill>
                    <a:latin typeface="Montserrat" panose="00000500000000000000" pitchFamily="50" charset="0"/>
                  </a:rPr>
                  <a:t> et.</a:t>
                </a:r>
              </a:p>
            </p:txBody>
          </p:sp>
          <p:sp>
            <p:nvSpPr>
              <p:cNvPr id="32" name="Freeform: Shape 31">
                <a:extLst>
                  <a:ext uri="{FF2B5EF4-FFF2-40B4-BE49-F238E27FC236}">
                    <a16:creationId xmlns:a16="http://schemas.microsoft.com/office/drawing/2014/main" id="{BEA4F379-6E6C-4865-AE95-52E7654E9296}"/>
                  </a:ext>
                </a:extLst>
              </p:cNvPr>
              <p:cNvSpPr/>
              <p:nvPr/>
            </p:nvSpPr>
            <p:spPr>
              <a:xfrm>
                <a:off x="1820259" y="2681819"/>
                <a:ext cx="483081" cy="396817"/>
              </a:xfrm>
              <a:custGeom>
                <a:avLst/>
                <a:gdLst>
                  <a:gd name="connsiteX0" fmla="*/ 1112332 w 2226365"/>
                  <a:gd name="connsiteY0" fmla="*/ 1593740 h 1828800"/>
                  <a:gd name="connsiteX1" fmla="*/ 242790 w 2226365"/>
                  <a:gd name="connsiteY1" fmla="*/ 1593673 h 1828800"/>
                  <a:gd name="connsiteX2" fmla="*/ 77 w 2226365"/>
                  <a:gd name="connsiteY2" fmla="*/ 1350098 h 1828800"/>
                  <a:gd name="connsiteX3" fmla="*/ 77 w 2226365"/>
                  <a:gd name="connsiteY3" fmla="*/ 242084 h 1828800"/>
                  <a:gd name="connsiteX4" fmla="*/ 241796 w 2226365"/>
                  <a:gd name="connsiteY4" fmla="*/ 99 h 1828800"/>
                  <a:gd name="connsiteX5" fmla="*/ 1988300 w 2226365"/>
                  <a:gd name="connsiteY5" fmla="*/ 99 h 1828800"/>
                  <a:gd name="connsiteX6" fmla="*/ 2229755 w 2226365"/>
                  <a:gd name="connsiteY6" fmla="*/ 242349 h 1828800"/>
                  <a:gd name="connsiteX7" fmla="*/ 2229755 w 2226365"/>
                  <a:gd name="connsiteY7" fmla="*/ 1352881 h 1828800"/>
                  <a:gd name="connsiteX8" fmla="*/ 1989294 w 2226365"/>
                  <a:gd name="connsiteY8" fmla="*/ 1593673 h 1828800"/>
                  <a:gd name="connsiteX9" fmla="*/ 1112332 w 2226365"/>
                  <a:gd name="connsiteY9" fmla="*/ 1593740 h 1828800"/>
                  <a:gd name="connsiteX10" fmla="*/ 1115578 w 2226365"/>
                  <a:gd name="connsiteY10" fmla="*/ 1431268 h 1828800"/>
                  <a:gd name="connsiteX11" fmla="*/ 1823642 w 2226365"/>
                  <a:gd name="connsiteY11" fmla="*/ 1431268 h 1828800"/>
                  <a:gd name="connsiteX12" fmla="*/ 1975181 w 2226365"/>
                  <a:gd name="connsiteY12" fmla="*/ 1431135 h 1828800"/>
                  <a:gd name="connsiteX13" fmla="*/ 2067349 w 2226365"/>
                  <a:gd name="connsiteY13" fmla="*/ 1338436 h 1828800"/>
                  <a:gd name="connsiteX14" fmla="*/ 2067416 w 2226365"/>
                  <a:gd name="connsiteY14" fmla="*/ 1323528 h 1828800"/>
                  <a:gd name="connsiteX15" fmla="*/ 2067416 w 2226365"/>
                  <a:gd name="connsiteY15" fmla="*/ 270112 h 1828800"/>
                  <a:gd name="connsiteX16" fmla="*/ 2067217 w 2226365"/>
                  <a:gd name="connsiteY16" fmla="*/ 247783 h 1828800"/>
                  <a:gd name="connsiteX17" fmla="*/ 1982602 w 2226365"/>
                  <a:gd name="connsiteY17" fmla="*/ 162704 h 1828800"/>
                  <a:gd name="connsiteX18" fmla="*/ 1965241 w 2226365"/>
                  <a:gd name="connsiteY18" fmla="*/ 162505 h 1828800"/>
                  <a:gd name="connsiteX19" fmla="*/ 265849 w 2226365"/>
                  <a:gd name="connsiteY19" fmla="*/ 162505 h 1828800"/>
                  <a:gd name="connsiteX20" fmla="*/ 226357 w 2226365"/>
                  <a:gd name="connsiteY20" fmla="*/ 165818 h 1828800"/>
                  <a:gd name="connsiteX21" fmla="*/ 165662 w 2226365"/>
                  <a:gd name="connsiteY21" fmla="*/ 226977 h 1828800"/>
                  <a:gd name="connsiteX22" fmla="*/ 162548 w 2226365"/>
                  <a:gd name="connsiteY22" fmla="*/ 268920 h 1828800"/>
                  <a:gd name="connsiteX23" fmla="*/ 162548 w 2226365"/>
                  <a:gd name="connsiteY23" fmla="*/ 1073923 h 1828800"/>
                  <a:gd name="connsiteX24" fmla="*/ 162548 w 2226365"/>
                  <a:gd name="connsiteY24" fmla="*/ 1337310 h 1828800"/>
                  <a:gd name="connsiteX25" fmla="*/ 201178 w 2226365"/>
                  <a:gd name="connsiteY25" fmla="*/ 1418413 h 1828800"/>
                  <a:gd name="connsiteX26" fmla="*/ 263463 w 2226365"/>
                  <a:gd name="connsiteY26" fmla="*/ 1431334 h 1828800"/>
                  <a:gd name="connsiteX27" fmla="*/ 1115578 w 2226365"/>
                  <a:gd name="connsiteY27" fmla="*/ 1431268 h 1828800"/>
                  <a:gd name="connsiteX28" fmla="*/ 1348353 w 2226365"/>
                  <a:gd name="connsiteY28" fmla="*/ 1832213 h 1828800"/>
                  <a:gd name="connsiteX29" fmla="*/ 1434624 w 2226365"/>
                  <a:gd name="connsiteY29" fmla="*/ 1751043 h 1828800"/>
                  <a:gd name="connsiteX30" fmla="*/ 1348220 w 2226365"/>
                  <a:gd name="connsiteY30" fmla="*/ 1669940 h 1828800"/>
                  <a:gd name="connsiteX31" fmla="*/ 881479 w 2226365"/>
                  <a:gd name="connsiteY31" fmla="*/ 1669940 h 1828800"/>
                  <a:gd name="connsiteX32" fmla="*/ 795207 w 2226365"/>
                  <a:gd name="connsiteY32" fmla="*/ 1751109 h 1828800"/>
                  <a:gd name="connsiteX33" fmla="*/ 881545 w 2226365"/>
                  <a:gd name="connsiteY33" fmla="*/ 1832279 h 1828800"/>
                  <a:gd name="connsiteX34" fmla="*/ 1114916 w 2226365"/>
                  <a:gd name="connsiteY34" fmla="*/ 1832345 h 1828800"/>
                  <a:gd name="connsiteX35" fmla="*/ 1348353 w 2226365"/>
                  <a:gd name="connsiteY35" fmla="*/ 1832213 h 1828800"/>
                  <a:gd name="connsiteX36" fmla="*/ 1827883 w 2226365"/>
                  <a:gd name="connsiteY36" fmla="*/ 878056 h 1828800"/>
                  <a:gd name="connsiteX37" fmla="*/ 1832852 w 2226365"/>
                  <a:gd name="connsiteY37" fmla="*/ 878056 h 1828800"/>
                  <a:gd name="connsiteX38" fmla="*/ 1879169 w 2226365"/>
                  <a:gd name="connsiteY38" fmla="*/ 863015 h 1828800"/>
                  <a:gd name="connsiteX39" fmla="*/ 1908920 w 2226365"/>
                  <a:gd name="connsiteY39" fmla="*/ 769719 h 1828800"/>
                  <a:gd name="connsiteX40" fmla="*/ 1827883 w 2226365"/>
                  <a:gd name="connsiteY40" fmla="*/ 711542 h 1828800"/>
                  <a:gd name="connsiteX41" fmla="*/ 1653948 w 2226365"/>
                  <a:gd name="connsiteY41" fmla="*/ 711078 h 1828800"/>
                  <a:gd name="connsiteX42" fmla="*/ 1490615 w 2226365"/>
                  <a:gd name="connsiteY42" fmla="*/ 804308 h 1828800"/>
                  <a:gd name="connsiteX43" fmla="*/ 1371080 w 2226365"/>
                  <a:gd name="connsiteY43" fmla="*/ 1004879 h 1828800"/>
                  <a:gd name="connsiteX44" fmla="*/ 1336161 w 2226365"/>
                  <a:gd name="connsiteY44" fmla="*/ 1005409 h 1828800"/>
                  <a:gd name="connsiteX45" fmla="*/ 1019831 w 2226365"/>
                  <a:gd name="connsiteY45" fmla="*/ 479629 h 1828800"/>
                  <a:gd name="connsiteX46" fmla="*/ 732193 w 2226365"/>
                  <a:gd name="connsiteY46" fmla="*/ 481683 h 1828800"/>
                  <a:gd name="connsiteX47" fmla="*/ 605767 w 2226365"/>
                  <a:gd name="connsiteY47" fmla="*/ 692658 h 1828800"/>
                  <a:gd name="connsiteX48" fmla="*/ 564420 w 2226365"/>
                  <a:gd name="connsiteY48" fmla="*/ 716512 h 1828800"/>
                  <a:gd name="connsiteX49" fmla="*/ 407912 w 2226365"/>
                  <a:gd name="connsiteY49" fmla="*/ 716181 h 1828800"/>
                  <a:gd name="connsiteX50" fmla="*/ 318062 w 2226365"/>
                  <a:gd name="connsiteY50" fmla="*/ 797947 h 1828800"/>
                  <a:gd name="connsiteX51" fmla="*/ 407912 w 2226365"/>
                  <a:gd name="connsiteY51" fmla="*/ 882429 h 1828800"/>
                  <a:gd name="connsiteX52" fmla="*/ 574360 w 2226365"/>
                  <a:gd name="connsiteY52" fmla="*/ 882760 h 1828800"/>
                  <a:gd name="connsiteX53" fmla="*/ 739680 w 2226365"/>
                  <a:gd name="connsiteY53" fmla="*/ 788537 h 1828800"/>
                  <a:gd name="connsiteX54" fmla="*/ 861865 w 2226365"/>
                  <a:gd name="connsiteY54" fmla="*/ 583725 h 1828800"/>
                  <a:gd name="connsiteX55" fmla="*/ 890225 w 2226365"/>
                  <a:gd name="connsiteY55" fmla="*/ 582996 h 1828800"/>
                  <a:gd name="connsiteX56" fmla="*/ 960462 w 2226365"/>
                  <a:gd name="connsiteY56" fmla="*/ 700212 h 1828800"/>
                  <a:gd name="connsiteX57" fmla="*/ 1206488 w 2226365"/>
                  <a:gd name="connsiteY57" fmla="*/ 1111692 h 1828800"/>
                  <a:gd name="connsiteX58" fmla="*/ 1307006 w 2226365"/>
                  <a:gd name="connsiteY58" fmla="*/ 1195247 h 1828800"/>
                  <a:gd name="connsiteX59" fmla="*/ 1490217 w 2226365"/>
                  <a:gd name="connsiteY59" fmla="*/ 1125010 h 1828800"/>
                  <a:gd name="connsiteX60" fmla="*/ 1621149 w 2226365"/>
                  <a:gd name="connsiteY60" fmla="*/ 908072 h 1828800"/>
                  <a:gd name="connsiteX61" fmla="*/ 1673694 w 2226365"/>
                  <a:gd name="connsiteY61" fmla="*/ 877592 h 1828800"/>
                  <a:gd name="connsiteX62" fmla="*/ 1745719 w 2226365"/>
                  <a:gd name="connsiteY62" fmla="*/ 878122 h 1828800"/>
                  <a:gd name="connsiteX63" fmla="*/ 1827883 w 2226365"/>
                  <a:gd name="connsiteY63" fmla="*/ 878056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226365" h="1828800">
                    <a:moveTo>
                      <a:pt x="1112332" y="1593740"/>
                    </a:moveTo>
                    <a:cubicBezTo>
                      <a:pt x="822506" y="1593740"/>
                      <a:pt x="532681" y="1593872"/>
                      <a:pt x="242790" y="1593673"/>
                    </a:cubicBezTo>
                    <a:cubicBezTo>
                      <a:pt x="103178" y="1593607"/>
                      <a:pt x="77" y="1490108"/>
                      <a:pt x="77" y="1350098"/>
                    </a:cubicBezTo>
                    <a:cubicBezTo>
                      <a:pt x="10" y="980760"/>
                      <a:pt x="-56" y="611422"/>
                      <a:pt x="77" y="242084"/>
                    </a:cubicBezTo>
                    <a:cubicBezTo>
                      <a:pt x="143" y="103930"/>
                      <a:pt x="103775" y="99"/>
                      <a:pt x="241796" y="99"/>
                    </a:cubicBezTo>
                    <a:cubicBezTo>
                      <a:pt x="823964" y="-33"/>
                      <a:pt x="1406132" y="-33"/>
                      <a:pt x="1988300" y="99"/>
                    </a:cubicBezTo>
                    <a:cubicBezTo>
                      <a:pt x="2126256" y="99"/>
                      <a:pt x="2229689" y="103930"/>
                      <a:pt x="2229755" y="242349"/>
                    </a:cubicBezTo>
                    <a:cubicBezTo>
                      <a:pt x="2229887" y="612549"/>
                      <a:pt x="2229887" y="982682"/>
                      <a:pt x="2229755" y="1352881"/>
                    </a:cubicBezTo>
                    <a:cubicBezTo>
                      <a:pt x="2229689" y="1489379"/>
                      <a:pt x="2125659" y="1593607"/>
                      <a:pt x="1989294" y="1593673"/>
                    </a:cubicBezTo>
                    <a:cubicBezTo>
                      <a:pt x="1696951" y="1593806"/>
                      <a:pt x="1404675" y="1593740"/>
                      <a:pt x="1112332" y="1593740"/>
                    </a:cubicBezTo>
                    <a:close/>
                    <a:moveTo>
                      <a:pt x="1115578" y="1431268"/>
                    </a:moveTo>
                    <a:cubicBezTo>
                      <a:pt x="1351600" y="1431268"/>
                      <a:pt x="1587621" y="1431268"/>
                      <a:pt x="1823642" y="1431268"/>
                    </a:cubicBezTo>
                    <a:cubicBezTo>
                      <a:pt x="1874133" y="1431268"/>
                      <a:pt x="1924690" y="1431665"/>
                      <a:pt x="1975181" y="1431135"/>
                    </a:cubicBezTo>
                    <a:cubicBezTo>
                      <a:pt x="2035279" y="1430539"/>
                      <a:pt x="2066356" y="1398866"/>
                      <a:pt x="2067349" y="1338436"/>
                    </a:cubicBezTo>
                    <a:cubicBezTo>
                      <a:pt x="2067416" y="1333467"/>
                      <a:pt x="2067416" y="1328497"/>
                      <a:pt x="2067416" y="1323528"/>
                    </a:cubicBezTo>
                    <a:cubicBezTo>
                      <a:pt x="2067416" y="972411"/>
                      <a:pt x="2067416" y="621229"/>
                      <a:pt x="2067416" y="270112"/>
                    </a:cubicBezTo>
                    <a:cubicBezTo>
                      <a:pt x="2067416" y="262691"/>
                      <a:pt x="2067615" y="255204"/>
                      <a:pt x="2067217" y="247783"/>
                    </a:cubicBezTo>
                    <a:cubicBezTo>
                      <a:pt x="2064500" y="195768"/>
                      <a:pt x="2034351" y="165486"/>
                      <a:pt x="1982602" y="162704"/>
                    </a:cubicBezTo>
                    <a:cubicBezTo>
                      <a:pt x="1976837" y="162372"/>
                      <a:pt x="1971006" y="162505"/>
                      <a:pt x="1965241" y="162505"/>
                    </a:cubicBezTo>
                    <a:cubicBezTo>
                      <a:pt x="1398777" y="162505"/>
                      <a:pt x="832313" y="162505"/>
                      <a:pt x="265849" y="162505"/>
                    </a:cubicBezTo>
                    <a:cubicBezTo>
                      <a:pt x="252597" y="162505"/>
                      <a:pt x="239543" y="162770"/>
                      <a:pt x="226357" y="165818"/>
                    </a:cubicBezTo>
                    <a:cubicBezTo>
                      <a:pt x="193028" y="173504"/>
                      <a:pt x="173150" y="193647"/>
                      <a:pt x="165662" y="226977"/>
                    </a:cubicBezTo>
                    <a:cubicBezTo>
                      <a:pt x="162482" y="240958"/>
                      <a:pt x="162548" y="254872"/>
                      <a:pt x="162548" y="268920"/>
                    </a:cubicBezTo>
                    <a:cubicBezTo>
                      <a:pt x="162482" y="537276"/>
                      <a:pt x="162548" y="805567"/>
                      <a:pt x="162548" y="1073923"/>
                    </a:cubicBezTo>
                    <a:cubicBezTo>
                      <a:pt x="162548" y="1161719"/>
                      <a:pt x="162614" y="1249514"/>
                      <a:pt x="162548" y="1337310"/>
                    </a:cubicBezTo>
                    <a:cubicBezTo>
                      <a:pt x="162482" y="1370639"/>
                      <a:pt x="171228" y="1399728"/>
                      <a:pt x="201178" y="1418413"/>
                    </a:cubicBezTo>
                    <a:cubicBezTo>
                      <a:pt x="220195" y="1430274"/>
                      <a:pt x="241730" y="1431334"/>
                      <a:pt x="263463" y="1431334"/>
                    </a:cubicBezTo>
                    <a:cubicBezTo>
                      <a:pt x="547458" y="1431268"/>
                      <a:pt x="831518" y="1431268"/>
                      <a:pt x="1115578" y="1431268"/>
                    </a:cubicBezTo>
                    <a:close/>
                    <a:moveTo>
                      <a:pt x="1348353" y="1832213"/>
                    </a:moveTo>
                    <a:cubicBezTo>
                      <a:pt x="1400831" y="1832080"/>
                      <a:pt x="1434624" y="1800010"/>
                      <a:pt x="1434624" y="1751043"/>
                    </a:cubicBezTo>
                    <a:cubicBezTo>
                      <a:pt x="1434624" y="1702142"/>
                      <a:pt x="1400699" y="1669940"/>
                      <a:pt x="1348220" y="1669940"/>
                    </a:cubicBezTo>
                    <a:cubicBezTo>
                      <a:pt x="1192640" y="1669807"/>
                      <a:pt x="1037059" y="1669807"/>
                      <a:pt x="881479" y="1669940"/>
                    </a:cubicBezTo>
                    <a:cubicBezTo>
                      <a:pt x="828801" y="1670006"/>
                      <a:pt x="795207" y="1701811"/>
                      <a:pt x="795207" y="1751109"/>
                    </a:cubicBezTo>
                    <a:cubicBezTo>
                      <a:pt x="795207" y="1800142"/>
                      <a:pt x="829066" y="1832146"/>
                      <a:pt x="881545" y="1832279"/>
                    </a:cubicBezTo>
                    <a:cubicBezTo>
                      <a:pt x="959335" y="1832477"/>
                      <a:pt x="1037125" y="1832345"/>
                      <a:pt x="1114916" y="1832345"/>
                    </a:cubicBezTo>
                    <a:cubicBezTo>
                      <a:pt x="1192772" y="1832279"/>
                      <a:pt x="1270562" y="1832411"/>
                      <a:pt x="1348353" y="1832213"/>
                    </a:cubicBezTo>
                    <a:close/>
                    <a:moveTo>
                      <a:pt x="1827883" y="878056"/>
                    </a:moveTo>
                    <a:cubicBezTo>
                      <a:pt x="1829539" y="878056"/>
                      <a:pt x="1831196" y="877990"/>
                      <a:pt x="1832852" y="878056"/>
                    </a:cubicBezTo>
                    <a:cubicBezTo>
                      <a:pt x="1850080" y="878586"/>
                      <a:pt x="1865386" y="873086"/>
                      <a:pt x="1879169" y="863015"/>
                    </a:cubicBezTo>
                    <a:cubicBezTo>
                      <a:pt x="1907661" y="842209"/>
                      <a:pt x="1919720" y="804440"/>
                      <a:pt x="1908920" y="769719"/>
                    </a:cubicBezTo>
                    <a:cubicBezTo>
                      <a:pt x="1898252" y="735198"/>
                      <a:pt x="1867175" y="712006"/>
                      <a:pt x="1827883" y="711542"/>
                    </a:cubicBezTo>
                    <a:cubicBezTo>
                      <a:pt x="1769904" y="710747"/>
                      <a:pt x="1711926" y="712006"/>
                      <a:pt x="1653948" y="711078"/>
                    </a:cubicBezTo>
                    <a:cubicBezTo>
                      <a:pt x="1580730" y="709952"/>
                      <a:pt x="1527257" y="741227"/>
                      <a:pt x="1490615" y="804308"/>
                    </a:cubicBezTo>
                    <a:cubicBezTo>
                      <a:pt x="1451521" y="871629"/>
                      <a:pt x="1411036" y="938088"/>
                      <a:pt x="1371080" y="1004879"/>
                    </a:cubicBezTo>
                    <a:cubicBezTo>
                      <a:pt x="1353587" y="1034100"/>
                      <a:pt x="1353389" y="1034100"/>
                      <a:pt x="1336161" y="1005409"/>
                    </a:cubicBezTo>
                    <a:cubicBezTo>
                      <a:pt x="1230806" y="830083"/>
                      <a:pt x="1126313" y="654227"/>
                      <a:pt x="1019831" y="479629"/>
                    </a:cubicBezTo>
                    <a:cubicBezTo>
                      <a:pt x="948601" y="362878"/>
                      <a:pt x="803092" y="364667"/>
                      <a:pt x="732193" y="481683"/>
                    </a:cubicBezTo>
                    <a:cubicBezTo>
                      <a:pt x="689720" y="551788"/>
                      <a:pt x="647180" y="621891"/>
                      <a:pt x="605767" y="692658"/>
                    </a:cubicBezTo>
                    <a:cubicBezTo>
                      <a:pt x="595762" y="709753"/>
                      <a:pt x="584630" y="717042"/>
                      <a:pt x="564420" y="716512"/>
                    </a:cubicBezTo>
                    <a:cubicBezTo>
                      <a:pt x="512273" y="715121"/>
                      <a:pt x="460059" y="715783"/>
                      <a:pt x="407912" y="716181"/>
                    </a:cubicBezTo>
                    <a:cubicBezTo>
                      <a:pt x="353910" y="716578"/>
                      <a:pt x="318460" y="749178"/>
                      <a:pt x="318062" y="797947"/>
                    </a:cubicBezTo>
                    <a:cubicBezTo>
                      <a:pt x="317665" y="848106"/>
                      <a:pt x="353446" y="882032"/>
                      <a:pt x="407912" y="882429"/>
                    </a:cubicBezTo>
                    <a:cubicBezTo>
                      <a:pt x="463373" y="882827"/>
                      <a:pt x="518899" y="881700"/>
                      <a:pt x="574360" y="882760"/>
                    </a:cubicBezTo>
                    <a:cubicBezTo>
                      <a:pt x="648572" y="884086"/>
                      <a:pt x="702574" y="852545"/>
                      <a:pt x="739680" y="788537"/>
                    </a:cubicBezTo>
                    <a:cubicBezTo>
                      <a:pt x="779503" y="719759"/>
                      <a:pt x="820982" y="651908"/>
                      <a:pt x="861865" y="583725"/>
                    </a:cubicBezTo>
                    <a:cubicBezTo>
                      <a:pt x="875515" y="560931"/>
                      <a:pt x="876907" y="560931"/>
                      <a:pt x="890225" y="582996"/>
                    </a:cubicBezTo>
                    <a:cubicBezTo>
                      <a:pt x="913814" y="621958"/>
                      <a:pt x="937071" y="661118"/>
                      <a:pt x="960462" y="700212"/>
                    </a:cubicBezTo>
                    <a:cubicBezTo>
                      <a:pt x="1042559" y="837372"/>
                      <a:pt x="1124789" y="974333"/>
                      <a:pt x="1206488" y="1111692"/>
                    </a:cubicBezTo>
                    <a:cubicBezTo>
                      <a:pt x="1230276" y="1151713"/>
                      <a:pt x="1261684" y="1181928"/>
                      <a:pt x="1307006" y="1195247"/>
                    </a:cubicBezTo>
                    <a:cubicBezTo>
                      <a:pt x="1377773" y="1216053"/>
                      <a:pt x="1449533" y="1189548"/>
                      <a:pt x="1490217" y="1125010"/>
                    </a:cubicBezTo>
                    <a:cubicBezTo>
                      <a:pt x="1535275" y="1053581"/>
                      <a:pt x="1578676" y="981092"/>
                      <a:pt x="1621149" y="908072"/>
                    </a:cubicBezTo>
                    <a:cubicBezTo>
                      <a:pt x="1633738" y="886405"/>
                      <a:pt x="1647256" y="874743"/>
                      <a:pt x="1673694" y="877592"/>
                    </a:cubicBezTo>
                    <a:cubicBezTo>
                      <a:pt x="1697415" y="880110"/>
                      <a:pt x="1721666" y="878122"/>
                      <a:pt x="1745719" y="878122"/>
                    </a:cubicBezTo>
                    <a:cubicBezTo>
                      <a:pt x="1773217" y="878056"/>
                      <a:pt x="1800583" y="878056"/>
                      <a:pt x="1827883" y="878056"/>
                    </a:cubicBezTo>
                    <a:close/>
                  </a:path>
                </a:pathLst>
              </a:custGeom>
              <a:solidFill>
                <a:schemeClr val="bg1"/>
              </a:solidFill>
              <a:ln w="6624"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B40087CA-8E27-4D48-8E5F-9889F71B4D90}"/>
                  </a:ext>
                </a:extLst>
              </p:cNvPr>
              <p:cNvSpPr/>
              <p:nvPr/>
            </p:nvSpPr>
            <p:spPr>
              <a:xfrm>
                <a:off x="9798306" y="2652191"/>
                <a:ext cx="518149" cy="456073"/>
              </a:xfrm>
              <a:custGeom>
                <a:avLst/>
                <a:gdLst>
                  <a:gd name="connsiteX0" fmla="*/ 2716126 w 2710069"/>
                  <a:gd name="connsiteY0" fmla="*/ 373712 h 2385391"/>
                  <a:gd name="connsiteX1" fmla="*/ 2716126 w 2710069"/>
                  <a:gd name="connsiteY1" fmla="*/ 2197211 h 2385391"/>
                  <a:gd name="connsiteX2" fmla="*/ 2707976 w 2710069"/>
                  <a:gd name="connsiteY2" fmla="*/ 2219541 h 2385391"/>
                  <a:gd name="connsiteX3" fmla="*/ 2475399 w 2710069"/>
                  <a:gd name="connsiteY3" fmla="*/ 2389898 h 2385391"/>
                  <a:gd name="connsiteX4" fmla="*/ 241679 w 2710069"/>
                  <a:gd name="connsiteY4" fmla="*/ 2389831 h 2385391"/>
                  <a:gd name="connsiteX5" fmla="*/ 159 w 2710069"/>
                  <a:gd name="connsiteY5" fmla="*/ 2148046 h 2385391"/>
                  <a:gd name="connsiteX6" fmla="*/ 92 w 2710069"/>
                  <a:gd name="connsiteY6" fmla="*/ 409824 h 2385391"/>
                  <a:gd name="connsiteX7" fmla="*/ 91135 w 2710069"/>
                  <a:gd name="connsiteY7" fmla="*/ 318583 h 2385391"/>
                  <a:gd name="connsiteX8" fmla="*/ 562780 w 2710069"/>
                  <a:gd name="connsiteY8" fmla="*/ 318517 h 2385391"/>
                  <a:gd name="connsiteX9" fmla="*/ 764146 w 2710069"/>
                  <a:gd name="connsiteY9" fmla="*/ 318517 h 2385391"/>
                  <a:gd name="connsiteX10" fmla="*/ 800458 w 2710069"/>
                  <a:gd name="connsiteY10" fmla="*/ 283531 h 2385391"/>
                  <a:gd name="connsiteX11" fmla="*/ 800656 w 2710069"/>
                  <a:gd name="connsiteY11" fmla="*/ 230522 h 2385391"/>
                  <a:gd name="connsiteX12" fmla="*/ 1030184 w 2710069"/>
                  <a:gd name="connsiteY12" fmla="*/ 928 h 2385391"/>
                  <a:gd name="connsiteX13" fmla="*/ 1687293 w 2710069"/>
                  <a:gd name="connsiteY13" fmla="*/ 1260 h 2385391"/>
                  <a:gd name="connsiteX14" fmla="*/ 1885214 w 2710069"/>
                  <a:gd name="connsiteY14" fmla="*/ 119270 h 2385391"/>
                  <a:gd name="connsiteX15" fmla="*/ 1917947 w 2710069"/>
                  <a:gd name="connsiteY15" fmla="*/ 280152 h 2385391"/>
                  <a:gd name="connsiteX16" fmla="*/ 1955915 w 2710069"/>
                  <a:gd name="connsiteY16" fmla="*/ 318517 h 2385391"/>
                  <a:gd name="connsiteX17" fmla="*/ 2623625 w 2710069"/>
                  <a:gd name="connsiteY17" fmla="*/ 317920 h 2385391"/>
                  <a:gd name="connsiteX18" fmla="*/ 2716126 w 2710069"/>
                  <a:gd name="connsiteY18" fmla="*/ 373712 h 2385391"/>
                  <a:gd name="connsiteX19" fmla="*/ 2555112 w 2710069"/>
                  <a:gd name="connsiteY19" fmla="*/ 918774 h 2385391"/>
                  <a:gd name="connsiteX20" fmla="*/ 2551533 w 2710069"/>
                  <a:gd name="connsiteY20" fmla="*/ 918641 h 2385391"/>
                  <a:gd name="connsiteX21" fmla="*/ 2547956 w 2710069"/>
                  <a:gd name="connsiteY21" fmla="*/ 928448 h 2385391"/>
                  <a:gd name="connsiteX22" fmla="*/ 2433589 w 2710069"/>
                  <a:gd name="connsiteY22" fmla="*/ 1269824 h 2385391"/>
                  <a:gd name="connsiteX23" fmla="*/ 2197701 w 2710069"/>
                  <a:gd name="connsiteY23" fmla="*/ 1435874 h 2385391"/>
                  <a:gd name="connsiteX24" fmla="*/ 1789599 w 2710069"/>
                  <a:gd name="connsiteY24" fmla="*/ 1435542 h 2385391"/>
                  <a:gd name="connsiteX25" fmla="*/ 1758391 w 2710069"/>
                  <a:gd name="connsiteY25" fmla="*/ 1465691 h 2385391"/>
                  <a:gd name="connsiteX26" fmla="*/ 1758523 w 2710069"/>
                  <a:gd name="connsiteY26" fmla="*/ 1513399 h 2385391"/>
                  <a:gd name="connsiteX27" fmla="*/ 1676293 w 2710069"/>
                  <a:gd name="connsiteY27" fmla="*/ 1594767 h 2385391"/>
                  <a:gd name="connsiteX28" fmla="*/ 1543772 w 2710069"/>
                  <a:gd name="connsiteY28" fmla="*/ 1594900 h 2385391"/>
                  <a:gd name="connsiteX29" fmla="*/ 1042906 w 2710069"/>
                  <a:gd name="connsiteY29" fmla="*/ 1594767 h 2385391"/>
                  <a:gd name="connsiteX30" fmla="*/ 959484 w 2710069"/>
                  <a:gd name="connsiteY30" fmla="*/ 1511941 h 2385391"/>
                  <a:gd name="connsiteX31" fmla="*/ 959417 w 2710069"/>
                  <a:gd name="connsiteY31" fmla="*/ 1477486 h 2385391"/>
                  <a:gd name="connsiteX32" fmla="*/ 919064 w 2710069"/>
                  <a:gd name="connsiteY32" fmla="*/ 1435940 h 2385391"/>
                  <a:gd name="connsiteX33" fmla="*/ 513614 w 2710069"/>
                  <a:gd name="connsiteY33" fmla="*/ 1435874 h 2385391"/>
                  <a:gd name="connsiteX34" fmla="*/ 290712 w 2710069"/>
                  <a:gd name="connsiteY34" fmla="*/ 1285727 h 2385391"/>
                  <a:gd name="connsiteX35" fmla="*/ 254335 w 2710069"/>
                  <a:gd name="connsiteY35" fmla="*/ 1180703 h 2385391"/>
                  <a:gd name="connsiteX36" fmla="*/ 166473 w 2710069"/>
                  <a:gd name="connsiteY36" fmla="*/ 917912 h 2385391"/>
                  <a:gd name="connsiteX37" fmla="*/ 162961 w 2710069"/>
                  <a:gd name="connsiteY37" fmla="*/ 918509 h 2385391"/>
                  <a:gd name="connsiteX38" fmla="*/ 162961 w 2710069"/>
                  <a:gd name="connsiteY38" fmla="*/ 938785 h 2385391"/>
                  <a:gd name="connsiteX39" fmla="*/ 163028 w 2710069"/>
                  <a:gd name="connsiteY39" fmla="*/ 2123264 h 2385391"/>
                  <a:gd name="connsiteX40" fmla="*/ 267919 w 2710069"/>
                  <a:gd name="connsiteY40" fmla="*/ 2226962 h 2385391"/>
                  <a:gd name="connsiteX41" fmla="*/ 2448829 w 2710069"/>
                  <a:gd name="connsiteY41" fmla="*/ 2226962 h 2385391"/>
                  <a:gd name="connsiteX42" fmla="*/ 2554913 w 2710069"/>
                  <a:gd name="connsiteY42" fmla="*/ 2121740 h 2385391"/>
                  <a:gd name="connsiteX43" fmla="*/ 2554913 w 2710069"/>
                  <a:gd name="connsiteY43" fmla="*/ 1583834 h 2385391"/>
                  <a:gd name="connsiteX44" fmla="*/ 2555112 w 2710069"/>
                  <a:gd name="connsiteY44" fmla="*/ 918774 h 2385391"/>
                  <a:gd name="connsiteX45" fmla="*/ 1361157 w 2710069"/>
                  <a:gd name="connsiteY45" fmla="*/ 481717 h 2385391"/>
                  <a:gd name="connsiteX46" fmla="*/ 232204 w 2710069"/>
                  <a:gd name="connsiteY46" fmla="*/ 481717 h 2385391"/>
                  <a:gd name="connsiteX47" fmla="*/ 207886 w 2710069"/>
                  <a:gd name="connsiteY47" fmla="*/ 516637 h 2385391"/>
                  <a:gd name="connsiteX48" fmla="*/ 433836 w 2710069"/>
                  <a:gd name="connsiteY48" fmla="*/ 1194750 h 2385391"/>
                  <a:gd name="connsiteX49" fmla="*/ 542835 w 2710069"/>
                  <a:gd name="connsiteY49" fmla="*/ 1272739 h 2385391"/>
                  <a:gd name="connsiteX50" fmla="*/ 887326 w 2710069"/>
                  <a:gd name="connsiteY50" fmla="*/ 1272739 h 2385391"/>
                  <a:gd name="connsiteX51" fmla="*/ 959550 w 2710069"/>
                  <a:gd name="connsiteY51" fmla="*/ 1202039 h 2385391"/>
                  <a:gd name="connsiteX52" fmla="*/ 1048339 w 2710069"/>
                  <a:gd name="connsiteY52" fmla="*/ 1113780 h 2385391"/>
                  <a:gd name="connsiteX53" fmla="*/ 1353139 w 2710069"/>
                  <a:gd name="connsiteY53" fmla="*/ 1113713 h 2385391"/>
                  <a:gd name="connsiteX54" fmla="*/ 1676492 w 2710069"/>
                  <a:gd name="connsiteY54" fmla="*/ 1113912 h 2385391"/>
                  <a:gd name="connsiteX55" fmla="*/ 1758656 w 2710069"/>
                  <a:gd name="connsiteY55" fmla="*/ 1195347 h 2385391"/>
                  <a:gd name="connsiteX56" fmla="*/ 1758789 w 2710069"/>
                  <a:gd name="connsiteY56" fmla="*/ 1235103 h 2385391"/>
                  <a:gd name="connsiteX57" fmla="*/ 1797750 w 2710069"/>
                  <a:gd name="connsiteY57" fmla="*/ 1272739 h 2385391"/>
                  <a:gd name="connsiteX58" fmla="*/ 2174045 w 2710069"/>
                  <a:gd name="connsiteY58" fmla="*/ 1272739 h 2385391"/>
                  <a:gd name="connsiteX59" fmla="*/ 2284833 w 2710069"/>
                  <a:gd name="connsiteY59" fmla="*/ 1193558 h 2385391"/>
                  <a:gd name="connsiteX60" fmla="*/ 2509988 w 2710069"/>
                  <a:gd name="connsiteY60" fmla="*/ 517962 h 2385391"/>
                  <a:gd name="connsiteX61" fmla="*/ 2484941 w 2710069"/>
                  <a:gd name="connsiteY61" fmla="*/ 481717 h 2385391"/>
                  <a:gd name="connsiteX62" fmla="*/ 1361157 w 2710069"/>
                  <a:gd name="connsiteY62" fmla="*/ 481717 h 2385391"/>
                  <a:gd name="connsiteX63" fmla="*/ 1359036 w 2710069"/>
                  <a:gd name="connsiteY63" fmla="*/ 318715 h 2385391"/>
                  <a:gd name="connsiteX64" fmla="*/ 1700744 w 2710069"/>
                  <a:gd name="connsiteY64" fmla="*/ 318715 h 2385391"/>
                  <a:gd name="connsiteX65" fmla="*/ 1754614 w 2710069"/>
                  <a:gd name="connsiteY65" fmla="*/ 264249 h 2385391"/>
                  <a:gd name="connsiteX66" fmla="*/ 1654560 w 2710069"/>
                  <a:gd name="connsiteY66" fmla="*/ 163797 h 2385391"/>
                  <a:gd name="connsiteX67" fmla="*/ 1063911 w 2710069"/>
                  <a:gd name="connsiteY67" fmla="*/ 163797 h 2385391"/>
                  <a:gd name="connsiteX68" fmla="*/ 963658 w 2710069"/>
                  <a:gd name="connsiteY68" fmla="*/ 264116 h 2385391"/>
                  <a:gd name="connsiteX69" fmla="*/ 963658 w 2710069"/>
                  <a:gd name="connsiteY69" fmla="*/ 282669 h 2385391"/>
                  <a:gd name="connsiteX70" fmla="*/ 998909 w 2710069"/>
                  <a:gd name="connsiteY70" fmla="*/ 318715 h 2385391"/>
                  <a:gd name="connsiteX71" fmla="*/ 1359036 w 2710069"/>
                  <a:gd name="connsiteY71" fmla="*/ 318715 h 2385391"/>
                  <a:gd name="connsiteX72" fmla="*/ 1359169 w 2710069"/>
                  <a:gd name="connsiteY72" fmla="*/ 1431832 h 2385391"/>
                  <a:gd name="connsiteX73" fmla="*/ 1565572 w 2710069"/>
                  <a:gd name="connsiteY73" fmla="*/ 1432097 h 2385391"/>
                  <a:gd name="connsiteX74" fmla="*/ 1595985 w 2710069"/>
                  <a:gd name="connsiteY74" fmla="*/ 1403870 h 2385391"/>
                  <a:gd name="connsiteX75" fmla="*/ 1595786 w 2710069"/>
                  <a:gd name="connsiteY75" fmla="*/ 1300701 h 2385391"/>
                  <a:gd name="connsiteX76" fmla="*/ 1572132 w 2710069"/>
                  <a:gd name="connsiteY76" fmla="*/ 1276781 h 2385391"/>
                  <a:gd name="connsiteX77" fmla="*/ 1146140 w 2710069"/>
                  <a:gd name="connsiteY77" fmla="*/ 1276781 h 2385391"/>
                  <a:gd name="connsiteX78" fmla="*/ 1122552 w 2710069"/>
                  <a:gd name="connsiteY78" fmla="*/ 1300834 h 2385391"/>
                  <a:gd name="connsiteX79" fmla="*/ 1122286 w 2710069"/>
                  <a:gd name="connsiteY79" fmla="*/ 1401352 h 2385391"/>
                  <a:gd name="connsiteX80" fmla="*/ 1152766 w 2710069"/>
                  <a:gd name="connsiteY80" fmla="*/ 1432229 h 2385391"/>
                  <a:gd name="connsiteX81" fmla="*/ 1359169 w 2710069"/>
                  <a:gd name="connsiteY81" fmla="*/ 1431832 h 238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710069" h="2385391">
                    <a:moveTo>
                      <a:pt x="2716126" y="373712"/>
                    </a:moveTo>
                    <a:cubicBezTo>
                      <a:pt x="2716126" y="981523"/>
                      <a:pt x="2716126" y="1589400"/>
                      <a:pt x="2716126" y="2197211"/>
                    </a:cubicBezTo>
                    <a:cubicBezTo>
                      <a:pt x="2713409" y="2204632"/>
                      <a:pt x="2710427" y="2212054"/>
                      <a:pt x="2707976" y="2219541"/>
                    </a:cubicBezTo>
                    <a:cubicBezTo>
                      <a:pt x="2673719" y="2325227"/>
                      <a:pt x="2586122" y="2389898"/>
                      <a:pt x="2475399" y="2389898"/>
                    </a:cubicBezTo>
                    <a:cubicBezTo>
                      <a:pt x="1730826" y="2390030"/>
                      <a:pt x="986253" y="2390097"/>
                      <a:pt x="241679" y="2389831"/>
                    </a:cubicBezTo>
                    <a:cubicBezTo>
                      <a:pt x="104586" y="2389765"/>
                      <a:pt x="225" y="2285272"/>
                      <a:pt x="159" y="2148046"/>
                    </a:cubicBezTo>
                    <a:cubicBezTo>
                      <a:pt x="-107" y="1568660"/>
                      <a:pt x="26" y="989275"/>
                      <a:pt x="92" y="409824"/>
                    </a:cubicBezTo>
                    <a:cubicBezTo>
                      <a:pt x="92" y="349195"/>
                      <a:pt x="30639" y="318649"/>
                      <a:pt x="91135" y="318583"/>
                    </a:cubicBezTo>
                    <a:cubicBezTo>
                      <a:pt x="248372" y="318450"/>
                      <a:pt x="405542" y="318517"/>
                      <a:pt x="562780" y="318517"/>
                    </a:cubicBezTo>
                    <a:cubicBezTo>
                      <a:pt x="629902" y="318517"/>
                      <a:pt x="697024" y="318583"/>
                      <a:pt x="764146" y="318517"/>
                    </a:cubicBezTo>
                    <a:cubicBezTo>
                      <a:pt x="799861" y="318450"/>
                      <a:pt x="800259" y="318053"/>
                      <a:pt x="800458" y="283531"/>
                    </a:cubicBezTo>
                    <a:cubicBezTo>
                      <a:pt x="800524" y="265839"/>
                      <a:pt x="800325" y="248214"/>
                      <a:pt x="800656" y="230522"/>
                    </a:cubicBezTo>
                    <a:cubicBezTo>
                      <a:pt x="802777" y="108801"/>
                      <a:pt x="908529" y="1525"/>
                      <a:pt x="1030184" y="928"/>
                    </a:cubicBezTo>
                    <a:cubicBezTo>
                      <a:pt x="1249243" y="-132"/>
                      <a:pt x="1468301" y="-596"/>
                      <a:pt x="1687293" y="1260"/>
                    </a:cubicBezTo>
                    <a:cubicBezTo>
                      <a:pt x="1774294" y="1988"/>
                      <a:pt x="1839494" y="45919"/>
                      <a:pt x="1885214" y="119270"/>
                    </a:cubicBezTo>
                    <a:cubicBezTo>
                      <a:pt x="1916092" y="168833"/>
                      <a:pt x="1919736" y="223764"/>
                      <a:pt x="1917947" y="280152"/>
                    </a:cubicBezTo>
                    <a:cubicBezTo>
                      <a:pt x="1916754" y="318450"/>
                      <a:pt x="1917815" y="318517"/>
                      <a:pt x="1955915" y="318517"/>
                    </a:cubicBezTo>
                    <a:cubicBezTo>
                      <a:pt x="2178485" y="318517"/>
                      <a:pt x="2401055" y="319245"/>
                      <a:pt x="2623625" y="317920"/>
                    </a:cubicBezTo>
                    <a:cubicBezTo>
                      <a:pt x="2668020" y="317854"/>
                      <a:pt x="2698633" y="333028"/>
                      <a:pt x="2716126" y="373712"/>
                    </a:cubicBezTo>
                    <a:close/>
                    <a:moveTo>
                      <a:pt x="2555112" y="918774"/>
                    </a:moveTo>
                    <a:cubicBezTo>
                      <a:pt x="2553919" y="918708"/>
                      <a:pt x="2552726" y="918708"/>
                      <a:pt x="2551533" y="918641"/>
                    </a:cubicBezTo>
                    <a:cubicBezTo>
                      <a:pt x="2550341" y="921888"/>
                      <a:pt x="2549082" y="925135"/>
                      <a:pt x="2547956" y="928448"/>
                    </a:cubicBezTo>
                    <a:cubicBezTo>
                      <a:pt x="2509922" y="1042284"/>
                      <a:pt x="2473213" y="1156518"/>
                      <a:pt x="2433589" y="1269824"/>
                    </a:cubicBezTo>
                    <a:cubicBezTo>
                      <a:pt x="2395953" y="1377432"/>
                      <a:pt x="2311139" y="1435741"/>
                      <a:pt x="2197701" y="1435874"/>
                    </a:cubicBezTo>
                    <a:cubicBezTo>
                      <a:pt x="2061667" y="1436006"/>
                      <a:pt x="1925633" y="1436271"/>
                      <a:pt x="1789599" y="1435542"/>
                    </a:cubicBezTo>
                    <a:cubicBezTo>
                      <a:pt x="1767203" y="1435410"/>
                      <a:pt x="1756469" y="1441970"/>
                      <a:pt x="1758391" y="1465691"/>
                    </a:cubicBezTo>
                    <a:cubicBezTo>
                      <a:pt x="1759716" y="1481461"/>
                      <a:pt x="1758854" y="1497496"/>
                      <a:pt x="1758523" y="1513399"/>
                    </a:cubicBezTo>
                    <a:cubicBezTo>
                      <a:pt x="1757529" y="1561769"/>
                      <a:pt x="1724995" y="1594171"/>
                      <a:pt x="1676293" y="1594767"/>
                    </a:cubicBezTo>
                    <a:cubicBezTo>
                      <a:pt x="1632164" y="1595297"/>
                      <a:pt x="1587968" y="1594900"/>
                      <a:pt x="1543772" y="1594900"/>
                    </a:cubicBezTo>
                    <a:cubicBezTo>
                      <a:pt x="1376795" y="1594900"/>
                      <a:pt x="1209883" y="1595099"/>
                      <a:pt x="1042906" y="1594767"/>
                    </a:cubicBezTo>
                    <a:cubicBezTo>
                      <a:pt x="992681" y="1594635"/>
                      <a:pt x="960345" y="1561968"/>
                      <a:pt x="959484" y="1511941"/>
                    </a:cubicBezTo>
                    <a:cubicBezTo>
                      <a:pt x="959285" y="1500478"/>
                      <a:pt x="959417" y="1488949"/>
                      <a:pt x="959417" y="1477486"/>
                    </a:cubicBezTo>
                    <a:cubicBezTo>
                      <a:pt x="959351" y="1435940"/>
                      <a:pt x="959351" y="1435940"/>
                      <a:pt x="919064" y="1435940"/>
                    </a:cubicBezTo>
                    <a:cubicBezTo>
                      <a:pt x="783893" y="1435940"/>
                      <a:pt x="648786" y="1436072"/>
                      <a:pt x="513614" y="1435874"/>
                    </a:cubicBezTo>
                    <a:cubicBezTo>
                      <a:pt x="412699" y="1435675"/>
                      <a:pt x="328547" y="1379486"/>
                      <a:pt x="290712" y="1285727"/>
                    </a:cubicBezTo>
                    <a:cubicBezTo>
                      <a:pt x="276864" y="1251403"/>
                      <a:pt x="266130" y="1215821"/>
                      <a:pt x="254335" y="1180703"/>
                    </a:cubicBezTo>
                    <a:cubicBezTo>
                      <a:pt x="224915" y="1093172"/>
                      <a:pt x="195761" y="1005509"/>
                      <a:pt x="166473" y="917912"/>
                    </a:cubicBezTo>
                    <a:cubicBezTo>
                      <a:pt x="165280" y="918111"/>
                      <a:pt x="164154" y="918310"/>
                      <a:pt x="162961" y="918509"/>
                    </a:cubicBezTo>
                    <a:cubicBezTo>
                      <a:pt x="162961" y="925267"/>
                      <a:pt x="162961" y="932026"/>
                      <a:pt x="162961" y="938785"/>
                    </a:cubicBezTo>
                    <a:cubicBezTo>
                      <a:pt x="162961" y="1333633"/>
                      <a:pt x="162895" y="1728482"/>
                      <a:pt x="163028" y="2123264"/>
                    </a:cubicBezTo>
                    <a:cubicBezTo>
                      <a:pt x="163028" y="2198271"/>
                      <a:pt x="192050" y="2226962"/>
                      <a:pt x="267919" y="2226962"/>
                    </a:cubicBezTo>
                    <a:cubicBezTo>
                      <a:pt x="994867" y="2227028"/>
                      <a:pt x="1721815" y="2227028"/>
                      <a:pt x="2448829" y="2226962"/>
                    </a:cubicBezTo>
                    <a:cubicBezTo>
                      <a:pt x="2526421" y="2226962"/>
                      <a:pt x="2554913" y="2198735"/>
                      <a:pt x="2554913" y="2121740"/>
                    </a:cubicBezTo>
                    <a:cubicBezTo>
                      <a:pt x="2554979" y="1942438"/>
                      <a:pt x="2554913" y="1763136"/>
                      <a:pt x="2554913" y="1583834"/>
                    </a:cubicBezTo>
                    <a:cubicBezTo>
                      <a:pt x="2555112" y="1362192"/>
                      <a:pt x="2555112" y="1140483"/>
                      <a:pt x="2555112" y="918774"/>
                    </a:cubicBezTo>
                    <a:close/>
                    <a:moveTo>
                      <a:pt x="1361157" y="481717"/>
                    </a:moveTo>
                    <a:cubicBezTo>
                      <a:pt x="984861" y="481717"/>
                      <a:pt x="608499" y="481717"/>
                      <a:pt x="232204" y="481717"/>
                    </a:cubicBezTo>
                    <a:cubicBezTo>
                      <a:pt x="196224" y="481717"/>
                      <a:pt x="196224" y="481783"/>
                      <a:pt x="207886" y="516637"/>
                    </a:cubicBezTo>
                    <a:cubicBezTo>
                      <a:pt x="283225" y="742652"/>
                      <a:pt x="358497" y="968734"/>
                      <a:pt x="433836" y="1194750"/>
                    </a:cubicBezTo>
                    <a:cubicBezTo>
                      <a:pt x="454377" y="1256373"/>
                      <a:pt x="477171" y="1272739"/>
                      <a:pt x="542835" y="1272739"/>
                    </a:cubicBezTo>
                    <a:cubicBezTo>
                      <a:pt x="657665" y="1272806"/>
                      <a:pt x="772495" y="1272739"/>
                      <a:pt x="887326" y="1272739"/>
                    </a:cubicBezTo>
                    <a:cubicBezTo>
                      <a:pt x="958953" y="1272739"/>
                      <a:pt x="958953" y="1272739"/>
                      <a:pt x="959550" y="1202039"/>
                    </a:cubicBezTo>
                    <a:cubicBezTo>
                      <a:pt x="960014" y="1145121"/>
                      <a:pt x="991156" y="1113912"/>
                      <a:pt x="1048339" y="1113780"/>
                    </a:cubicBezTo>
                    <a:cubicBezTo>
                      <a:pt x="1149918" y="1113581"/>
                      <a:pt x="1251495" y="1113713"/>
                      <a:pt x="1353139" y="1113713"/>
                    </a:cubicBezTo>
                    <a:cubicBezTo>
                      <a:pt x="1460946" y="1113713"/>
                      <a:pt x="1568686" y="1113448"/>
                      <a:pt x="1676492" y="1113912"/>
                    </a:cubicBezTo>
                    <a:cubicBezTo>
                      <a:pt x="1725194" y="1114111"/>
                      <a:pt x="1757596" y="1146910"/>
                      <a:pt x="1758656" y="1195347"/>
                    </a:cubicBezTo>
                    <a:cubicBezTo>
                      <a:pt x="1758921" y="1208599"/>
                      <a:pt x="1758722" y="1221851"/>
                      <a:pt x="1758789" y="1235103"/>
                    </a:cubicBezTo>
                    <a:cubicBezTo>
                      <a:pt x="1758921" y="1272673"/>
                      <a:pt x="1758921" y="1272739"/>
                      <a:pt x="1797750" y="1272739"/>
                    </a:cubicBezTo>
                    <a:cubicBezTo>
                      <a:pt x="1923182" y="1272739"/>
                      <a:pt x="2048614" y="1272806"/>
                      <a:pt x="2174045" y="1272739"/>
                    </a:cubicBezTo>
                    <a:cubicBezTo>
                      <a:pt x="2241632" y="1272673"/>
                      <a:pt x="2263763" y="1256770"/>
                      <a:pt x="2284833" y="1193558"/>
                    </a:cubicBezTo>
                    <a:cubicBezTo>
                      <a:pt x="2359907" y="968337"/>
                      <a:pt x="2434914" y="743116"/>
                      <a:pt x="2509988" y="517962"/>
                    </a:cubicBezTo>
                    <a:cubicBezTo>
                      <a:pt x="2522047" y="481717"/>
                      <a:pt x="2522114" y="481717"/>
                      <a:pt x="2484941" y="481717"/>
                    </a:cubicBezTo>
                    <a:cubicBezTo>
                      <a:pt x="2110302" y="481717"/>
                      <a:pt x="1735729" y="481717"/>
                      <a:pt x="1361157" y="481717"/>
                    </a:cubicBezTo>
                    <a:close/>
                    <a:moveTo>
                      <a:pt x="1359036" y="318715"/>
                    </a:moveTo>
                    <a:cubicBezTo>
                      <a:pt x="1472939" y="318715"/>
                      <a:pt x="1586841" y="318782"/>
                      <a:pt x="1700744" y="318715"/>
                    </a:cubicBezTo>
                    <a:cubicBezTo>
                      <a:pt x="1759518" y="318715"/>
                      <a:pt x="1754812" y="323817"/>
                      <a:pt x="1754614" y="264249"/>
                    </a:cubicBezTo>
                    <a:cubicBezTo>
                      <a:pt x="1754415" y="194277"/>
                      <a:pt x="1724266" y="163864"/>
                      <a:pt x="1654560" y="163797"/>
                    </a:cubicBezTo>
                    <a:cubicBezTo>
                      <a:pt x="1457699" y="163599"/>
                      <a:pt x="1260772" y="163599"/>
                      <a:pt x="1063911" y="163797"/>
                    </a:cubicBezTo>
                    <a:cubicBezTo>
                      <a:pt x="994138" y="163864"/>
                      <a:pt x="964055" y="194277"/>
                      <a:pt x="963658" y="264116"/>
                    </a:cubicBezTo>
                    <a:cubicBezTo>
                      <a:pt x="963592" y="270279"/>
                      <a:pt x="963658" y="276507"/>
                      <a:pt x="963658" y="282669"/>
                    </a:cubicBezTo>
                    <a:cubicBezTo>
                      <a:pt x="963790" y="318119"/>
                      <a:pt x="964254" y="318715"/>
                      <a:pt x="998909" y="318715"/>
                    </a:cubicBezTo>
                    <a:cubicBezTo>
                      <a:pt x="1118907" y="318715"/>
                      <a:pt x="1238972" y="318715"/>
                      <a:pt x="1359036" y="318715"/>
                    </a:cubicBezTo>
                    <a:close/>
                    <a:moveTo>
                      <a:pt x="1359169" y="1431832"/>
                    </a:moveTo>
                    <a:cubicBezTo>
                      <a:pt x="1427948" y="1431832"/>
                      <a:pt x="1496793" y="1431368"/>
                      <a:pt x="1565572" y="1432097"/>
                    </a:cubicBezTo>
                    <a:cubicBezTo>
                      <a:pt x="1586245" y="1432362"/>
                      <a:pt x="1596847" y="1426862"/>
                      <a:pt x="1595985" y="1403870"/>
                    </a:cubicBezTo>
                    <a:cubicBezTo>
                      <a:pt x="1594727" y="1369547"/>
                      <a:pt x="1595323" y="1335091"/>
                      <a:pt x="1595786" y="1300701"/>
                    </a:cubicBezTo>
                    <a:cubicBezTo>
                      <a:pt x="1595985" y="1284004"/>
                      <a:pt x="1589028" y="1276715"/>
                      <a:pt x="1572132" y="1276781"/>
                    </a:cubicBezTo>
                    <a:cubicBezTo>
                      <a:pt x="1430134" y="1277046"/>
                      <a:pt x="1288138" y="1277046"/>
                      <a:pt x="1146140" y="1276781"/>
                    </a:cubicBezTo>
                    <a:cubicBezTo>
                      <a:pt x="1129178" y="1276781"/>
                      <a:pt x="1122353" y="1284202"/>
                      <a:pt x="1122552" y="1300834"/>
                    </a:cubicBezTo>
                    <a:cubicBezTo>
                      <a:pt x="1123015" y="1334362"/>
                      <a:pt x="1123678" y="1367890"/>
                      <a:pt x="1122286" y="1401352"/>
                    </a:cubicBezTo>
                    <a:cubicBezTo>
                      <a:pt x="1121359" y="1424278"/>
                      <a:pt x="1129575" y="1432627"/>
                      <a:pt x="1152766" y="1432229"/>
                    </a:cubicBezTo>
                    <a:cubicBezTo>
                      <a:pt x="1221545" y="1431169"/>
                      <a:pt x="1290324" y="1431832"/>
                      <a:pt x="1359169" y="1431832"/>
                    </a:cubicBezTo>
                    <a:close/>
                  </a:path>
                </a:pathLst>
              </a:custGeom>
              <a:solidFill>
                <a:schemeClr val="bg1"/>
              </a:solidFill>
              <a:ln w="6624"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E0FA26BD-F154-4542-9E14-BDF1D5C0E073}"/>
                  </a:ext>
                </a:extLst>
              </p:cNvPr>
              <p:cNvSpPr/>
              <p:nvPr/>
            </p:nvSpPr>
            <p:spPr>
              <a:xfrm>
                <a:off x="4570804" y="2625747"/>
                <a:ext cx="519025" cy="508960"/>
              </a:xfrm>
              <a:custGeom>
                <a:avLst/>
                <a:gdLst>
                  <a:gd name="connsiteX0" fmla="*/ 2393683 w 2392017"/>
                  <a:gd name="connsiteY0" fmla="*/ 1287738 h 2345634"/>
                  <a:gd name="connsiteX1" fmla="*/ 2337627 w 2392017"/>
                  <a:gd name="connsiteY1" fmla="*/ 1592804 h 2345634"/>
                  <a:gd name="connsiteX2" fmla="*/ 2242277 w 2392017"/>
                  <a:gd name="connsiteY2" fmla="*/ 1733806 h 2345634"/>
                  <a:gd name="connsiteX3" fmla="*/ 1972463 w 2392017"/>
                  <a:gd name="connsiteY3" fmla="*/ 1811332 h 2345634"/>
                  <a:gd name="connsiteX4" fmla="*/ 1874065 w 2392017"/>
                  <a:gd name="connsiteY4" fmla="*/ 1799802 h 2345634"/>
                  <a:gd name="connsiteX5" fmla="*/ 1432304 w 2392017"/>
                  <a:gd name="connsiteY5" fmla="*/ 1799670 h 2345634"/>
                  <a:gd name="connsiteX6" fmla="*/ 1296204 w 2392017"/>
                  <a:gd name="connsiteY6" fmla="*/ 1808748 h 2345634"/>
                  <a:gd name="connsiteX7" fmla="*/ 1280036 w 2392017"/>
                  <a:gd name="connsiteY7" fmla="*/ 1828758 h 2345634"/>
                  <a:gd name="connsiteX8" fmla="*/ 1302830 w 2392017"/>
                  <a:gd name="connsiteY8" fmla="*/ 2015746 h 2345634"/>
                  <a:gd name="connsiteX9" fmla="*/ 1331389 w 2392017"/>
                  <a:gd name="connsiteY9" fmla="*/ 2257003 h 2345634"/>
                  <a:gd name="connsiteX10" fmla="*/ 1222787 w 2392017"/>
                  <a:gd name="connsiteY10" fmla="*/ 2342148 h 2345634"/>
                  <a:gd name="connsiteX11" fmla="*/ 976297 w 2392017"/>
                  <a:gd name="connsiteY11" fmla="*/ 2257466 h 2345634"/>
                  <a:gd name="connsiteX12" fmla="*/ 916927 w 2392017"/>
                  <a:gd name="connsiteY12" fmla="*/ 2205054 h 2345634"/>
                  <a:gd name="connsiteX13" fmla="*/ 776387 w 2392017"/>
                  <a:gd name="connsiteY13" fmla="*/ 1908934 h 2345634"/>
                  <a:gd name="connsiteX14" fmla="*/ 735306 w 2392017"/>
                  <a:gd name="connsiteY14" fmla="*/ 1886670 h 2345634"/>
                  <a:gd name="connsiteX15" fmla="*/ 482123 w 2392017"/>
                  <a:gd name="connsiteY15" fmla="*/ 1934643 h 2345634"/>
                  <a:gd name="connsiteX16" fmla="*/ 303616 w 2392017"/>
                  <a:gd name="connsiteY16" fmla="*/ 1890911 h 2345634"/>
                  <a:gd name="connsiteX17" fmla="*/ 98605 w 2392017"/>
                  <a:gd name="connsiteY17" fmla="*/ 1646475 h 2345634"/>
                  <a:gd name="connsiteX18" fmla="*/ 605 w 2392017"/>
                  <a:gd name="connsiteY18" fmla="*/ 1230688 h 2345634"/>
                  <a:gd name="connsiteX19" fmla="*/ 46524 w 2392017"/>
                  <a:gd name="connsiteY19" fmla="*/ 1054566 h 2345634"/>
                  <a:gd name="connsiteX20" fmla="*/ 156782 w 2392017"/>
                  <a:gd name="connsiteY20" fmla="*/ 955440 h 2345634"/>
                  <a:gd name="connsiteX21" fmla="*/ 994850 w 2392017"/>
                  <a:gd name="connsiteY21" fmla="*/ 462658 h 2345634"/>
                  <a:gd name="connsiteX22" fmla="*/ 1291698 w 2392017"/>
                  <a:gd name="connsiteY22" fmla="*/ 180718 h 2345634"/>
                  <a:gd name="connsiteX23" fmla="*/ 1308463 w 2392017"/>
                  <a:gd name="connsiteY23" fmla="*/ 159249 h 2345634"/>
                  <a:gd name="connsiteX24" fmla="*/ 1743863 w 2392017"/>
                  <a:gd name="connsiteY24" fmla="*/ 36468 h 2345634"/>
                  <a:gd name="connsiteX25" fmla="*/ 2046145 w 2392017"/>
                  <a:gd name="connsiteY25" fmla="*/ 292235 h 2345634"/>
                  <a:gd name="connsiteX26" fmla="*/ 2374335 w 2392017"/>
                  <a:gd name="connsiteY26" fmla="*/ 1055693 h 2345634"/>
                  <a:gd name="connsiteX27" fmla="*/ 2393683 w 2392017"/>
                  <a:gd name="connsiteY27" fmla="*/ 1287738 h 2345634"/>
                  <a:gd name="connsiteX28" fmla="*/ 1645730 w 2392017"/>
                  <a:gd name="connsiteY28" fmla="*/ 1637264 h 2345634"/>
                  <a:gd name="connsiteX29" fmla="*/ 1620551 w 2392017"/>
                  <a:gd name="connsiteY29" fmla="*/ 1607845 h 2345634"/>
                  <a:gd name="connsiteX30" fmla="*/ 1304420 w 2392017"/>
                  <a:gd name="connsiteY30" fmla="*/ 1064041 h 2345634"/>
                  <a:gd name="connsiteX31" fmla="*/ 1213179 w 2392017"/>
                  <a:gd name="connsiteY31" fmla="*/ 518450 h 2345634"/>
                  <a:gd name="connsiteX32" fmla="*/ 1209866 w 2392017"/>
                  <a:gd name="connsiteY32" fmla="*/ 497511 h 2345634"/>
                  <a:gd name="connsiteX33" fmla="*/ 1193897 w 2392017"/>
                  <a:gd name="connsiteY33" fmla="*/ 505794 h 2345634"/>
                  <a:gd name="connsiteX34" fmla="*/ 220326 w 2392017"/>
                  <a:gd name="connsiteY34" fmla="*/ 1106714 h 2345634"/>
                  <a:gd name="connsiteX35" fmla="*/ 182226 w 2392017"/>
                  <a:gd name="connsiteY35" fmla="*/ 1143157 h 2345634"/>
                  <a:gd name="connsiteX36" fmla="*/ 167251 w 2392017"/>
                  <a:gd name="connsiteY36" fmla="*/ 1195437 h 2345634"/>
                  <a:gd name="connsiteX37" fmla="*/ 218206 w 2392017"/>
                  <a:gd name="connsiteY37" fmla="*/ 1522103 h 2345634"/>
                  <a:gd name="connsiteX38" fmla="*/ 368751 w 2392017"/>
                  <a:gd name="connsiteY38" fmla="*/ 1738511 h 2345634"/>
                  <a:gd name="connsiteX39" fmla="*/ 473642 w 2392017"/>
                  <a:gd name="connsiteY39" fmla="*/ 1769919 h 2345634"/>
                  <a:gd name="connsiteX40" fmla="*/ 1143672 w 2392017"/>
                  <a:gd name="connsiteY40" fmla="*/ 1661052 h 2345634"/>
                  <a:gd name="connsiteX41" fmla="*/ 1569597 w 2392017"/>
                  <a:gd name="connsiteY41" fmla="*/ 1637331 h 2345634"/>
                  <a:gd name="connsiteX42" fmla="*/ 1645730 w 2392017"/>
                  <a:gd name="connsiteY42" fmla="*/ 1637264 h 2345634"/>
                  <a:gd name="connsiteX43" fmla="*/ 2223525 w 2392017"/>
                  <a:gd name="connsiteY43" fmla="*/ 1250632 h 2345634"/>
                  <a:gd name="connsiteX44" fmla="*/ 2209809 w 2392017"/>
                  <a:gd name="connsiteY44" fmla="*/ 1077691 h 2345634"/>
                  <a:gd name="connsiteX45" fmla="*/ 1983926 w 2392017"/>
                  <a:gd name="connsiteY45" fmla="*/ 493204 h 2345634"/>
                  <a:gd name="connsiteX46" fmla="*/ 1732267 w 2392017"/>
                  <a:gd name="connsiteY46" fmla="*/ 218818 h 2345634"/>
                  <a:gd name="connsiteX47" fmla="*/ 1664548 w 2392017"/>
                  <a:gd name="connsiteY47" fmla="*/ 182507 h 2345634"/>
                  <a:gd name="connsiteX48" fmla="*/ 1444695 w 2392017"/>
                  <a:gd name="connsiteY48" fmla="*/ 257050 h 2345634"/>
                  <a:gd name="connsiteX49" fmla="*/ 1380157 w 2392017"/>
                  <a:gd name="connsiteY49" fmla="*/ 502216 h 2345634"/>
                  <a:gd name="connsiteX50" fmla="*/ 1398511 w 2392017"/>
                  <a:gd name="connsiteY50" fmla="*/ 524943 h 2345634"/>
                  <a:gd name="connsiteX51" fmla="*/ 1602197 w 2392017"/>
                  <a:gd name="connsiteY51" fmla="*/ 637786 h 2345634"/>
                  <a:gd name="connsiteX52" fmla="*/ 1821322 w 2392017"/>
                  <a:gd name="connsiteY52" fmla="*/ 1230887 h 2345634"/>
                  <a:gd name="connsiteX53" fmla="*/ 1734653 w 2392017"/>
                  <a:gd name="connsiteY53" fmla="*/ 1455047 h 2345634"/>
                  <a:gd name="connsiteX54" fmla="*/ 1735381 w 2392017"/>
                  <a:gd name="connsiteY54" fmla="*/ 1479497 h 2345634"/>
                  <a:gd name="connsiteX55" fmla="*/ 1850476 w 2392017"/>
                  <a:gd name="connsiteY55" fmla="*/ 1585183 h 2345634"/>
                  <a:gd name="connsiteX56" fmla="*/ 1964313 w 2392017"/>
                  <a:gd name="connsiteY56" fmla="*/ 1644686 h 2345634"/>
                  <a:gd name="connsiteX57" fmla="*/ 2144145 w 2392017"/>
                  <a:gd name="connsiteY57" fmla="*/ 1585448 h 2345634"/>
                  <a:gd name="connsiteX58" fmla="*/ 2182709 w 2392017"/>
                  <a:gd name="connsiteY58" fmla="*/ 1516272 h 2345634"/>
                  <a:gd name="connsiteX59" fmla="*/ 2223525 w 2392017"/>
                  <a:gd name="connsiteY59" fmla="*/ 1250632 h 2345634"/>
                  <a:gd name="connsiteX60" fmla="*/ 1656001 w 2392017"/>
                  <a:gd name="connsiteY60" fmla="*/ 1198883 h 2345634"/>
                  <a:gd name="connsiteX61" fmla="*/ 1520829 w 2392017"/>
                  <a:gd name="connsiteY61" fmla="*/ 795818 h 2345634"/>
                  <a:gd name="connsiteX62" fmla="*/ 1415805 w 2392017"/>
                  <a:gd name="connsiteY62" fmla="*/ 699607 h 2345634"/>
                  <a:gd name="connsiteX63" fmla="*/ 1393276 w 2392017"/>
                  <a:gd name="connsiteY63" fmla="*/ 695035 h 2345634"/>
                  <a:gd name="connsiteX64" fmla="*/ 1390825 w 2392017"/>
                  <a:gd name="connsiteY64" fmla="*/ 716305 h 2345634"/>
                  <a:gd name="connsiteX65" fmla="*/ 1612533 w 2392017"/>
                  <a:gd name="connsiteY65" fmla="*/ 1321929 h 2345634"/>
                  <a:gd name="connsiteX66" fmla="*/ 1625786 w 2392017"/>
                  <a:gd name="connsiteY66" fmla="*/ 1334187 h 2345634"/>
                  <a:gd name="connsiteX67" fmla="*/ 1635394 w 2392017"/>
                  <a:gd name="connsiteY67" fmla="*/ 1320604 h 2345634"/>
                  <a:gd name="connsiteX68" fmla="*/ 1656001 w 2392017"/>
                  <a:gd name="connsiteY68" fmla="*/ 1198883 h 2345634"/>
                  <a:gd name="connsiteX69" fmla="*/ 1148509 w 2392017"/>
                  <a:gd name="connsiteY69" fmla="*/ 2115204 h 2345634"/>
                  <a:gd name="connsiteX70" fmla="*/ 1113722 w 2392017"/>
                  <a:gd name="connsiteY70" fmla="*/ 1842739 h 2345634"/>
                  <a:gd name="connsiteX71" fmla="*/ 1092054 w 2392017"/>
                  <a:gd name="connsiteY71" fmla="*/ 1829421 h 2345634"/>
                  <a:gd name="connsiteX72" fmla="*/ 954762 w 2392017"/>
                  <a:gd name="connsiteY72" fmla="*/ 1847974 h 2345634"/>
                  <a:gd name="connsiteX73" fmla="*/ 944359 w 2392017"/>
                  <a:gd name="connsiteY73" fmla="*/ 1867057 h 2345634"/>
                  <a:gd name="connsiteX74" fmla="*/ 1047130 w 2392017"/>
                  <a:gd name="connsiteY74" fmla="*/ 2092609 h 2345634"/>
                  <a:gd name="connsiteX75" fmla="*/ 1068333 w 2392017"/>
                  <a:gd name="connsiteY75" fmla="*/ 2111560 h 2345634"/>
                  <a:gd name="connsiteX76" fmla="*/ 1129890 w 2392017"/>
                  <a:gd name="connsiteY76" fmla="*/ 2130444 h 2345634"/>
                  <a:gd name="connsiteX77" fmla="*/ 1148509 w 2392017"/>
                  <a:gd name="connsiteY77" fmla="*/ 2115204 h 2345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392017" h="2345634">
                    <a:moveTo>
                      <a:pt x="2393683" y="1287738"/>
                    </a:moveTo>
                    <a:cubicBezTo>
                      <a:pt x="2396731" y="1391635"/>
                      <a:pt x="2379238" y="1494539"/>
                      <a:pt x="2337627" y="1592804"/>
                    </a:cubicBezTo>
                    <a:cubicBezTo>
                      <a:pt x="2315164" y="1645945"/>
                      <a:pt x="2284419" y="1693785"/>
                      <a:pt x="2242277" y="1733806"/>
                    </a:cubicBezTo>
                    <a:cubicBezTo>
                      <a:pt x="2165812" y="1806495"/>
                      <a:pt x="2075300" y="1831939"/>
                      <a:pt x="1972463" y="1811332"/>
                    </a:cubicBezTo>
                    <a:cubicBezTo>
                      <a:pt x="1939796" y="1804772"/>
                      <a:pt x="1906931" y="1801790"/>
                      <a:pt x="1874065" y="1799802"/>
                    </a:cubicBezTo>
                    <a:cubicBezTo>
                      <a:pt x="1726833" y="1791056"/>
                      <a:pt x="1579536" y="1793110"/>
                      <a:pt x="1432304" y="1799670"/>
                    </a:cubicBezTo>
                    <a:cubicBezTo>
                      <a:pt x="1386915" y="1801658"/>
                      <a:pt x="1341593" y="1806627"/>
                      <a:pt x="1296204" y="1808748"/>
                    </a:cubicBezTo>
                    <a:cubicBezTo>
                      <a:pt x="1280766" y="1809476"/>
                      <a:pt x="1278380" y="1815705"/>
                      <a:pt x="1280036" y="1828758"/>
                    </a:cubicBezTo>
                    <a:cubicBezTo>
                      <a:pt x="1287855" y="1891043"/>
                      <a:pt x="1295276" y="1953395"/>
                      <a:pt x="1302830" y="2015746"/>
                    </a:cubicBezTo>
                    <a:cubicBezTo>
                      <a:pt x="1312504" y="2096187"/>
                      <a:pt x="1323437" y="2176429"/>
                      <a:pt x="1331389" y="2257003"/>
                    </a:cubicBezTo>
                    <a:cubicBezTo>
                      <a:pt x="1337882" y="2322733"/>
                      <a:pt x="1284940" y="2363285"/>
                      <a:pt x="1222787" y="2342148"/>
                    </a:cubicBezTo>
                    <a:cubicBezTo>
                      <a:pt x="1140557" y="2314119"/>
                      <a:pt x="1058593" y="2285230"/>
                      <a:pt x="976297" y="2257466"/>
                    </a:cubicBezTo>
                    <a:cubicBezTo>
                      <a:pt x="948732" y="2248123"/>
                      <a:pt x="929384" y="2231426"/>
                      <a:pt x="916927" y="2205054"/>
                    </a:cubicBezTo>
                    <a:cubicBezTo>
                      <a:pt x="870279" y="2106259"/>
                      <a:pt x="822505" y="2007994"/>
                      <a:pt x="776387" y="1908934"/>
                    </a:cubicBezTo>
                    <a:cubicBezTo>
                      <a:pt x="767244" y="1889387"/>
                      <a:pt x="758497" y="1882496"/>
                      <a:pt x="735306" y="1886670"/>
                    </a:cubicBezTo>
                    <a:cubicBezTo>
                      <a:pt x="650757" y="1901712"/>
                      <a:pt x="565877" y="1914434"/>
                      <a:pt x="482123" y="1934643"/>
                    </a:cubicBezTo>
                    <a:cubicBezTo>
                      <a:pt x="417585" y="1950215"/>
                      <a:pt x="357818" y="1926162"/>
                      <a:pt x="303616" y="1890911"/>
                    </a:cubicBezTo>
                    <a:cubicBezTo>
                      <a:pt x="210586" y="1830349"/>
                      <a:pt x="147506" y="1744143"/>
                      <a:pt x="98605" y="1646475"/>
                    </a:cubicBezTo>
                    <a:cubicBezTo>
                      <a:pt x="33139" y="1515676"/>
                      <a:pt x="-5358" y="1378251"/>
                      <a:pt x="605" y="1230688"/>
                    </a:cubicBezTo>
                    <a:cubicBezTo>
                      <a:pt x="3123" y="1168866"/>
                      <a:pt x="16243" y="1109298"/>
                      <a:pt x="46524" y="1054566"/>
                    </a:cubicBezTo>
                    <a:cubicBezTo>
                      <a:pt x="71770" y="1008846"/>
                      <a:pt x="107352" y="974855"/>
                      <a:pt x="156782" y="955440"/>
                    </a:cubicBezTo>
                    <a:cubicBezTo>
                      <a:pt x="462179" y="835508"/>
                      <a:pt x="740077" y="668663"/>
                      <a:pt x="994850" y="462658"/>
                    </a:cubicBezTo>
                    <a:cubicBezTo>
                      <a:pt x="1101265" y="376585"/>
                      <a:pt x="1200656" y="282959"/>
                      <a:pt x="1291698" y="180718"/>
                    </a:cubicBezTo>
                    <a:cubicBezTo>
                      <a:pt x="1297728" y="173959"/>
                      <a:pt x="1303824" y="167002"/>
                      <a:pt x="1308463" y="159249"/>
                    </a:cubicBezTo>
                    <a:cubicBezTo>
                      <a:pt x="1402818" y="1085"/>
                      <a:pt x="1580066" y="-38075"/>
                      <a:pt x="1743863" y="36468"/>
                    </a:cubicBezTo>
                    <a:cubicBezTo>
                      <a:pt x="1868632" y="93254"/>
                      <a:pt x="1964644" y="185091"/>
                      <a:pt x="2046145" y="292235"/>
                    </a:cubicBezTo>
                    <a:cubicBezTo>
                      <a:pt x="2218688" y="519245"/>
                      <a:pt x="2325633" y="775144"/>
                      <a:pt x="2374335" y="1055693"/>
                    </a:cubicBezTo>
                    <a:cubicBezTo>
                      <a:pt x="2387388" y="1131429"/>
                      <a:pt x="2394942" y="1207960"/>
                      <a:pt x="2393683" y="1287738"/>
                    </a:cubicBezTo>
                    <a:close/>
                    <a:moveTo>
                      <a:pt x="1645730" y="1637264"/>
                    </a:moveTo>
                    <a:cubicBezTo>
                      <a:pt x="1634334" y="1623946"/>
                      <a:pt x="1627707" y="1615663"/>
                      <a:pt x="1620551" y="1607845"/>
                    </a:cubicBezTo>
                    <a:cubicBezTo>
                      <a:pt x="1476103" y="1449282"/>
                      <a:pt x="1374789" y="1265143"/>
                      <a:pt x="1304420" y="1064041"/>
                    </a:cubicBezTo>
                    <a:cubicBezTo>
                      <a:pt x="1242798" y="887854"/>
                      <a:pt x="1213577" y="705372"/>
                      <a:pt x="1213179" y="518450"/>
                    </a:cubicBezTo>
                    <a:cubicBezTo>
                      <a:pt x="1213179" y="511293"/>
                      <a:pt x="1216691" y="501951"/>
                      <a:pt x="1209866" y="497511"/>
                    </a:cubicBezTo>
                    <a:cubicBezTo>
                      <a:pt x="1202710" y="492873"/>
                      <a:pt x="1198469" y="501752"/>
                      <a:pt x="1193897" y="505794"/>
                    </a:cubicBezTo>
                    <a:cubicBezTo>
                      <a:pt x="903874" y="762025"/>
                      <a:pt x="579328" y="962398"/>
                      <a:pt x="220326" y="1106714"/>
                    </a:cubicBezTo>
                    <a:cubicBezTo>
                      <a:pt x="201906" y="1114135"/>
                      <a:pt x="189847" y="1125730"/>
                      <a:pt x="182226" y="1143157"/>
                    </a:cubicBezTo>
                    <a:cubicBezTo>
                      <a:pt x="174871" y="1159921"/>
                      <a:pt x="169769" y="1177282"/>
                      <a:pt x="167251" y="1195437"/>
                    </a:cubicBezTo>
                    <a:cubicBezTo>
                      <a:pt x="151283" y="1309472"/>
                      <a:pt x="172685" y="1418007"/>
                      <a:pt x="218206" y="1522103"/>
                    </a:cubicBezTo>
                    <a:cubicBezTo>
                      <a:pt x="253921" y="1603935"/>
                      <a:pt x="300105" y="1679208"/>
                      <a:pt x="368751" y="1738511"/>
                    </a:cubicBezTo>
                    <a:cubicBezTo>
                      <a:pt x="399098" y="1764750"/>
                      <a:pt x="432626" y="1779659"/>
                      <a:pt x="473642" y="1769919"/>
                    </a:cubicBezTo>
                    <a:cubicBezTo>
                      <a:pt x="694357" y="1717374"/>
                      <a:pt x="917921" y="1682918"/>
                      <a:pt x="1143672" y="1661052"/>
                    </a:cubicBezTo>
                    <a:cubicBezTo>
                      <a:pt x="1285404" y="1647336"/>
                      <a:pt x="1427268" y="1638656"/>
                      <a:pt x="1569597" y="1637331"/>
                    </a:cubicBezTo>
                    <a:cubicBezTo>
                      <a:pt x="1592589" y="1637066"/>
                      <a:pt x="1615648" y="1637264"/>
                      <a:pt x="1645730" y="1637264"/>
                    </a:cubicBezTo>
                    <a:close/>
                    <a:moveTo>
                      <a:pt x="2223525" y="1250632"/>
                    </a:moveTo>
                    <a:cubicBezTo>
                      <a:pt x="2224188" y="1192521"/>
                      <a:pt x="2219881" y="1134808"/>
                      <a:pt x="2209809" y="1077691"/>
                    </a:cubicBezTo>
                    <a:cubicBezTo>
                      <a:pt x="2172902" y="868108"/>
                      <a:pt x="2096039" y="673500"/>
                      <a:pt x="1983926" y="493204"/>
                    </a:cubicBezTo>
                    <a:cubicBezTo>
                      <a:pt x="1917466" y="386259"/>
                      <a:pt x="1838152" y="290115"/>
                      <a:pt x="1732267" y="218818"/>
                    </a:cubicBezTo>
                    <a:cubicBezTo>
                      <a:pt x="1710931" y="204439"/>
                      <a:pt x="1688535" y="192115"/>
                      <a:pt x="1664548" y="182507"/>
                    </a:cubicBezTo>
                    <a:cubicBezTo>
                      <a:pt x="1569928" y="144540"/>
                      <a:pt x="1496842" y="169188"/>
                      <a:pt x="1444695" y="257050"/>
                    </a:cubicBezTo>
                    <a:cubicBezTo>
                      <a:pt x="1399836" y="332588"/>
                      <a:pt x="1391753" y="417932"/>
                      <a:pt x="1380157" y="502216"/>
                    </a:cubicBezTo>
                    <a:cubicBezTo>
                      <a:pt x="1378301" y="515733"/>
                      <a:pt x="1382873" y="523154"/>
                      <a:pt x="1398511" y="524943"/>
                    </a:cubicBezTo>
                    <a:cubicBezTo>
                      <a:pt x="1481735" y="534485"/>
                      <a:pt x="1548990" y="575368"/>
                      <a:pt x="1602197" y="637786"/>
                    </a:cubicBezTo>
                    <a:cubicBezTo>
                      <a:pt x="1747639" y="808407"/>
                      <a:pt x="1829935" y="1003678"/>
                      <a:pt x="1821322" y="1230887"/>
                    </a:cubicBezTo>
                    <a:cubicBezTo>
                      <a:pt x="1818141" y="1314176"/>
                      <a:pt x="1795414" y="1392828"/>
                      <a:pt x="1734653" y="1455047"/>
                    </a:cubicBezTo>
                    <a:cubicBezTo>
                      <a:pt x="1725177" y="1464788"/>
                      <a:pt x="1726900" y="1470685"/>
                      <a:pt x="1735381" y="1479497"/>
                    </a:cubicBezTo>
                    <a:cubicBezTo>
                      <a:pt x="1771560" y="1517200"/>
                      <a:pt x="1808202" y="1554240"/>
                      <a:pt x="1850476" y="1585183"/>
                    </a:cubicBezTo>
                    <a:cubicBezTo>
                      <a:pt x="1885462" y="1610760"/>
                      <a:pt x="1922369" y="1632494"/>
                      <a:pt x="1964313" y="1644686"/>
                    </a:cubicBezTo>
                    <a:cubicBezTo>
                      <a:pt x="2038260" y="1666220"/>
                      <a:pt x="2097365" y="1646674"/>
                      <a:pt x="2144145" y="1585448"/>
                    </a:cubicBezTo>
                    <a:cubicBezTo>
                      <a:pt x="2160379" y="1564245"/>
                      <a:pt x="2172902" y="1541054"/>
                      <a:pt x="2182709" y="1516272"/>
                    </a:cubicBezTo>
                    <a:cubicBezTo>
                      <a:pt x="2216502" y="1430862"/>
                      <a:pt x="2222730" y="1341145"/>
                      <a:pt x="2223525" y="1250632"/>
                    </a:cubicBezTo>
                    <a:close/>
                    <a:moveTo>
                      <a:pt x="1656001" y="1198883"/>
                    </a:moveTo>
                    <a:cubicBezTo>
                      <a:pt x="1648050" y="1052181"/>
                      <a:pt x="1607034" y="916545"/>
                      <a:pt x="1520829" y="795818"/>
                    </a:cubicBezTo>
                    <a:cubicBezTo>
                      <a:pt x="1492535" y="756127"/>
                      <a:pt x="1459405" y="722202"/>
                      <a:pt x="1415805" y="699607"/>
                    </a:cubicBezTo>
                    <a:cubicBezTo>
                      <a:pt x="1408914" y="696029"/>
                      <a:pt x="1401162" y="688475"/>
                      <a:pt x="1393276" y="695035"/>
                    </a:cubicBezTo>
                    <a:cubicBezTo>
                      <a:pt x="1387048" y="700137"/>
                      <a:pt x="1389831" y="709148"/>
                      <a:pt x="1390825" y="716305"/>
                    </a:cubicBezTo>
                    <a:cubicBezTo>
                      <a:pt x="1421437" y="934038"/>
                      <a:pt x="1496776" y="1135405"/>
                      <a:pt x="1612533" y="1321929"/>
                    </a:cubicBezTo>
                    <a:cubicBezTo>
                      <a:pt x="1615714" y="1327031"/>
                      <a:pt x="1617172" y="1335976"/>
                      <a:pt x="1625786" y="1334187"/>
                    </a:cubicBezTo>
                    <a:cubicBezTo>
                      <a:pt x="1631882" y="1332928"/>
                      <a:pt x="1633273" y="1325772"/>
                      <a:pt x="1635394" y="1320604"/>
                    </a:cubicBezTo>
                    <a:cubicBezTo>
                      <a:pt x="1651628" y="1281709"/>
                      <a:pt x="1656001" y="1240826"/>
                      <a:pt x="1656001" y="1198883"/>
                    </a:cubicBezTo>
                    <a:close/>
                    <a:moveTo>
                      <a:pt x="1148509" y="2115204"/>
                    </a:moveTo>
                    <a:cubicBezTo>
                      <a:pt x="1136847" y="2024361"/>
                      <a:pt x="1125119" y="1933583"/>
                      <a:pt x="1113722" y="1842739"/>
                    </a:cubicBezTo>
                    <a:cubicBezTo>
                      <a:pt x="1111933" y="1828295"/>
                      <a:pt x="1102126" y="1828096"/>
                      <a:pt x="1092054" y="1829421"/>
                    </a:cubicBezTo>
                    <a:cubicBezTo>
                      <a:pt x="1046268" y="1835451"/>
                      <a:pt x="1000614" y="1842408"/>
                      <a:pt x="954762" y="1847974"/>
                    </a:cubicBezTo>
                    <a:cubicBezTo>
                      <a:pt x="940185" y="1849763"/>
                      <a:pt x="938727" y="1854865"/>
                      <a:pt x="944359" y="1867057"/>
                    </a:cubicBezTo>
                    <a:cubicBezTo>
                      <a:pt x="978881" y="1942131"/>
                      <a:pt x="1013005" y="2017337"/>
                      <a:pt x="1047130" y="2092609"/>
                    </a:cubicBezTo>
                    <a:cubicBezTo>
                      <a:pt x="1051503" y="2102283"/>
                      <a:pt x="1057864" y="2108578"/>
                      <a:pt x="1068333" y="2111560"/>
                    </a:cubicBezTo>
                    <a:cubicBezTo>
                      <a:pt x="1089007" y="2117391"/>
                      <a:pt x="1109614" y="2123420"/>
                      <a:pt x="1129890" y="2130444"/>
                    </a:cubicBezTo>
                    <a:cubicBezTo>
                      <a:pt x="1145527" y="2135877"/>
                      <a:pt x="1149370" y="2129119"/>
                      <a:pt x="1148509" y="2115204"/>
                    </a:cubicBezTo>
                    <a:close/>
                  </a:path>
                </a:pathLst>
              </a:custGeom>
              <a:solidFill>
                <a:schemeClr val="bg1"/>
              </a:solidFill>
              <a:ln w="6624"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0F9CFC0E-76E7-4407-BB08-228C51FEC982}"/>
                  </a:ext>
                </a:extLst>
              </p:cNvPr>
              <p:cNvSpPr/>
              <p:nvPr/>
            </p:nvSpPr>
            <p:spPr>
              <a:xfrm>
                <a:off x="7100416" y="2636428"/>
                <a:ext cx="487600" cy="487598"/>
              </a:xfrm>
              <a:custGeom>
                <a:avLst/>
                <a:gdLst>
                  <a:gd name="connsiteX0" fmla="*/ 1550438 w 3392556"/>
                  <a:gd name="connsiteY0" fmla="*/ 0 h 3392556"/>
                  <a:gd name="connsiteX1" fmla="*/ 1841986 w 3392556"/>
                  <a:gd name="connsiteY1" fmla="*/ 0 h 3392556"/>
                  <a:gd name="connsiteX2" fmla="*/ 1851395 w 3392556"/>
                  <a:gd name="connsiteY2" fmla="*/ 3048 h 3392556"/>
                  <a:gd name="connsiteX3" fmla="*/ 2557338 w 3392556"/>
                  <a:gd name="connsiteY3" fmla="*/ 230257 h 3392556"/>
                  <a:gd name="connsiteX4" fmla="*/ 2600540 w 3392556"/>
                  <a:gd name="connsiteY4" fmla="*/ 223763 h 3392556"/>
                  <a:gd name="connsiteX5" fmla="*/ 2741278 w 3392556"/>
                  <a:gd name="connsiteY5" fmla="*/ 83422 h 3392556"/>
                  <a:gd name="connsiteX6" fmla="*/ 2850874 w 3392556"/>
                  <a:gd name="connsiteY6" fmla="*/ 58111 h 3392556"/>
                  <a:gd name="connsiteX7" fmla="*/ 2918393 w 3392556"/>
                  <a:gd name="connsiteY7" fmla="*/ 147828 h 3392556"/>
                  <a:gd name="connsiteX8" fmla="*/ 2942645 w 3392556"/>
                  <a:gd name="connsiteY8" fmla="*/ 414528 h 3392556"/>
                  <a:gd name="connsiteX9" fmla="*/ 2979089 w 3392556"/>
                  <a:gd name="connsiteY9" fmla="*/ 449977 h 3392556"/>
                  <a:gd name="connsiteX10" fmla="*/ 3239229 w 3392556"/>
                  <a:gd name="connsiteY10" fmla="*/ 472970 h 3392556"/>
                  <a:gd name="connsiteX11" fmla="*/ 3335704 w 3392556"/>
                  <a:gd name="connsiteY11" fmla="*/ 545791 h 3392556"/>
                  <a:gd name="connsiteX12" fmla="*/ 3301845 w 3392556"/>
                  <a:gd name="connsiteY12" fmla="*/ 659428 h 3392556"/>
                  <a:gd name="connsiteX13" fmla="*/ 3172703 w 3392556"/>
                  <a:gd name="connsiteY13" fmla="*/ 787908 h 3392556"/>
                  <a:gd name="connsiteX14" fmla="*/ 3166010 w 3392556"/>
                  <a:gd name="connsiteY14" fmla="*/ 841844 h 3392556"/>
                  <a:gd name="connsiteX15" fmla="*/ 3388912 w 3392556"/>
                  <a:gd name="connsiteY15" fmla="*/ 1852853 h 3392556"/>
                  <a:gd name="connsiteX16" fmla="*/ 3208749 w 3392556"/>
                  <a:gd name="connsiteY16" fmla="*/ 2474910 h 3392556"/>
                  <a:gd name="connsiteX17" fmla="*/ 1348011 w 3392556"/>
                  <a:gd name="connsiteY17" fmla="*/ 3358366 h 3392556"/>
                  <a:gd name="connsiteX18" fmla="*/ 63544 w 3392556"/>
                  <a:gd name="connsiteY18" fmla="*/ 2172826 h 3392556"/>
                  <a:gd name="connsiteX19" fmla="*/ 0 w 3392556"/>
                  <a:gd name="connsiteY19" fmla="*/ 1842119 h 3392556"/>
                  <a:gd name="connsiteX20" fmla="*/ 0 w 3392556"/>
                  <a:gd name="connsiteY20" fmla="*/ 1550571 h 3392556"/>
                  <a:gd name="connsiteX21" fmla="*/ 24317 w 3392556"/>
                  <a:gd name="connsiteY21" fmla="*/ 1387437 h 3392556"/>
                  <a:gd name="connsiteX22" fmla="*/ 1213766 w 3392556"/>
                  <a:gd name="connsiteY22" fmla="*/ 65068 h 3392556"/>
                  <a:gd name="connsiteX23" fmla="*/ 1550438 w 3392556"/>
                  <a:gd name="connsiteY23" fmla="*/ 0 h 3392556"/>
                  <a:gd name="connsiteX24" fmla="*/ 560766 w 3392556"/>
                  <a:gd name="connsiteY24" fmla="*/ 1689851 h 3392556"/>
                  <a:gd name="connsiteX25" fmla="*/ 569645 w 3392556"/>
                  <a:gd name="connsiteY25" fmla="*/ 1536722 h 3392556"/>
                  <a:gd name="connsiteX26" fmla="*/ 954952 w 3392556"/>
                  <a:gd name="connsiteY26" fmla="*/ 835417 h 3392556"/>
                  <a:gd name="connsiteX27" fmla="*/ 1870279 w 3392556"/>
                  <a:gd name="connsiteY27" fmla="*/ 572825 h 3392556"/>
                  <a:gd name="connsiteX28" fmla="*/ 2273211 w 3392556"/>
                  <a:gd name="connsiteY28" fmla="*/ 716214 h 3392556"/>
                  <a:gd name="connsiteX29" fmla="*/ 2299518 w 3392556"/>
                  <a:gd name="connsiteY29" fmla="*/ 723701 h 3392556"/>
                  <a:gd name="connsiteX30" fmla="*/ 2301174 w 3392556"/>
                  <a:gd name="connsiteY30" fmla="*/ 701769 h 3392556"/>
                  <a:gd name="connsiteX31" fmla="*/ 2290970 w 3392556"/>
                  <a:gd name="connsiteY31" fmla="*/ 596481 h 3392556"/>
                  <a:gd name="connsiteX32" fmla="*/ 2328871 w 3392556"/>
                  <a:gd name="connsiteY32" fmla="*/ 494836 h 3392556"/>
                  <a:gd name="connsiteX33" fmla="*/ 2396921 w 3392556"/>
                  <a:gd name="connsiteY33" fmla="*/ 426985 h 3392556"/>
                  <a:gd name="connsiteX34" fmla="*/ 2387247 w 3392556"/>
                  <a:gd name="connsiteY34" fmla="*/ 372784 h 3392556"/>
                  <a:gd name="connsiteX35" fmla="*/ 1528374 w 3392556"/>
                  <a:gd name="connsiteY35" fmla="*/ 213559 h 3392556"/>
                  <a:gd name="connsiteX36" fmla="*/ 789034 w 3392556"/>
                  <a:gd name="connsiteY36" fmla="*/ 511733 h 3392556"/>
                  <a:gd name="connsiteX37" fmla="*/ 206336 w 3392556"/>
                  <a:gd name="connsiteY37" fmla="*/ 1770027 h 3392556"/>
                  <a:gd name="connsiteX38" fmla="*/ 270344 w 3392556"/>
                  <a:gd name="connsiteY38" fmla="*/ 2140491 h 3392556"/>
                  <a:gd name="connsiteX39" fmla="*/ 1912885 w 3392556"/>
                  <a:gd name="connsiteY39" fmla="*/ 3172438 h 3392556"/>
                  <a:gd name="connsiteX40" fmla="*/ 2910376 w 3392556"/>
                  <a:gd name="connsiteY40" fmla="*/ 2563169 h 3392556"/>
                  <a:gd name="connsiteX41" fmla="*/ 3172173 w 3392556"/>
                  <a:gd name="connsiteY41" fmla="*/ 1474702 h 3392556"/>
                  <a:gd name="connsiteX42" fmla="*/ 3013544 w 3392556"/>
                  <a:gd name="connsiteY42" fmla="*/ 993052 h 3392556"/>
                  <a:gd name="connsiteX43" fmla="*/ 2976637 w 3392556"/>
                  <a:gd name="connsiteY43" fmla="*/ 983974 h 3392556"/>
                  <a:gd name="connsiteX44" fmla="*/ 2894938 w 3392556"/>
                  <a:gd name="connsiteY44" fmla="*/ 1066270 h 3392556"/>
                  <a:gd name="connsiteX45" fmla="*/ 2802239 w 3392556"/>
                  <a:gd name="connsiteY45" fmla="*/ 1101720 h 3392556"/>
                  <a:gd name="connsiteX46" fmla="*/ 2700064 w 3392556"/>
                  <a:gd name="connsiteY46" fmla="*/ 1093172 h 3392556"/>
                  <a:gd name="connsiteX47" fmla="*/ 2668856 w 3392556"/>
                  <a:gd name="connsiteY47" fmla="*/ 1093503 h 3392556"/>
                  <a:gd name="connsiteX48" fmla="*/ 2679921 w 3392556"/>
                  <a:gd name="connsiteY48" fmla="*/ 1125374 h 3392556"/>
                  <a:gd name="connsiteX49" fmla="*/ 2818671 w 3392556"/>
                  <a:gd name="connsiteY49" fmla="*/ 1875183 h 3392556"/>
                  <a:gd name="connsiteX50" fmla="*/ 1463570 w 3392556"/>
                  <a:gd name="connsiteY50" fmla="*/ 2809461 h 3392556"/>
                  <a:gd name="connsiteX51" fmla="*/ 560766 w 3392556"/>
                  <a:gd name="connsiteY51" fmla="*/ 1689851 h 3392556"/>
                  <a:gd name="connsiteX52" fmla="*/ 1157180 w 3392556"/>
                  <a:gd name="connsiteY52" fmla="*/ 1690845 h 3392556"/>
                  <a:gd name="connsiteX53" fmla="*/ 1167848 w 3392556"/>
                  <a:gd name="connsiteY53" fmla="*/ 1580123 h 3392556"/>
                  <a:gd name="connsiteX54" fmla="*/ 1966954 w 3392556"/>
                  <a:gd name="connsiteY54" fmla="*/ 1229139 h 3392556"/>
                  <a:gd name="connsiteX55" fmla="*/ 2026323 w 3392556"/>
                  <a:gd name="connsiteY55" fmla="*/ 1220724 h 3392556"/>
                  <a:gd name="connsiteX56" fmla="*/ 2251412 w 3392556"/>
                  <a:gd name="connsiteY56" fmla="*/ 996033 h 3392556"/>
                  <a:gd name="connsiteX57" fmla="*/ 2246443 w 3392556"/>
                  <a:gd name="connsiteY57" fmla="*/ 946868 h 3392556"/>
                  <a:gd name="connsiteX58" fmla="*/ 1541095 w 3392556"/>
                  <a:gd name="connsiteY58" fmla="*/ 780222 h 3392556"/>
                  <a:gd name="connsiteX59" fmla="*/ 778499 w 3392556"/>
                  <a:gd name="connsiteY59" fmla="*/ 1848214 h 3392556"/>
                  <a:gd name="connsiteX60" fmla="*/ 1970333 w 3392556"/>
                  <a:gd name="connsiteY60" fmla="*/ 2584836 h 3392556"/>
                  <a:gd name="connsiteX61" fmla="*/ 2623334 w 3392556"/>
                  <a:gd name="connsiteY61" fmla="*/ 1640023 h 3392556"/>
                  <a:gd name="connsiteX62" fmla="*/ 2441249 w 3392556"/>
                  <a:gd name="connsiteY62" fmla="*/ 1140349 h 3392556"/>
                  <a:gd name="connsiteX63" fmla="*/ 2400963 w 3392556"/>
                  <a:gd name="connsiteY63" fmla="*/ 1137169 h 3392556"/>
                  <a:gd name="connsiteX64" fmla="*/ 2171369 w 3392556"/>
                  <a:gd name="connsiteY64" fmla="*/ 1366697 h 3392556"/>
                  <a:gd name="connsiteX65" fmla="*/ 2163881 w 3392556"/>
                  <a:gd name="connsiteY65" fmla="*/ 1426199 h 3392556"/>
                  <a:gd name="connsiteX66" fmla="*/ 2233919 w 3392556"/>
                  <a:gd name="connsiteY66" fmla="*/ 1757371 h 3392556"/>
                  <a:gd name="connsiteX67" fmla="*/ 1633794 w 3392556"/>
                  <a:gd name="connsiteY67" fmla="*/ 2233919 h 3392556"/>
                  <a:gd name="connsiteX68" fmla="*/ 1157180 w 3392556"/>
                  <a:gd name="connsiteY68" fmla="*/ 1690845 h 3392556"/>
                  <a:gd name="connsiteX69" fmla="*/ 1362257 w 3392556"/>
                  <a:gd name="connsiteY69" fmla="*/ 1696013 h 3392556"/>
                  <a:gd name="connsiteX70" fmla="*/ 1728216 w 3392556"/>
                  <a:gd name="connsiteY70" fmla="*/ 2026986 h 3392556"/>
                  <a:gd name="connsiteX71" fmla="*/ 2007704 w 3392556"/>
                  <a:gd name="connsiteY71" fmla="*/ 1578201 h 3392556"/>
                  <a:gd name="connsiteX72" fmla="*/ 1969140 w 3392556"/>
                  <a:gd name="connsiteY72" fmla="*/ 1569654 h 3392556"/>
                  <a:gd name="connsiteX73" fmla="*/ 1774864 w 3392556"/>
                  <a:gd name="connsiteY73" fmla="*/ 1763798 h 3392556"/>
                  <a:gd name="connsiteX74" fmla="*/ 1663015 w 3392556"/>
                  <a:gd name="connsiteY74" fmla="*/ 1792887 h 3392556"/>
                  <a:gd name="connsiteX75" fmla="*/ 1625909 w 3392556"/>
                  <a:gd name="connsiteY75" fmla="*/ 1620873 h 3392556"/>
                  <a:gd name="connsiteX76" fmla="*/ 1819789 w 3392556"/>
                  <a:gd name="connsiteY76" fmla="*/ 1426332 h 3392556"/>
                  <a:gd name="connsiteX77" fmla="*/ 1808988 w 3392556"/>
                  <a:gd name="connsiteY77" fmla="*/ 1382732 h 3392556"/>
                  <a:gd name="connsiteX78" fmla="*/ 1662816 w 3392556"/>
                  <a:gd name="connsiteY78" fmla="*/ 1365305 h 3392556"/>
                  <a:gd name="connsiteX79" fmla="*/ 1362257 w 3392556"/>
                  <a:gd name="connsiteY79" fmla="*/ 1696013 h 3392556"/>
                  <a:gd name="connsiteX80" fmla="*/ 2726900 w 3392556"/>
                  <a:gd name="connsiteY80" fmla="*/ 886239 h 3392556"/>
                  <a:gd name="connsiteX81" fmla="*/ 2789715 w 3392556"/>
                  <a:gd name="connsiteY81" fmla="*/ 877426 h 3392556"/>
                  <a:gd name="connsiteX82" fmla="*/ 2983595 w 3392556"/>
                  <a:gd name="connsiteY82" fmla="*/ 683149 h 3392556"/>
                  <a:gd name="connsiteX83" fmla="*/ 2991877 w 3392556"/>
                  <a:gd name="connsiteY83" fmla="*/ 663801 h 3392556"/>
                  <a:gd name="connsiteX84" fmla="*/ 2973920 w 3392556"/>
                  <a:gd name="connsiteY84" fmla="*/ 658302 h 3392556"/>
                  <a:gd name="connsiteX85" fmla="*/ 2832719 w 3392556"/>
                  <a:gd name="connsiteY85" fmla="*/ 644586 h 3392556"/>
                  <a:gd name="connsiteX86" fmla="*/ 2747971 w 3392556"/>
                  <a:gd name="connsiteY86" fmla="*/ 559971 h 3392556"/>
                  <a:gd name="connsiteX87" fmla="*/ 2734321 w 3392556"/>
                  <a:gd name="connsiteY87" fmla="*/ 422082 h 3392556"/>
                  <a:gd name="connsiteX88" fmla="*/ 2728821 w 3392556"/>
                  <a:gd name="connsiteY88" fmla="*/ 400878 h 3392556"/>
                  <a:gd name="connsiteX89" fmla="*/ 2707220 w 3392556"/>
                  <a:gd name="connsiteY89" fmla="*/ 411281 h 3392556"/>
                  <a:gd name="connsiteX90" fmla="*/ 2517648 w 3392556"/>
                  <a:gd name="connsiteY90" fmla="*/ 600522 h 3392556"/>
                  <a:gd name="connsiteX91" fmla="*/ 2503800 w 3392556"/>
                  <a:gd name="connsiteY91" fmla="*/ 635574 h 3392556"/>
                  <a:gd name="connsiteX92" fmla="*/ 2520497 w 3392556"/>
                  <a:gd name="connsiteY92" fmla="*/ 842905 h 3392556"/>
                  <a:gd name="connsiteX93" fmla="*/ 2549254 w 3392556"/>
                  <a:gd name="connsiteY93" fmla="*/ 872126 h 3392556"/>
                  <a:gd name="connsiteX94" fmla="*/ 2726900 w 3392556"/>
                  <a:gd name="connsiteY94" fmla="*/ 886239 h 3392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392556" h="3392556">
                    <a:moveTo>
                      <a:pt x="1550438" y="0"/>
                    </a:moveTo>
                    <a:cubicBezTo>
                      <a:pt x="1647643" y="0"/>
                      <a:pt x="1744781" y="0"/>
                      <a:pt x="1841986" y="0"/>
                    </a:cubicBezTo>
                    <a:cubicBezTo>
                      <a:pt x="1845100" y="1060"/>
                      <a:pt x="1848214" y="2717"/>
                      <a:pt x="1851395" y="3048"/>
                    </a:cubicBezTo>
                    <a:cubicBezTo>
                      <a:pt x="2103783" y="25709"/>
                      <a:pt x="2339075" y="101710"/>
                      <a:pt x="2557338" y="230257"/>
                    </a:cubicBezTo>
                    <a:cubicBezTo>
                      <a:pt x="2575030" y="240660"/>
                      <a:pt x="2586758" y="237877"/>
                      <a:pt x="2600540" y="223763"/>
                    </a:cubicBezTo>
                    <a:cubicBezTo>
                      <a:pt x="2646790" y="176386"/>
                      <a:pt x="2693504" y="129341"/>
                      <a:pt x="2741278" y="83422"/>
                    </a:cubicBezTo>
                    <a:cubicBezTo>
                      <a:pt x="2772090" y="53804"/>
                      <a:pt x="2808997" y="42009"/>
                      <a:pt x="2850874" y="58111"/>
                    </a:cubicBezTo>
                    <a:cubicBezTo>
                      <a:pt x="2891691" y="73815"/>
                      <a:pt x="2914418" y="103698"/>
                      <a:pt x="2918393" y="147828"/>
                    </a:cubicBezTo>
                    <a:cubicBezTo>
                      <a:pt x="2926412" y="236750"/>
                      <a:pt x="2935754" y="325540"/>
                      <a:pt x="2942645" y="414528"/>
                    </a:cubicBezTo>
                    <a:cubicBezTo>
                      <a:pt x="2944633" y="439840"/>
                      <a:pt x="2954639" y="448122"/>
                      <a:pt x="2979089" y="449977"/>
                    </a:cubicBezTo>
                    <a:cubicBezTo>
                      <a:pt x="3065890" y="456538"/>
                      <a:pt x="3152494" y="465218"/>
                      <a:pt x="3239229" y="472970"/>
                    </a:cubicBezTo>
                    <a:cubicBezTo>
                      <a:pt x="3286606" y="477211"/>
                      <a:pt x="3320200" y="499607"/>
                      <a:pt x="3335704" y="545791"/>
                    </a:cubicBezTo>
                    <a:cubicBezTo>
                      <a:pt x="3351077" y="591577"/>
                      <a:pt x="3333253" y="627689"/>
                      <a:pt x="3301845" y="659428"/>
                    </a:cubicBezTo>
                    <a:cubicBezTo>
                      <a:pt x="3259107" y="702564"/>
                      <a:pt x="3216833" y="746230"/>
                      <a:pt x="3172703" y="787908"/>
                    </a:cubicBezTo>
                    <a:cubicBezTo>
                      <a:pt x="3153819" y="805732"/>
                      <a:pt x="3153289" y="819779"/>
                      <a:pt x="3166010" y="841844"/>
                    </a:cubicBezTo>
                    <a:cubicBezTo>
                      <a:pt x="3347168" y="1155192"/>
                      <a:pt x="3420055" y="1492393"/>
                      <a:pt x="3388912" y="1852853"/>
                    </a:cubicBezTo>
                    <a:cubicBezTo>
                      <a:pt x="3369961" y="2072309"/>
                      <a:pt x="3310658" y="2280169"/>
                      <a:pt x="3208749" y="2474910"/>
                    </a:cubicBezTo>
                    <a:cubicBezTo>
                      <a:pt x="2849747" y="3160776"/>
                      <a:pt x="2103982" y="3523621"/>
                      <a:pt x="1348011" y="3358366"/>
                    </a:cubicBezTo>
                    <a:cubicBezTo>
                      <a:pt x="695209" y="3215640"/>
                      <a:pt x="269549" y="2808467"/>
                      <a:pt x="63544" y="2172826"/>
                    </a:cubicBezTo>
                    <a:cubicBezTo>
                      <a:pt x="28757" y="2065418"/>
                      <a:pt x="13517" y="1953834"/>
                      <a:pt x="0" y="1842119"/>
                    </a:cubicBezTo>
                    <a:cubicBezTo>
                      <a:pt x="0" y="1744914"/>
                      <a:pt x="0" y="1647775"/>
                      <a:pt x="0" y="1550571"/>
                    </a:cubicBezTo>
                    <a:cubicBezTo>
                      <a:pt x="7951" y="1496170"/>
                      <a:pt x="12854" y="1441108"/>
                      <a:pt x="24317" y="1387437"/>
                    </a:cubicBezTo>
                    <a:cubicBezTo>
                      <a:pt x="167309" y="718930"/>
                      <a:pt x="566265" y="279687"/>
                      <a:pt x="1213766" y="65068"/>
                    </a:cubicBezTo>
                    <a:cubicBezTo>
                      <a:pt x="1322832" y="28890"/>
                      <a:pt x="1436668" y="13517"/>
                      <a:pt x="1550438" y="0"/>
                    </a:cubicBezTo>
                    <a:close/>
                    <a:moveTo>
                      <a:pt x="560766" y="1689851"/>
                    </a:moveTo>
                    <a:cubicBezTo>
                      <a:pt x="558381" y="1644264"/>
                      <a:pt x="561428" y="1590261"/>
                      <a:pt x="569645" y="1536722"/>
                    </a:cubicBezTo>
                    <a:cubicBezTo>
                      <a:pt x="612979" y="1256306"/>
                      <a:pt x="738875" y="1019821"/>
                      <a:pt x="954952" y="835417"/>
                    </a:cubicBezTo>
                    <a:cubicBezTo>
                      <a:pt x="1219333" y="609799"/>
                      <a:pt x="1526518" y="524918"/>
                      <a:pt x="1870279" y="572825"/>
                    </a:cubicBezTo>
                    <a:cubicBezTo>
                      <a:pt x="2014264" y="592902"/>
                      <a:pt x="2147780" y="643327"/>
                      <a:pt x="2273211" y="716214"/>
                    </a:cubicBezTo>
                    <a:cubicBezTo>
                      <a:pt x="2281163" y="720852"/>
                      <a:pt x="2289247" y="731255"/>
                      <a:pt x="2299518" y="723701"/>
                    </a:cubicBezTo>
                    <a:cubicBezTo>
                      <a:pt x="2306408" y="718599"/>
                      <a:pt x="2301903" y="709323"/>
                      <a:pt x="2301174" y="701769"/>
                    </a:cubicBezTo>
                    <a:cubicBezTo>
                      <a:pt x="2297662" y="666651"/>
                      <a:pt x="2294349" y="631599"/>
                      <a:pt x="2290970" y="596481"/>
                    </a:cubicBezTo>
                    <a:cubicBezTo>
                      <a:pt x="2287192" y="556459"/>
                      <a:pt x="2299981" y="522798"/>
                      <a:pt x="2328871" y="494836"/>
                    </a:cubicBezTo>
                    <a:cubicBezTo>
                      <a:pt x="2351863" y="472573"/>
                      <a:pt x="2374259" y="449646"/>
                      <a:pt x="2396921" y="426985"/>
                    </a:cubicBezTo>
                    <a:cubicBezTo>
                      <a:pt x="2429322" y="394650"/>
                      <a:pt x="2429322" y="394716"/>
                      <a:pt x="2387247" y="372784"/>
                    </a:cubicBezTo>
                    <a:cubicBezTo>
                      <a:pt x="2117168" y="232311"/>
                      <a:pt x="1830589" y="180694"/>
                      <a:pt x="1528374" y="213559"/>
                    </a:cubicBezTo>
                    <a:cubicBezTo>
                      <a:pt x="1253854" y="243376"/>
                      <a:pt x="1004913" y="340382"/>
                      <a:pt x="789034" y="511733"/>
                    </a:cubicBezTo>
                    <a:cubicBezTo>
                      <a:pt x="384909" y="832568"/>
                      <a:pt x="188446" y="1252198"/>
                      <a:pt x="206336" y="1770027"/>
                    </a:cubicBezTo>
                    <a:cubicBezTo>
                      <a:pt x="210709" y="1896651"/>
                      <a:pt x="232774" y="2020029"/>
                      <a:pt x="270344" y="2140491"/>
                    </a:cubicBezTo>
                    <a:cubicBezTo>
                      <a:pt x="481584" y="2817545"/>
                      <a:pt x="1157643" y="3283293"/>
                      <a:pt x="1912885" y="3172438"/>
                    </a:cubicBezTo>
                    <a:cubicBezTo>
                      <a:pt x="2330925" y="3111081"/>
                      <a:pt x="2664283" y="2904479"/>
                      <a:pt x="2910376" y="2563169"/>
                    </a:cubicBezTo>
                    <a:cubicBezTo>
                      <a:pt x="3145139" y="2237563"/>
                      <a:pt x="3227235" y="1871671"/>
                      <a:pt x="3172173" y="1474702"/>
                    </a:cubicBezTo>
                    <a:cubicBezTo>
                      <a:pt x="3148584" y="1304610"/>
                      <a:pt x="3093918" y="1144590"/>
                      <a:pt x="3013544" y="993052"/>
                    </a:cubicBezTo>
                    <a:cubicBezTo>
                      <a:pt x="3003937" y="974896"/>
                      <a:pt x="2996781" y="961975"/>
                      <a:pt x="2976637" y="983974"/>
                    </a:cubicBezTo>
                    <a:cubicBezTo>
                      <a:pt x="2950596" y="1012466"/>
                      <a:pt x="2922171" y="1038838"/>
                      <a:pt x="2894938" y="1066270"/>
                    </a:cubicBezTo>
                    <a:cubicBezTo>
                      <a:pt x="2869295" y="1092045"/>
                      <a:pt x="2838550" y="1104370"/>
                      <a:pt x="2802239" y="1101720"/>
                    </a:cubicBezTo>
                    <a:cubicBezTo>
                      <a:pt x="2768181" y="1099202"/>
                      <a:pt x="2734122" y="1096021"/>
                      <a:pt x="2700064" y="1093172"/>
                    </a:cubicBezTo>
                    <a:cubicBezTo>
                      <a:pt x="2689396" y="1092244"/>
                      <a:pt x="2675879" y="1083630"/>
                      <a:pt x="2668856" y="1093503"/>
                    </a:cubicBezTo>
                    <a:cubicBezTo>
                      <a:pt x="2660440" y="1105364"/>
                      <a:pt x="2674289" y="1115568"/>
                      <a:pt x="2679921" y="1125374"/>
                    </a:cubicBezTo>
                    <a:cubicBezTo>
                      <a:pt x="2813900" y="1359143"/>
                      <a:pt x="2860548" y="1609543"/>
                      <a:pt x="2818671" y="1875183"/>
                    </a:cubicBezTo>
                    <a:cubicBezTo>
                      <a:pt x="2717690" y="2515925"/>
                      <a:pt x="2098681" y="2942977"/>
                      <a:pt x="1463570" y="2809461"/>
                    </a:cubicBezTo>
                    <a:cubicBezTo>
                      <a:pt x="916123" y="2694366"/>
                      <a:pt x="553742" y="2207150"/>
                      <a:pt x="560766" y="1689851"/>
                    </a:cubicBezTo>
                    <a:close/>
                    <a:moveTo>
                      <a:pt x="1157180" y="1690845"/>
                    </a:moveTo>
                    <a:cubicBezTo>
                      <a:pt x="1154927" y="1656257"/>
                      <a:pt x="1159234" y="1617958"/>
                      <a:pt x="1167848" y="1580123"/>
                    </a:cubicBezTo>
                    <a:cubicBezTo>
                      <a:pt x="1249348" y="1221254"/>
                      <a:pt x="1647643" y="1045795"/>
                      <a:pt x="1966954" y="1229139"/>
                    </a:cubicBezTo>
                    <a:cubicBezTo>
                      <a:pt x="1992331" y="1243717"/>
                      <a:pt x="2006909" y="1240602"/>
                      <a:pt x="2026323" y="1220724"/>
                    </a:cubicBezTo>
                    <a:cubicBezTo>
                      <a:pt x="2100337" y="1144789"/>
                      <a:pt x="2174947" y="1069517"/>
                      <a:pt x="2251412" y="996033"/>
                    </a:cubicBezTo>
                    <a:cubicBezTo>
                      <a:pt x="2274868" y="973505"/>
                      <a:pt x="2269634" y="963499"/>
                      <a:pt x="2246443" y="946868"/>
                    </a:cubicBezTo>
                    <a:cubicBezTo>
                      <a:pt x="2034076" y="794335"/>
                      <a:pt x="1797723" y="736092"/>
                      <a:pt x="1541095" y="780222"/>
                    </a:cubicBezTo>
                    <a:cubicBezTo>
                      <a:pt x="1032941" y="867686"/>
                      <a:pt x="696402" y="1342511"/>
                      <a:pt x="778499" y="1848214"/>
                    </a:cubicBezTo>
                    <a:cubicBezTo>
                      <a:pt x="868216" y="2400963"/>
                      <a:pt x="1434017" y="2750157"/>
                      <a:pt x="1970333" y="2584836"/>
                    </a:cubicBezTo>
                    <a:cubicBezTo>
                      <a:pt x="2361140" y="2464374"/>
                      <a:pt x="2651959" y="2082645"/>
                      <a:pt x="2623334" y="1640023"/>
                    </a:cubicBezTo>
                    <a:cubicBezTo>
                      <a:pt x="2611341" y="1454890"/>
                      <a:pt x="2549983" y="1289503"/>
                      <a:pt x="2441249" y="1140349"/>
                    </a:cubicBezTo>
                    <a:cubicBezTo>
                      <a:pt x="2427334" y="1121200"/>
                      <a:pt x="2418124" y="1119610"/>
                      <a:pt x="2400963" y="1137169"/>
                    </a:cubicBezTo>
                    <a:cubicBezTo>
                      <a:pt x="2325226" y="1214495"/>
                      <a:pt x="2248894" y="1291226"/>
                      <a:pt x="2171369" y="1366697"/>
                    </a:cubicBezTo>
                    <a:cubicBezTo>
                      <a:pt x="2150960" y="1386575"/>
                      <a:pt x="2149105" y="1401616"/>
                      <a:pt x="2163881" y="1426199"/>
                    </a:cubicBezTo>
                    <a:cubicBezTo>
                      <a:pt x="2225438" y="1528108"/>
                      <a:pt x="2245912" y="1640288"/>
                      <a:pt x="2233919" y="1757371"/>
                    </a:cubicBezTo>
                    <a:cubicBezTo>
                      <a:pt x="2203770" y="2051702"/>
                      <a:pt x="1929119" y="2269965"/>
                      <a:pt x="1633794" y="2233919"/>
                    </a:cubicBezTo>
                    <a:cubicBezTo>
                      <a:pt x="1330320" y="2196879"/>
                      <a:pt x="1147572" y="1933823"/>
                      <a:pt x="1157180" y="1690845"/>
                    </a:cubicBezTo>
                    <a:close/>
                    <a:moveTo>
                      <a:pt x="1362257" y="1696013"/>
                    </a:moveTo>
                    <a:cubicBezTo>
                      <a:pt x="1367227" y="1909970"/>
                      <a:pt x="1547721" y="2046069"/>
                      <a:pt x="1728216" y="2026986"/>
                    </a:cubicBezTo>
                    <a:cubicBezTo>
                      <a:pt x="1947605" y="2003861"/>
                      <a:pt x="2086356" y="1782484"/>
                      <a:pt x="2007704" y="1578201"/>
                    </a:cubicBezTo>
                    <a:cubicBezTo>
                      <a:pt x="1995578" y="1546661"/>
                      <a:pt x="1992928" y="1545999"/>
                      <a:pt x="1969140" y="1569654"/>
                    </a:cubicBezTo>
                    <a:cubicBezTo>
                      <a:pt x="1904271" y="1634258"/>
                      <a:pt x="1839468" y="1698929"/>
                      <a:pt x="1774864" y="1763798"/>
                    </a:cubicBezTo>
                    <a:cubicBezTo>
                      <a:pt x="1743124" y="1795670"/>
                      <a:pt x="1705621" y="1806934"/>
                      <a:pt x="1663015" y="1792887"/>
                    </a:cubicBezTo>
                    <a:cubicBezTo>
                      <a:pt x="1589665" y="1768768"/>
                      <a:pt x="1569852" y="1678719"/>
                      <a:pt x="1625909" y="1620873"/>
                    </a:cubicBezTo>
                    <a:cubicBezTo>
                      <a:pt x="1689586" y="1555076"/>
                      <a:pt x="1755118" y="1491135"/>
                      <a:pt x="1819789" y="1426332"/>
                    </a:cubicBezTo>
                    <a:cubicBezTo>
                      <a:pt x="1847287" y="1398833"/>
                      <a:pt x="1846757" y="1395387"/>
                      <a:pt x="1808988" y="1382732"/>
                    </a:cubicBezTo>
                    <a:cubicBezTo>
                      <a:pt x="1761611" y="1366829"/>
                      <a:pt x="1713572" y="1359805"/>
                      <a:pt x="1662816" y="1365305"/>
                    </a:cubicBezTo>
                    <a:cubicBezTo>
                      <a:pt x="1492327" y="1383991"/>
                      <a:pt x="1362721" y="1525325"/>
                      <a:pt x="1362257" y="1696013"/>
                    </a:cubicBezTo>
                    <a:close/>
                    <a:moveTo>
                      <a:pt x="2726900" y="886239"/>
                    </a:moveTo>
                    <a:cubicBezTo>
                      <a:pt x="2747705" y="882860"/>
                      <a:pt x="2770301" y="897040"/>
                      <a:pt x="2789715" y="877426"/>
                    </a:cubicBezTo>
                    <a:cubicBezTo>
                      <a:pt x="2854054" y="812358"/>
                      <a:pt x="2919057" y="748019"/>
                      <a:pt x="2983595" y="683149"/>
                    </a:cubicBezTo>
                    <a:cubicBezTo>
                      <a:pt x="2988696" y="678048"/>
                      <a:pt x="2996913" y="672945"/>
                      <a:pt x="2991877" y="663801"/>
                    </a:cubicBezTo>
                    <a:cubicBezTo>
                      <a:pt x="2988100" y="656977"/>
                      <a:pt x="2980282" y="658898"/>
                      <a:pt x="2973920" y="658302"/>
                    </a:cubicBezTo>
                    <a:cubicBezTo>
                      <a:pt x="2926809" y="653862"/>
                      <a:pt x="2879498" y="651079"/>
                      <a:pt x="2832719" y="644586"/>
                    </a:cubicBezTo>
                    <a:cubicBezTo>
                      <a:pt x="2786203" y="638092"/>
                      <a:pt x="2754398" y="606287"/>
                      <a:pt x="2747971" y="559971"/>
                    </a:cubicBezTo>
                    <a:cubicBezTo>
                      <a:pt x="2741544" y="514251"/>
                      <a:pt x="2738760" y="468067"/>
                      <a:pt x="2734321" y="422082"/>
                    </a:cubicBezTo>
                    <a:cubicBezTo>
                      <a:pt x="2733592" y="414661"/>
                      <a:pt x="2736773" y="405185"/>
                      <a:pt x="2728821" y="400878"/>
                    </a:cubicBezTo>
                    <a:cubicBezTo>
                      <a:pt x="2718286" y="395180"/>
                      <a:pt x="2712918" y="405583"/>
                      <a:pt x="2707220" y="411281"/>
                    </a:cubicBezTo>
                    <a:cubicBezTo>
                      <a:pt x="2643875" y="474163"/>
                      <a:pt x="2580861" y="537442"/>
                      <a:pt x="2517648" y="600522"/>
                    </a:cubicBezTo>
                    <a:cubicBezTo>
                      <a:pt x="2507841" y="610329"/>
                      <a:pt x="2502408" y="620467"/>
                      <a:pt x="2503800" y="635574"/>
                    </a:cubicBezTo>
                    <a:cubicBezTo>
                      <a:pt x="2510094" y="704618"/>
                      <a:pt x="2515329" y="773728"/>
                      <a:pt x="2520497" y="842905"/>
                    </a:cubicBezTo>
                    <a:cubicBezTo>
                      <a:pt x="2521889" y="861458"/>
                      <a:pt x="2530569" y="870734"/>
                      <a:pt x="2549254" y="872126"/>
                    </a:cubicBezTo>
                    <a:cubicBezTo>
                      <a:pt x="2608359" y="876565"/>
                      <a:pt x="2667596" y="881534"/>
                      <a:pt x="2726900" y="886239"/>
                    </a:cubicBezTo>
                    <a:close/>
                  </a:path>
                </a:pathLst>
              </a:custGeom>
              <a:solidFill>
                <a:schemeClr val="bg1"/>
              </a:solidFill>
              <a:ln w="6624" cap="flat">
                <a:noFill/>
                <a:prstDash val="solid"/>
                <a:miter/>
              </a:ln>
            </p:spPr>
            <p:txBody>
              <a:bodyPr rtlCol="0" anchor="ctr"/>
              <a:lstStyle/>
              <a:p>
                <a:endParaRPr lang="en-US"/>
              </a:p>
            </p:txBody>
          </p:sp>
          <p:grpSp>
            <p:nvGrpSpPr>
              <p:cNvPr id="36" name="Group 35">
                <a:extLst>
                  <a:ext uri="{FF2B5EF4-FFF2-40B4-BE49-F238E27FC236}">
                    <a16:creationId xmlns:a16="http://schemas.microsoft.com/office/drawing/2014/main" id="{A661B697-61C7-4342-8FFD-8A827D5FB1AA}"/>
                  </a:ext>
                </a:extLst>
              </p:cNvPr>
              <p:cNvGrpSpPr/>
              <p:nvPr/>
            </p:nvGrpSpPr>
            <p:grpSpPr>
              <a:xfrm>
                <a:off x="4066086" y="3309566"/>
                <a:ext cx="1563402" cy="1353236"/>
                <a:chOff x="4279385" y="2086050"/>
                <a:chExt cx="1399123" cy="1211041"/>
              </a:xfrm>
            </p:grpSpPr>
            <p:sp>
              <p:nvSpPr>
                <p:cNvPr id="38" name="TextBox 37">
                  <a:extLst>
                    <a:ext uri="{FF2B5EF4-FFF2-40B4-BE49-F238E27FC236}">
                      <a16:creationId xmlns:a16="http://schemas.microsoft.com/office/drawing/2014/main" id="{F3841684-504D-47EF-B364-AEE96848878D}"/>
                    </a:ext>
                  </a:extLst>
                </p:cNvPr>
                <p:cNvSpPr txBox="1"/>
                <p:nvPr/>
              </p:nvSpPr>
              <p:spPr>
                <a:xfrm>
                  <a:off x="4400102" y="2086050"/>
                  <a:ext cx="1157689" cy="338554"/>
                </a:xfrm>
                <a:prstGeom prst="rect">
                  <a:avLst/>
                </a:prstGeom>
                <a:noFill/>
              </p:spPr>
              <p:txBody>
                <a:bodyPr wrap="none" rtlCol="0">
                  <a:spAutoFit/>
                </a:bodyPr>
                <a:lstStyle/>
                <a:p>
                  <a:pPr algn="ctr"/>
                  <a:r>
                    <a:rPr lang="en-US" sz="1600" b="1" dirty="0">
                      <a:solidFill>
                        <a:schemeClr val="bg1"/>
                      </a:solidFill>
                      <a:latin typeface="Montserrat" panose="00000500000000000000" pitchFamily="50" charset="0"/>
                    </a:rPr>
                    <a:t>Title One</a:t>
                  </a:r>
                </a:p>
              </p:txBody>
            </p:sp>
            <p:sp>
              <p:nvSpPr>
                <p:cNvPr id="39" name="TextBox 38">
                  <a:extLst>
                    <a:ext uri="{FF2B5EF4-FFF2-40B4-BE49-F238E27FC236}">
                      <a16:creationId xmlns:a16="http://schemas.microsoft.com/office/drawing/2014/main" id="{CE4BB543-5779-4222-B39E-4E5DA3BC3E85}"/>
                    </a:ext>
                  </a:extLst>
                </p:cNvPr>
                <p:cNvSpPr txBox="1"/>
                <p:nvPr/>
              </p:nvSpPr>
              <p:spPr>
                <a:xfrm>
                  <a:off x="4279385" y="2453166"/>
                  <a:ext cx="1399123" cy="843925"/>
                </a:xfrm>
                <a:prstGeom prst="rect">
                  <a:avLst/>
                </a:prstGeom>
                <a:noFill/>
              </p:spPr>
              <p:txBody>
                <a:bodyPr wrap="square" rtlCol="0">
                  <a:spAutoFit/>
                </a:bodyPr>
                <a:lstStyle/>
                <a:p>
                  <a:pPr algn="ctr">
                    <a:lnSpc>
                      <a:spcPts val="1700"/>
                    </a:lnSpc>
                  </a:pPr>
                  <a:r>
                    <a:rPr lang="en-US" sz="1100" dirty="0">
                      <a:solidFill>
                        <a:schemeClr val="bg1"/>
                      </a:solidFill>
                      <a:latin typeface="Montserrat" panose="00000500000000000000" pitchFamily="50" charset="0"/>
                    </a:rPr>
                    <a:t>Lorem ipsum dolor sit </a:t>
                  </a:r>
                  <a:r>
                    <a:rPr lang="en-US" sz="1100" dirty="0" err="1">
                      <a:solidFill>
                        <a:schemeClr val="bg1"/>
                      </a:solidFill>
                      <a:latin typeface="Montserrat" panose="00000500000000000000" pitchFamily="50" charset="0"/>
                    </a:rPr>
                    <a:t>amet</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adipiscing</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elit</a:t>
                  </a:r>
                  <a:r>
                    <a:rPr lang="en-US" sz="1100" dirty="0">
                      <a:solidFill>
                        <a:schemeClr val="bg1"/>
                      </a:solidFill>
                      <a:latin typeface="Montserrat" panose="00000500000000000000" pitchFamily="50" charset="0"/>
                    </a:rPr>
                    <a:t>, do </a:t>
                  </a:r>
                  <a:r>
                    <a:rPr lang="en-US" sz="1100" dirty="0" err="1">
                      <a:solidFill>
                        <a:schemeClr val="bg1"/>
                      </a:solidFill>
                      <a:latin typeface="Montserrat" panose="00000500000000000000" pitchFamily="50" charset="0"/>
                    </a:rPr>
                    <a:t>eiusmod</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tempor</a:t>
                  </a:r>
                  <a:r>
                    <a:rPr lang="en-US" sz="1100" dirty="0">
                      <a:solidFill>
                        <a:schemeClr val="bg1"/>
                      </a:solidFill>
                      <a:latin typeface="Montserrat" panose="00000500000000000000" pitchFamily="50" charset="0"/>
                    </a:rPr>
                    <a:t> et.</a:t>
                  </a:r>
                </a:p>
              </p:txBody>
            </p:sp>
          </p:grpSp>
          <p:grpSp>
            <p:nvGrpSpPr>
              <p:cNvPr id="42" name="Group 41">
                <a:extLst>
                  <a:ext uri="{FF2B5EF4-FFF2-40B4-BE49-F238E27FC236}">
                    <a16:creationId xmlns:a16="http://schemas.microsoft.com/office/drawing/2014/main" id="{491DDE8E-A466-41F2-9B08-48F06D4625D9}"/>
                  </a:ext>
                </a:extLst>
              </p:cNvPr>
              <p:cNvGrpSpPr/>
              <p:nvPr/>
            </p:nvGrpSpPr>
            <p:grpSpPr>
              <a:xfrm>
                <a:off x="6562515" y="3309566"/>
                <a:ext cx="1563402" cy="1353236"/>
                <a:chOff x="4279385" y="2086050"/>
                <a:chExt cx="1399123" cy="1211041"/>
              </a:xfrm>
            </p:grpSpPr>
            <p:sp>
              <p:nvSpPr>
                <p:cNvPr id="43" name="TextBox 42">
                  <a:extLst>
                    <a:ext uri="{FF2B5EF4-FFF2-40B4-BE49-F238E27FC236}">
                      <a16:creationId xmlns:a16="http://schemas.microsoft.com/office/drawing/2014/main" id="{C23844D5-415C-4DB0-AEDC-A59B3755F79A}"/>
                    </a:ext>
                  </a:extLst>
                </p:cNvPr>
                <p:cNvSpPr txBox="1"/>
                <p:nvPr/>
              </p:nvSpPr>
              <p:spPr>
                <a:xfrm>
                  <a:off x="4400102" y="2086050"/>
                  <a:ext cx="1157689" cy="338554"/>
                </a:xfrm>
                <a:prstGeom prst="rect">
                  <a:avLst/>
                </a:prstGeom>
                <a:noFill/>
              </p:spPr>
              <p:txBody>
                <a:bodyPr wrap="none" rtlCol="0">
                  <a:spAutoFit/>
                </a:bodyPr>
                <a:lstStyle/>
                <a:p>
                  <a:pPr algn="ctr"/>
                  <a:r>
                    <a:rPr lang="en-US" sz="1600" b="1" dirty="0">
                      <a:solidFill>
                        <a:schemeClr val="bg1"/>
                      </a:solidFill>
                      <a:latin typeface="Montserrat" panose="00000500000000000000" pitchFamily="50" charset="0"/>
                    </a:rPr>
                    <a:t>Title One</a:t>
                  </a:r>
                </a:p>
              </p:txBody>
            </p:sp>
            <p:sp>
              <p:nvSpPr>
                <p:cNvPr id="44" name="TextBox 43">
                  <a:extLst>
                    <a:ext uri="{FF2B5EF4-FFF2-40B4-BE49-F238E27FC236}">
                      <a16:creationId xmlns:a16="http://schemas.microsoft.com/office/drawing/2014/main" id="{6E9596B9-6F6D-47C5-80AC-39B44C36240F}"/>
                    </a:ext>
                  </a:extLst>
                </p:cNvPr>
                <p:cNvSpPr txBox="1"/>
                <p:nvPr/>
              </p:nvSpPr>
              <p:spPr>
                <a:xfrm>
                  <a:off x="4279385" y="2453166"/>
                  <a:ext cx="1399123" cy="843925"/>
                </a:xfrm>
                <a:prstGeom prst="rect">
                  <a:avLst/>
                </a:prstGeom>
                <a:noFill/>
              </p:spPr>
              <p:txBody>
                <a:bodyPr wrap="square" rtlCol="0">
                  <a:spAutoFit/>
                </a:bodyPr>
                <a:lstStyle/>
                <a:p>
                  <a:pPr algn="ctr">
                    <a:lnSpc>
                      <a:spcPts val="1700"/>
                    </a:lnSpc>
                  </a:pPr>
                  <a:r>
                    <a:rPr lang="en-US" sz="1100" dirty="0">
                      <a:solidFill>
                        <a:schemeClr val="bg1"/>
                      </a:solidFill>
                      <a:latin typeface="Montserrat" panose="00000500000000000000" pitchFamily="50" charset="0"/>
                    </a:rPr>
                    <a:t>Lorem ipsum dolor sit </a:t>
                  </a:r>
                  <a:r>
                    <a:rPr lang="en-US" sz="1100" dirty="0" err="1">
                      <a:solidFill>
                        <a:schemeClr val="bg1"/>
                      </a:solidFill>
                      <a:latin typeface="Montserrat" panose="00000500000000000000" pitchFamily="50" charset="0"/>
                    </a:rPr>
                    <a:t>amet</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adipiscing</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elit</a:t>
                  </a:r>
                  <a:r>
                    <a:rPr lang="en-US" sz="1100" dirty="0">
                      <a:solidFill>
                        <a:schemeClr val="bg1"/>
                      </a:solidFill>
                      <a:latin typeface="Montserrat" panose="00000500000000000000" pitchFamily="50" charset="0"/>
                    </a:rPr>
                    <a:t>, do </a:t>
                  </a:r>
                  <a:r>
                    <a:rPr lang="en-US" sz="1100" dirty="0" err="1">
                      <a:solidFill>
                        <a:schemeClr val="bg1"/>
                      </a:solidFill>
                      <a:latin typeface="Montserrat" panose="00000500000000000000" pitchFamily="50" charset="0"/>
                    </a:rPr>
                    <a:t>eiusmod</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tempor</a:t>
                  </a:r>
                  <a:r>
                    <a:rPr lang="en-US" sz="1100" dirty="0">
                      <a:solidFill>
                        <a:schemeClr val="bg1"/>
                      </a:solidFill>
                      <a:latin typeface="Montserrat" panose="00000500000000000000" pitchFamily="50" charset="0"/>
                    </a:rPr>
                    <a:t> et.</a:t>
                  </a:r>
                </a:p>
              </p:txBody>
            </p:sp>
          </p:grpSp>
          <p:grpSp>
            <p:nvGrpSpPr>
              <p:cNvPr id="45" name="Group 44">
                <a:extLst>
                  <a:ext uri="{FF2B5EF4-FFF2-40B4-BE49-F238E27FC236}">
                    <a16:creationId xmlns:a16="http://schemas.microsoft.com/office/drawing/2014/main" id="{2AB144F8-51E6-4021-872F-E3D85BAC8A2A}"/>
                  </a:ext>
                </a:extLst>
              </p:cNvPr>
              <p:cNvGrpSpPr/>
              <p:nvPr/>
            </p:nvGrpSpPr>
            <p:grpSpPr>
              <a:xfrm>
                <a:off x="9275679" y="3309566"/>
                <a:ext cx="1563402" cy="1353236"/>
                <a:chOff x="4279385" y="2086050"/>
                <a:chExt cx="1399123" cy="1211041"/>
              </a:xfrm>
            </p:grpSpPr>
            <p:sp>
              <p:nvSpPr>
                <p:cNvPr id="46" name="TextBox 45">
                  <a:extLst>
                    <a:ext uri="{FF2B5EF4-FFF2-40B4-BE49-F238E27FC236}">
                      <a16:creationId xmlns:a16="http://schemas.microsoft.com/office/drawing/2014/main" id="{A9E32ADB-8E43-4831-A0AB-CEC17AAEBEF6}"/>
                    </a:ext>
                  </a:extLst>
                </p:cNvPr>
                <p:cNvSpPr txBox="1"/>
                <p:nvPr/>
              </p:nvSpPr>
              <p:spPr>
                <a:xfrm>
                  <a:off x="4400102" y="2086050"/>
                  <a:ext cx="1157689" cy="338554"/>
                </a:xfrm>
                <a:prstGeom prst="rect">
                  <a:avLst/>
                </a:prstGeom>
                <a:noFill/>
              </p:spPr>
              <p:txBody>
                <a:bodyPr wrap="none" rtlCol="0">
                  <a:spAutoFit/>
                </a:bodyPr>
                <a:lstStyle/>
                <a:p>
                  <a:pPr algn="ctr"/>
                  <a:r>
                    <a:rPr lang="en-US" sz="1600" b="1" dirty="0">
                      <a:solidFill>
                        <a:schemeClr val="bg1"/>
                      </a:solidFill>
                      <a:latin typeface="Montserrat" panose="00000500000000000000" pitchFamily="50" charset="0"/>
                    </a:rPr>
                    <a:t>Title One</a:t>
                  </a:r>
                </a:p>
              </p:txBody>
            </p:sp>
            <p:sp>
              <p:nvSpPr>
                <p:cNvPr id="47" name="TextBox 46">
                  <a:extLst>
                    <a:ext uri="{FF2B5EF4-FFF2-40B4-BE49-F238E27FC236}">
                      <a16:creationId xmlns:a16="http://schemas.microsoft.com/office/drawing/2014/main" id="{C40DE1BB-E584-4F19-B5FB-18996DE27016}"/>
                    </a:ext>
                  </a:extLst>
                </p:cNvPr>
                <p:cNvSpPr txBox="1"/>
                <p:nvPr/>
              </p:nvSpPr>
              <p:spPr>
                <a:xfrm>
                  <a:off x="4279385" y="2453166"/>
                  <a:ext cx="1399123" cy="843925"/>
                </a:xfrm>
                <a:prstGeom prst="rect">
                  <a:avLst/>
                </a:prstGeom>
                <a:noFill/>
              </p:spPr>
              <p:txBody>
                <a:bodyPr wrap="square" rtlCol="0">
                  <a:spAutoFit/>
                </a:bodyPr>
                <a:lstStyle/>
                <a:p>
                  <a:pPr algn="ctr">
                    <a:lnSpc>
                      <a:spcPts val="1700"/>
                    </a:lnSpc>
                  </a:pPr>
                  <a:r>
                    <a:rPr lang="en-US" sz="1100" dirty="0">
                      <a:solidFill>
                        <a:schemeClr val="bg1"/>
                      </a:solidFill>
                      <a:latin typeface="Montserrat" panose="00000500000000000000" pitchFamily="50" charset="0"/>
                    </a:rPr>
                    <a:t>Lorem ipsum dolor sit </a:t>
                  </a:r>
                  <a:r>
                    <a:rPr lang="en-US" sz="1100" dirty="0" err="1">
                      <a:solidFill>
                        <a:schemeClr val="bg1"/>
                      </a:solidFill>
                      <a:latin typeface="Montserrat" panose="00000500000000000000" pitchFamily="50" charset="0"/>
                    </a:rPr>
                    <a:t>amet</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adipiscing</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elit</a:t>
                  </a:r>
                  <a:r>
                    <a:rPr lang="en-US" sz="1100" dirty="0">
                      <a:solidFill>
                        <a:schemeClr val="bg1"/>
                      </a:solidFill>
                      <a:latin typeface="Montserrat" panose="00000500000000000000" pitchFamily="50" charset="0"/>
                    </a:rPr>
                    <a:t>, do </a:t>
                  </a:r>
                  <a:r>
                    <a:rPr lang="en-US" sz="1100" dirty="0" err="1">
                      <a:solidFill>
                        <a:schemeClr val="bg1"/>
                      </a:solidFill>
                      <a:latin typeface="Montserrat" panose="00000500000000000000" pitchFamily="50" charset="0"/>
                    </a:rPr>
                    <a:t>eiusmod</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tempor</a:t>
                  </a:r>
                  <a:r>
                    <a:rPr lang="en-US" sz="1100" dirty="0">
                      <a:solidFill>
                        <a:schemeClr val="bg1"/>
                      </a:solidFill>
                      <a:latin typeface="Montserrat" panose="00000500000000000000" pitchFamily="50" charset="0"/>
                    </a:rPr>
                    <a:t> et.</a:t>
                  </a:r>
                </a:p>
              </p:txBody>
            </p:sp>
          </p:grpSp>
        </p:grpSp>
        <p:sp>
          <p:nvSpPr>
            <p:cNvPr id="51" name="TextBox 50">
              <a:extLst>
                <a:ext uri="{FF2B5EF4-FFF2-40B4-BE49-F238E27FC236}">
                  <a16:creationId xmlns:a16="http://schemas.microsoft.com/office/drawing/2014/main" id="{DC586E82-7C6D-4FAC-B5A5-1C379FA01644}"/>
                </a:ext>
              </a:extLst>
            </p:cNvPr>
            <p:cNvSpPr txBox="1"/>
            <p:nvPr/>
          </p:nvSpPr>
          <p:spPr>
            <a:xfrm>
              <a:off x="2505907" y="874890"/>
              <a:ext cx="7180187" cy="553998"/>
            </a:xfrm>
            <a:prstGeom prst="rect">
              <a:avLst/>
            </a:prstGeom>
            <a:noFill/>
          </p:spPr>
          <p:txBody>
            <a:bodyPr wrap="square" rtlCol="0">
              <a:spAutoFit/>
            </a:bodyPr>
            <a:lstStyle>
              <a:defPPr>
                <a:defRPr lang="en-US"/>
              </a:defPPr>
              <a:lvl1pPr>
                <a:defRPr sz="3000" b="1">
                  <a:solidFill>
                    <a:schemeClr val="tx2">
                      <a:lumMod val="40000"/>
                      <a:lumOff val="60000"/>
                    </a:schemeClr>
                  </a:solidFill>
                  <a:latin typeface="Montserrat" panose="00000500000000000000" pitchFamily="50" charset="0"/>
                </a:defRPr>
              </a:lvl1pPr>
            </a:lstStyle>
            <a:p>
              <a:pPr algn="ctr"/>
              <a:r>
                <a:rPr lang="en-US" dirty="0"/>
                <a:t>LINEAR VENN DIAGRAM</a:t>
              </a:r>
            </a:p>
          </p:txBody>
        </p:sp>
      </p:grpSp>
    </p:spTree>
    <p:extLst>
      <p:ext uri="{BB962C8B-B14F-4D97-AF65-F5344CB8AC3E}">
        <p14:creationId xmlns:p14="http://schemas.microsoft.com/office/powerpoint/2010/main" val="31770224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7A5499A6-0265-43D4-8869-A6C6A34FDA23}"/>
              </a:ext>
            </a:extLst>
          </p:cNvPr>
          <p:cNvSpPr/>
          <p:nvPr/>
        </p:nvSpPr>
        <p:spPr>
          <a:xfrm>
            <a:off x="6814713" y="1337764"/>
            <a:ext cx="2736934" cy="2736934"/>
          </a:xfrm>
          <a:prstGeom prst="ellipse">
            <a:avLst/>
          </a:prstGeom>
          <a:gradFill flip="none" rotWithShape="1">
            <a:gsLst>
              <a:gs pos="0">
                <a:schemeClr val="accent5"/>
              </a:gs>
              <a:gs pos="100000">
                <a:schemeClr val="accent5">
                  <a:lumMod val="60000"/>
                  <a:lumOff val="4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Oval 1">
            <a:extLst>
              <a:ext uri="{FF2B5EF4-FFF2-40B4-BE49-F238E27FC236}">
                <a16:creationId xmlns:a16="http://schemas.microsoft.com/office/drawing/2014/main" id="{B9959187-C646-4EF0-A40C-A1AEE757A842}"/>
              </a:ext>
            </a:extLst>
          </p:cNvPr>
          <p:cNvSpPr/>
          <p:nvPr/>
        </p:nvSpPr>
        <p:spPr>
          <a:xfrm>
            <a:off x="553171" y="682648"/>
            <a:ext cx="2736934" cy="2736934"/>
          </a:xfrm>
          <a:prstGeom prst="ellipse">
            <a:avLst/>
          </a:prstGeom>
          <a:gradFill flip="none" rotWithShape="1">
            <a:gsLst>
              <a:gs pos="0">
                <a:schemeClr val="accent1">
                  <a:alpha val="85000"/>
                </a:schemeClr>
              </a:gs>
              <a:gs pos="100000">
                <a:schemeClr val="accent1">
                  <a:lumMod val="60000"/>
                  <a:lumOff val="40000"/>
                  <a:alpha val="5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38F3B7A0-3EA5-4677-AD6A-EA77B55BE746}"/>
              </a:ext>
            </a:extLst>
          </p:cNvPr>
          <p:cNvSpPr/>
          <p:nvPr/>
        </p:nvSpPr>
        <p:spPr>
          <a:xfrm>
            <a:off x="2640352" y="1337764"/>
            <a:ext cx="2736934" cy="2736934"/>
          </a:xfrm>
          <a:prstGeom prst="ellipse">
            <a:avLst/>
          </a:prstGeom>
          <a:gradFill flip="none" rotWithShape="1">
            <a:gsLst>
              <a:gs pos="0">
                <a:schemeClr val="accent3">
                  <a:alpha val="88000"/>
                </a:schemeClr>
              </a:gs>
              <a:gs pos="100000">
                <a:schemeClr val="accent3">
                  <a:lumMod val="60000"/>
                  <a:lumOff val="40000"/>
                  <a:alpha val="5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6B5D7CB7-5AAF-41F9-BC66-6B8DF063462A}"/>
              </a:ext>
            </a:extLst>
          </p:cNvPr>
          <p:cNvSpPr/>
          <p:nvPr/>
        </p:nvSpPr>
        <p:spPr>
          <a:xfrm>
            <a:off x="4727532" y="682648"/>
            <a:ext cx="2736934" cy="2736934"/>
          </a:xfrm>
          <a:prstGeom prst="ellipse">
            <a:avLst/>
          </a:prstGeom>
          <a:gradFill flip="none" rotWithShape="1">
            <a:gsLst>
              <a:gs pos="0">
                <a:schemeClr val="accent4">
                  <a:lumMod val="75000"/>
                  <a:alpha val="85000"/>
                </a:schemeClr>
              </a:gs>
              <a:gs pos="100000">
                <a:schemeClr val="accent4">
                  <a:alpha val="5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66E3EE86-8C83-4F31-B46F-DBE48DC52D0A}"/>
              </a:ext>
            </a:extLst>
          </p:cNvPr>
          <p:cNvSpPr/>
          <p:nvPr/>
        </p:nvSpPr>
        <p:spPr>
          <a:xfrm>
            <a:off x="8901895" y="682648"/>
            <a:ext cx="2736934" cy="2736934"/>
          </a:xfrm>
          <a:prstGeom prst="ellipse">
            <a:avLst/>
          </a:prstGeom>
          <a:gradFill flip="none" rotWithShape="1">
            <a:gsLst>
              <a:gs pos="0">
                <a:schemeClr val="tx2">
                  <a:alpha val="85000"/>
                </a:schemeClr>
              </a:gs>
              <a:gs pos="100000">
                <a:schemeClr val="tx2">
                  <a:lumMod val="60000"/>
                  <a:lumOff val="40000"/>
                  <a:alpha val="5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Shape 23">
            <a:extLst>
              <a:ext uri="{FF2B5EF4-FFF2-40B4-BE49-F238E27FC236}">
                <a16:creationId xmlns:a16="http://schemas.microsoft.com/office/drawing/2014/main" id="{C3C40652-2FB1-4A33-83DA-C8FF0FE1946D}"/>
              </a:ext>
            </a:extLst>
          </p:cNvPr>
          <p:cNvSpPr/>
          <p:nvPr/>
        </p:nvSpPr>
        <p:spPr>
          <a:xfrm>
            <a:off x="2640352" y="1595971"/>
            <a:ext cx="649754" cy="1565402"/>
          </a:xfrm>
          <a:custGeom>
            <a:avLst/>
            <a:gdLst>
              <a:gd name="connsiteX0" fmla="*/ 568869 w 647796"/>
              <a:gd name="connsiteY0" fmla="*/ 0 h 1560686"/>
              <a:gd name="connsiteX1" fmla="*/ 586458 w 647796"/>
              <a:gd name="connsiteY1" fmla="*/ 48058 h 1560686"/>
              <a:gd name="connsiteX2" fmla="*/ 647796 w 647796"/>
              <a:gd name="connsiteY2" fmla="*/ 453772 h 1560686"/>
              <a:gd name="connsiteX3" fmla="*/ 151301 w 647796"/>
              <a:gd name="connsiteY3" fmla="*/ 1506566 h 1560686"/>
              <a:gd name="connsiteX4" fmla="*/ 78928 w 647796"/>
              <a:gd name="connsiteY4" fmla="*/ 1560686 h 1560686"/>
              <a:gd name="connsiteX5" fmla="*/ 61338 w 647796"/>
              <a:gd name="connsiteY5" fmla="*/ 1512628 h 1560686"/>
              <a:gd name="connsiteX6" fmla="*/ 0 w 647796"/>
              <a:gd name="connsiteY6" fmla="*/ 1106914 h 1560686"/>
              <a:gd name="connsiteX7" fmla="*/ 496495 w 647796"/>
              <a:gd name="connsiteY7" fmla="*/ 54120 h 1560686"/>
              <a:gd name="connsiteX8" fmla="*/ 568869 w 647796"/>
              <a:gd name="connsiteY8" fmla="*/ 0 h 156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7796" h="1560686">
                <a:moveTo>
                  <a:pt x="568869" y="0"/>
                </a:moveTo>
                <a:lnTo>
                  <a:pt x="586458" y="48058"/>
                </a:lnTo>
                <a:cubicBezTo>
                  <a:pt x="626321" y="176223"/>
                  <a:pt x="647796" y="312490"/>
                  <a:pt x="647796" y="453772"/>
                </a:cubicBezTo>
                <a:cubicBezTo>
                  <a:pt x="647796" y="877619"/>
                  <a:pt x="454523" y="1256325"/>
                  <a:pt x="151301" y="1506566"/>
                </a:cubicBezTo>
                <a:lnTo>
                  <a:pt x="78928" y="1560686"/>
                </a:lnTo>
                <a:lnTo>
                  <a:pt x="61338" y="1512628"/>
                </a:lnTo>
                <a:cubicBezTo>
                  <a:pt x="21475" y="1384463"/>
                  <a:pt x="0" y="1248197"/>
                  <a:pt x="0" y="1106914"/>
                </a:cubicBezTo>
                <a:cubicBezTo>
                  <a:pt x="0" y="683067"/>
                  <a:pt x="193273" y="304361"/>
                  <a:pt x="496495" y="54120"/>
                </a:cubicBezTo>
                <a:lnTo>
                  <a:pt x="56886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tx2"/>
                </a:solidFill>
                <a:latin typeface="Montserrat" panose="00000500000000000000" pitchFamily="50" charset="0"/>
              </a:rPr>
              <a:t>A</a:t>
            </a:r>
          </a:p>
        </p:txBody>
      </p:sp>
      <p:sp>
        <p:nvSpPr>
          <p:cNvPr id="23" name="Freeform: Shape 22">
            <a:extLst>
              <a:ext uri="{FF2B5EF4-FFF2-40B4-BE49-F238E27FC236}">
                <a16:creationId xmlns:a16="http://schemas.microsoft.com/office/drawing/2014/main" id="{226E9715-E364-43EA-B079-0A108B3E4351}"/>
              </a:ext>
            </a:extLst>
          </p:cNvPr>
          <p:cNvSpPr/>
          <p:nvPr/>
        </p:nvSpPr>
        <p:spPr>
          <a:xfrm>
            <a:off x="4727533" y="1595971"/>
            <a:ext cx="649754" cy="1565402"/>
          </a:xfrm>
          <a:custGeom>
            <a:avLst/>
            <a:gdLst>
              <a:gd name="connsiteX0" fmla="*/ 78928 w 647796"/>
              <a:gd name="connsiteY0" fmla="*/ 0 h 1560686"/>
              <a:gd name="connsiteX1" fmla="*/ 151301 w 647796"/>
              <a:gd name="connsiteY1" fmla="*/ 54120 h 1560686"/>
              <a:gd name="connsiteX2" fmla="*/ 647796 w 647796"/>
              <a:gd name="connsiteY2" fmla="*/ 1106914 h 1560686"/>
              <a:gd name="connsiteX3" fmla="*/ 586458 w 647796"/>
              <a:gd name="connsiteY3" fmla="*/ 1512628 h 1560686"/>
              <a:gd name="connsiteX4" fmla="*/ 568869 w 647796"/>
              <a:gd name="connsiteY4" fmla="*/ 1560686 h 1560686"/>
              <a:gd name="connsiteX5" fmla="*/ 496495 w 647796"/>
              <a:gd name="connsiteY5" fmla="*/ 1506566 h 1560686"/>
              <a:gd name="connsiteX6" fmla="*/ 0 w 647796"/>
              <a:gd name="connsiteY6" fmla="*/ 453772 h 1560686"/>
              <a:gd name="connsiteX7" fmla="*/ 61338 w 647796"/>
              <a:gd name="connsiteY7" fmla="*/ 48058 h 1560686"/>
              <a:gd name="connsiteX8" fmla="*/ 78928 w 647796"/>
              <a:gd name="connsiteY8" fmla="*/ 0 h 156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7796" h="1560686">
                <a:moveTo>
                  <a:pt x="78928" y="0"/>
                </a:moveTo>
                <a:lnTo>
                  <a:pt x="151301" y="54120"/>
                </a:lnTo>
                <a:cubicBezTo>
                  <a:pt x="454523" y="304361"/>
                  <a:pt x="647796" y="683067"/>
                  <a:pt x="647796" y="1106914"/>
                </a:cubicBezTo>
                <a:cubicBezTo>
                  <a:pt x="647796" y="1248197"/>
                  <a:pt x="626321" y="1384463"/>
                  <a:pt x="586458" y="1512628"/>
                </a:cubicBezTo>
                <a:lnTo>
                  <a:pt x="568869" y="1560686"/>
                </a:lnTo>
                <a:lnTo>
                  <a:pt x="496495" y="1506566"/>
                </a:lnTo>
                <a:cubicBezTo>
                  <a:pt x="193273" y="1256325"/>
                  <a:pt x="0" y="877619"/>
                  <a:pt x="0" y="453772"/>
                </a:cubicBezTo>
                <a:cubicBezTo>
                  <a:pt x="0" y="312490"/>
                  <a:pt x="21475" y="176223"/>
                  <a:pt x="61338" y="48058"/>
                </a:cubicBezTo>
                <a:lnTo>
                  <a:pt x="78928"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tx2"/>
                </a:solidFill>
                <a:latin typeface="Montserrat" panose="00000500000000000000" pitchFamily="50" charset="0"/>
              </a:rPr>
              <a:t>B</a:t>
            </a:r>
          </a:p>
        </p:txBody>
      </p:sp>
      <p:sp>
        <p:nvSpPr>
          <p:cNvPr id="22" name="Freeform: Shape 21">
            <a:extLst>
              <a:ext uri="{FF2B5EF4-FFF2-40B4-BE49-F238E27FC236}">
                <a16:creationId xmlns:a16="http://schemas.microsoft.com/office/drawing/2014/main" id="{8233B545-3D41-4BC1-923B-B385498E5C95}"/>
              </a:ext>
            </a:extLst>
          </p:cNvPr>
          <p:cNvSpPr/>
          <p:nvPr/>
        </p:nvSpPr>
        <p:spPr>
          <a:xfrm>
            <a:off x="8901895" y="1595971"/>
            <a:ext cx="649754" cy="1565402"/>
          </a:xfrm>
          <a:custGeom>
            <a:avLst/>
            <a:gdLst>
              <a:gd name="connsiteX0" fmla="*/ 78928 w 647796"/>
              <a:gd name="connsiteY0" fmla="*/ 0 h 1560686"/>
              <a:gd name="connsiteX1" fmla="*/ 151301 w 647796"/>
              <a:gd name="connsiteY1" fmla="*/ 54120 h 1560686"/>
              <a:gd name="connsiteX2" fmla="*/ 647796 w 647796"/>
              <a:gd name="connsiteY2" fmla="*/ 1106914 h 1560686"/>
              <a:gd name="connsiteX3" fmla="*/ 586458 w 647796"/>
              <a:gd name="connsiteY3" fmla="*/ 1512628 h 1560686"/>
              <a:gd name="connsiteX4" fmla="*/ 568868 w 647796"/>
              <a:gd name="connsiteY4" fmla="*/ 1560686 h 1560686"/>
              <a:gd name="connsiteX5" fmla="*/ 496495 w 647796"/>
              <a:gd name="connsiteY5" fmla="*/ 1506566 h 1560686"/>
              <a:gd name="connsiteX6" fmla="*/ 0 w 647796"/>
              <a:gd name="connsiteY6" fmla="*/ 453772 h 1560686"/>
              <a:gd name="connsiteX7" fmla="*/ 61338 w 647796"/>
              <a:gd name="connsiteY7" fmla="*/ 48058 h 1560686"/>
              <a:gd name="connsiteX8" fmla="*/ 78928 w 647796"/>
              <a:gd name="connsiteY8" fmla="*/ 0 h 156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7796" h="1560686">
                <a:moveTo>
                  <a:pt x="78928" y="0"/>
                </a:moveTo>
                <a:lnTo>
                  <a:pt x="151301" y="54120"/>
                </a:lnTo>
                <a:cubicBezTo>
                  <a:pt x="454523" y="304361"/>
                  <a:pt x="647796" y="683067"/>
                  <a:pt x="647796" y="1106914"/>
                </a:cubicBezTo>
                <a:cubicBezTo>
                  <a:pt x="647796" y="1248197"/>
                  <a:pt x="626321" y="1384463"/>
                  <a:pt x="586458" y="1512628"/>
                </a:cubicBezTo>
                <a:lnTo>
                  <a:pt x="568868" y="1560686"/>
                </a:lnTo>
                <a:lnTo>
                  <a:pt x="496495" y="1506566"/>
                </a:lnTo>
                <a:cubicBezTo>
                  <a:pt x="193273" y="1256325"/>
                  <a:pt x="0" y="877619"/>
                  <a:pt x="0" y="453772"/>
                </a:cubicBezTo>
                <a:cubicBezTo>
                  <a:pt x="0" y="312490"/>
                  <a:pt x="21475" y="176223"/>
                  <a:pt x="61338" y="48058"/>
                </a:cubicBezTo>
                <a:lnTo>
                  <a:pt x="78928"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tx2"/>
                </a:solidFill>
                <a:latin typeface="Montserrat" panose="00000500000000000000" pitchFamily="50" charset="0"/>
              </a:rPr>
              <a:t>D</a:t>
            </a:r>
          </a:p>
        </p:txBody>
      </p:sp>
      <p:sp>
        <p:nvSpPr>
          <p:cNvPr id="21" name="Freeform: Shape 20">
            <a:extLst>
              <a:ext uri="{FF2B5EF4-FFF2-40B4-BE49-F238E27FC236}">
                <a16:creationId xmlns:a16="http://schemas.microsoft.com/office/drawing/2014/main" id="{F0B61547-ABEB-4E68-9324-9E9E535E4F4C}"/>
              </a:ext>
            </a:extLst>
          </p:cNvPr>
          <p:cNvSpPr/>
          <p:nvPr/>
        </p:nvSpPr>
        <p:spPr>
          <a:xfrm>
            <a:off x="6814716" y="1595973"/>
            <a:ext cx="649753" cy="1565401"/>
          </a:xfrm>
          <a:custGeom>
            <a:avLst/>
            <a:gdLst>
              <a:gd name="connsiteX0" fmla="*/ 568868 w 647795"/>
              <a:gd name="connsiteY0" fmla="*/ 0 h 1560685"/>
              <a:gd name="connsiteX1" fmla="*/ 586457 w 647795"/>
              <a:gd name="connsiteY1" fmla="*/ 48057 h 1560685"/>
              <a:gd name="connsiteX2" fmla="*/ 647795 w 647795"/>
              <a:gd name="connsiteY2" fmla="*/ 453771 h 1560685"/>
              <a:gd name="connsiteX3" fmla="*/ 151300 w 647795"/>
              <a:gd name="connsiteY3" fmla="*/ 1506565 h 1560685"/>
              <a:gd name="connsiteX4" fmla="*/ 78928 w 647795"/>
              <a:gd name="connsiteY4" fmla="*/ 1560685 h 1560685"/>
              <a:gd name="connsiteX5" fmla="*/ 61338 w 647795"/>
              <a:gd name="connsiteY5" fmla="*/ 1512627 h 1560685"/>
              <a:gd name="connsiteX6" fmla="*/ 0 w 647795"/>
              <a:gd name="connsiteY6" fmla="*/ 1106913 h 1560685"/>
              <a:gd name="connsiteX7" fmla="*/ 496495 w 647795"/>
              <a:gd name="connsiteY7" fmla="*/ 54119 h 1560685"/>
              <a:gd name="connsiteX8" fmla="*/ 568868 w 647795"/>
              <a:gd name="connsiteY8" fmla="*/ 0 h 156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7795" h="1560685">
                <a:moveTo>
                  <a:pt x="568868" y="0"/>
                </a:moveTo>
                <a:lnTo>
                  <a:pt x="586457" y="48057"/>
                </a:lnTo>
                <a:cubicBezTo>
                  <a:pt x="626320" y="176222"/>
                  <a:pt x="647795" y="312489"/>
                  <a:pt x="647795" y="453771"/>
                </a:cubicBezTo>
                <a:cubicBezTo>
                  <a:pt x="647795" y="877618"/>
                  <a:pt x="454522" y="1256324"/>
                  <a:pt x="151300" y="1506565"/>
                </a:cubicBezTo>
                <a:lnTo>
                  <a:pt x="78928" y="1560685"/>
                </a:lnTo>
                <a:lnTo>
                  <a:pt x="61338" y="1512627"/>
                </a:lnTo>
                <a:cubicBezTo>
                  <a:pt x="21475" y="1384462"/>
                  <a:pt x="0" y="1248196"/>
                  <a:pt x="0" y="1106913"/>
                </a:cubicBezTo>
                <a:cubicBezTo>
                  <a:pt x="0" y="683066"/>
                  <a:pt x="193273" y="304360"/>
                  <a:pt x="496495" y="54119"/>
                </a:cubicBezTo>
                <a:lnTo>
                  <a:pt x="568868"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tx2"/>
                </a:solidFill>
                <a:latin typeface="Montserrat" panose="00000500000000000000" pitchFamily="50" charset="0"/>
              </a:rPr>
              <a:t>C</a:t>
            </a:r>
          </a:p>
        </p:txBody>
      </p:sp>
      <p:grpSp>
        <p:nvGrpSpPr>
          <p:cNvPr id="59" name="Group 58">
            <a:extLst>
              <a:ext uri="{FF2B5EF4-FFF2-40B4-BE49-F238E27FC236}">
                <a16:creationId xmlns:a16="http://schemas.microsoft.com/office/drawing/2014/main" id="{0629AF6A-8EE2-4C2D-9D1D-DDADEB7B4C79}"/>
              </a:ext>
            </a:extLst>
          </p:cNvPr>
          <p:cNvGrpSpPr/>
          <p:nvPr/>
        </p:nvGrpSpPr>
        <p:grpSpPr>
          <a:xfrm>
            <a:off x="1044961" y="1034260"/>
            <a:ext cx="1607017" cy="1310131"/>
            <a:chOff x="1389829" y="1656785"/>
            <a:chExt cx="1465466" cy="1194731"/>
          </a:xfrm>
        </p:grpSpPr>
        <p:sp>
          <p:nvSpPr>
            <p:cNvPr id="33" name="TextBox 32">
              <a:extLst>
                <a:ext uri="{FF2B5EF4-FFF2-40B4-BE49-F238E27FC236}">
                  <a16:creationId xmlns:a16="http://schemas.microsoft.com/office/drawing/2014/main" id="{5C05AD7E-8E6E-4265-8644-5027B0921567}"/>
                </a:ext>
              </a:extLst>
            </p:cNvPr>
            <p:cNvSpPr txBox="1"/>
            <p:nvPr/>
          </p:nvSpPr>
          <p:spPr>
            <a:xfrm>
              <a:off x="1389829" y="1656785"/>
              <a:ext cx="1465466" cy="338554"/>
            </a:xfrm>
            <a:prstGeom prst="rect">
              <a:avLst/>
            </a:prstGeom>
            <a:noFill/>
          </p:spPr>
          <p:txBody>
            <a:bodyPr wrap="none" rtlCol="0">
              <a:spAutoFit/>
            </a:bodyPr>
            <a:lstStyle/>
            <a:p>
              <a:pPr algn="ctr"/>
              <a:r>
                <a:rPr lang="en-US" sz="1600" b="1" dirty="0">
                  <a:solidFill>
                    <a:schemeClr val="bg1"/>
                  </a:solidFill>
                  <a:latin typeface="Montserrat" panose="00000500000000000000" pitchFamily="50" charset="0"/>
                </a:rPr>
                <a:t>Information</a:t>
              </a:r>
            </a:p>
          </p:txBody>
        </p:sp>
        <p:sp>
          <p:nvSpPr>
            <p:cNvPr id="35" name="TextBox 34">
              <a:extLst>
                <a:ext uri="{FF2B5EF4-FFF2-40B4-BE49-F238E27FC236}">
                  <a16:creationId xmlns:a16="http://schemas.microsoft.com/office/drawing/2014/main" id="{49E724EA-94D6-4856-8FF2-BCCD282E8FCB}"/>
                </a:ext>
              </a:extLst>
            </p:cNvPr>
            <p:cNvSpPr txBox="1"/>
            <p:nvPr/>
          </p:nvSpPr>
          <p:spPr>
            <a:xfrm>
              <a:off x="1389830" y="1991564"/>
              <a:ext cx="1465465" cy="859952"/>
            </a:xfrm>
            <a:prstGeom prst="rect">
              <a:avLst/>
            </a:prstGeom>
            <a:noFill/>
          </p:spPr>
          <p:txBody>
            <a:bodyPr wrap="square" rtlCol="0">
              <a:spAutoFit/>
            </a:bodyPr>
            <a:lstStyle/>
            <a:p>
              <a:pPr algn="ctr">
                <a:lnSpc>
                  <a:spcPts val="1700"/>
                </a:lnSpc>
              </a:pPr>
              <a:r>
                <a:rPr lang="en-US" sz="1100" dirty="0">
                  <a:solidFill>
                    <a:schemeClr val="bg1"/>
                  </a:solidFill>
                  <a:latin typeface="Montserrat" panose="00000500000000000000" pitchFamily="50" charset="0"/>
                </a:rPr>
                <a:t>Lorem ipsum dolor sit </a:t>
              </a:r>
              <a:r>
                <a:rPr lang="en-US" sz="1100" dirty="0" err="1">
                  <a:solidFill>
                    <a:schemeClr val="bg1"/>
                  </a:solidFill>
                  <a:latin typeface="Montserrat" panose="00000500000000000000" pitchFamily="50" charset="0"/>
                </a:rPr>
                <a:t>amet</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adipiscing</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elit</a:t>
              </a:r>
              <a:r>
                <a:rPr lang="en-US" sz="1100" dirty="0">
                  <a:solidFill>
                    <a:schemeClr val="bg1"/>
                  </a:solidFill>
                  <a:latin typeface="Montserrat" panose="00000500000000000000" pitchFamily="50" charset="0"/>
                </a:rPr>
                <a:t>, do </a:t>
              </a:r>
              <a:r>
                <a:rPr lang="en-US" sz="1100" dirty="0" err="1">
                  <a:solidFill>
                    <a:schemeClr val="bg1"/>
                  </a:solidFill>
                  <a:latin typeface="Montserrat" panose="00000500000000000000" pitchFamily="50" charset="0"/>
                </a:rPr>
                <a:t>eiusmod</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tempor</a:t>
              </a:r>
              <a:r>
                <a:rPr lang="en-US" sz="1100" dirty="0">
                  <a:solidFill>
                    <a:schemeClr val="bg1"/>
                  </a:solidFill>
                  <a:latin typeface="Montserrat" panose="00000500000000000000" pitchFamily="50" charset="0"/>
                </a:rPr>
                <a:t> et.</a:t>
              </a:r>
            </a:p>
          </p:txBody>
        </p:sp>
      </p:grpSp>
      <p:grpSp>
        <p:nvGrpSpPr>
          <p:cNvPr id="34" name="Group 33">
            <a:extLst>
              <a:ext uri="{FF2B5EF4-FFF2-40B4-BE49-F238E27FC236}">
                <a16:creationId xmlns:a16="http://schemas.microsoft.com/office/drawing/2014/main" id="{C0D1BAE4-F48D-44CF-AC4F-D18AED6F4F47}"/>
              </a:ext>
            </a:extLst>
          </p:cNvPr>
          <p:cNvGrpSpPr/>
          <p:nvPr/>
        </p:nvGrpSpPr>
        <p:grpSpPr>
          <a:xfrm>
            <a:off x="3205310" y="2378672"/>
            <a:ext cx="1607017" cy="1310131"/>
            <a:chOff x="3459932" y="2359929"/>
            <a:chExt cx="1465466" cy="1194731"/>
          </a:xfrm>
        </p:grpSpPr>
        <p:sp>
          <p:nvSpPr>
            <p:cNvPr id="36" name="TextBox 35">
              <a:extLst>
                <a:ext uri="{FF2B5EF4-FFF2-40B4-BE49-F238E27FC236}">
                  <a16:creationId xmlns:a16="http://schemas.microsoft.com/office/drawing/2014/main" id="{880286C5-9F62-45F3-9A53-DCB1DD5DA05A}"/>
                </a:ext>
              </a:extLst>
            </p:cNvPr>
            <p:cNvSpPr txBox="1"/>
            <p:nvPr/>
          </p:nvSpPr>
          <p:spPr>
            <a:xfrm>
              <a:off x="3459932" y="2359929"/>
              <a:ext cx="1465466" cy="338554"/>
            </a:xfrm>
            <a:prstGeom prst="rect">
              <a:avLst/>
            </a:prstGeom>
            <a:noFill/>
          </p:spPr>
          <p:txBody>
            <a:bodyPr wrap="none" rtlCol="0">
              <a:spAutoFit/>
            </a:bodyPr>
            <a:lstStyle/>
            <a:p>
              <a:pPr algn="ctr"/>
              <a:r>
                <a:rPr lang="en-US" sz="1600" b="1" dirty="0">
                  <a:solidFill>
                    <a:schemeClr val="bg1"/>
                  </a:solidFill>
                  <a:latin typeface="Montserrat" panose="00000500000000000000" pitchFamily="50" charset="0"/>
                </a:rPr>
                <a:t>Information</a:t>
              </a:r>
            </a:p>
          </p:txBody>
        </p:sp>
        <p:sp>
          <p:nvSpPr>
            <p:cNvPr id="37" name="TextBox 36">
              <a:extLst>
                <a:ext uri="{FF2B5EF4-FFF2-40B4-BE49-F238E27FC236}">
                  <a16:creationId xmlns:a16="http://schemas.microsoft.com/office/drawing/2014/main" id="{DC1407FF-913A-4295-A6D1-408F88A3DA03}"/>
                </a:ext>
              </a:extLst>
            </p:cNvPr>
            <p:cNvSpPr txBox="1"/>
            <p:nvPr/>
          </p:nvSpPr>
          <p:spPr>
            <a:xfrm>
              <a:off x="3459933" y="2694708"/>
              <a:ext cx="1465465" cy="859952"/>
            </a:xfrm>
            <a:prstGeom prst="rect">
              <a:avLst/>
            </a:prstGeom>
            <a:noFill/>
          </p:spPr>
          <p:txBody>
            <a:bodyPr wrap="square" rtlCol="0">
              <a:spAutoFit/>
            </a:bodyPr>
            <a:lstStyle/>
            <a:p>
              <a:pPr algn="ctr">
                <a:lnSpc>
                  <a:spcPts val="1700"/>
                </a:lnSpc>
              </a:pPr>
              <a:r>
                <a:rPr lang="en-US" sz="1100" dirty="0">
                  <a:solidFill>
                    <a:schemeClr val="bg1"/>
                  </a:solidFill>
                  <a:latin typeface="Montserrat" panose="00000500000000000000" pitchFamily="50" charset="0"/>
                </a:rPr>
                <a:t>Lorem ipsum dolor sit </a:t>
              </a:r>
              <a:r>
                <a:rPr lang="en-US" sz="1100" dirty="0" err="1">
                  <a:solidFill>
                    <a:schemeClr val="bg1"/>
                  </a:solidFill>
                  <a:latin typeface="Montserrat" panose="00000500000000000000" pitchFamily="50" charset="0"/>
                </a:rPr>
                <a:t>amet</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adipiscing</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elit</a:t>
              </a:r>
              <a:r>
                <a:rPr lang="en-US" sz="1100" dirty="0">
                  <a:solidFill>
                    <a:schemeClr val="bg1"/>
                  </a:solidFill>
                  <a:latin typeface="Montserrat" panose="00000500000000000000" pitchFamily="50" charset="0"/>
                </a:rPr>
                <a:t>, do </a:t>
              </a:r>
              <a:r>
                <a:rPr lang="en-US" sz="1100" dirty="0" err="1">
                  <a:solidFill>
                    <a:schemeClr val="bg1"/>
                  </a:solidFill>
                  <a:latin typeface="Montserrat" panose="00000500000000000000" pitchFamily="50" charset="0"/>
                </a:rPr>
                <a:t>eiusmod</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tempor</a:t>
              </a:r>
              <a:r>
                <a:rPr lang="en-US" sz="1100" dirty="0">
                  <a:solidFill>
                    <a:schemeClr val="bg1"/>
                  </a:solidFill>
                  <a:latin typeface="Montserrat" panose="00000500000000000000" pitchFamily="50" charset="0"/>
                </a:rPr>
                <a:t> et.</a:t>
              </a:r>
            </a:p>
          </p:txBody>
        </p:sp>
      </p:grpSp>
      <p:grpSp>
        <p:nvGrpSpPr>
          <p:cNvPr id="39" name="Group 38">
            <a:extLst>
              <a:ext uri="{FF2B5EF4-FFF2-40B4-BE49-F238E27FC236}">
                <a16:creationId xmlns:a16="http://schemas.microsoft.com/office/drawing/2014/main" id="{9717FDE9-BF7D-4ED3-8BAC-45981BA3351C}"/>
              </a:ext>
            </a:extLst>
          </p:cNvPr>
          <p:cNvGrpSpPr/>
          <p:nvPr/>
        </p:nvGrpSpPr>
        <p:grpSpPr>
          <a:xfrm>
            <a:off x="5292490" y="1034260"/>
            <a:ext cx="1607017" cy="1310131"/>
            <a:chOff x="3459932" y="2359929"/>
            <a:chExt cx="1465466" cy="1194731"/>
          </a:xfrm>
        </p:grpSpPr>
        <p:sp>
          <p:nvSpPr>
            <p:cNvPr id="40" name="TextBox 39">
              <a:extLst>
                <a:ext uri="{FF2B5EF4-FFF2-40B4-BE49-F238E27FC236}">
                  <a16:creationId xmlns:a16="http://schemas.microsoft.com/office/drawing/2014/main" id="{E77479D3-A1DB-4C6F-B871-94F0F09EE891}"/>
                </a:ext>
              </a:extLst>
            </p:cNvPr>
            <p:cNvSpPr txBox="1"/>
            <p:nvPr/>
          </p:nvSpPr>
          <p:spPr>
            <a:xfrm>
              <a:off x="3459932" y="2359929"/>
              <a:ext cx="1465466" cy="338554"/>
            </a:xfrm>
            <a:prstGeom prst="rect">
              <a:avLst/>
            </a:prstGeom>
            <a:noFill/>
          </p:spPr>
          <p:txBody>
            <a:bodyPr wrap="none" rtlCol="0">
              <a:spAutoFit/>
            </a:bodyPr>
            <a:lstStyle/>
            <a:p>
              <a:pPr algn="ctr"/>
              <a:r>
                <a:rPr lang="en-US" sz="1600" b="1" dirty="0">
                  <a:solidFill>
                    <a:schemeClr val="bg1"/>
                  </a:solidFill>
                  <a:latin typeface="Montserrat" panose="00000500000000000000" pitchFamily="50" charset="0"/>
                </a:rPr>
                <a:t>Information</a:t>
              </a:r>
            </a:p>
          </p:txBody>
        </p:sp>
        <p:sp>
          <p:nvSpPr>
            <p:cNvPr id="41" name="TextBox 40">
              <a:extLst>
                <a:ext uri="{FF2B5EF4-FFF2-40B4-BE49-F238E27FC236}">
                  <a16:creationId xmlns:a16="http://schemas.microsoft.com/office/drawing/2014/main" id="{0C149533-37FC-448D-9888-1C45D2E9F2ED}"/>
                </a:ext>
              </a:extLst>
            </p:cNvPr>
            <p:cNvSpPr txBox="1"/>
            <p:nvPr/>
          </p:nvSpPr>
          <p:spPr>
            <a:xfrm>
              <a:off x="3459933" y="2694708"/>
              <a:ext cx="1465465" cy="859952"/>
            </a:xfrm>
            <a:prstGeom prst="rect">
              <a:avLst/>
            </a:prstGeom>
            <a:noFill/>
          </p:spPr>
          <p:txBody>
            <a:bodyPr wrap="square" rtlCol="0">
              <a:spAutoFit/>
            </a:bodyPr>
            <a:lstStyle/>
            <a:p>
              <a:pPr algn="ctr">
                <a:lnSpc>
                  <a:spcPts val="1700"/>
                </a:lnSpc>
              </a:pPr>
              <a:r>
                <a:rPr lang="en-US" sz="1100" dirty="0">
                  <a:solidFill>
                    <a:schemeClr val="bg1"/>
                  </a:solidFill>
                  <a:latin typeface="Montserrat" panose="00000500000000000000" pitchFamily="50" charset="0"/>
                </a:rPr>
                <a:t>Lorem ipsum dolor sit </a:t>
              </a:r>
              <a:r>
                <a:rPr lang="en-US" sz="1100" dirty="0" err="1">
                  <a:solidFill>
                    <a:schemeClr val="bg1"/>
                  </a:solidFill>
                  <a:latin typeface="Montserrat" panose="00000500000000000000" pitchFamily="50" charset="0"/>
                </a:rPr>
                <a:t>amet</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adipiscing</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elit</a:t>
              </a:r>
              <a:r>
                <a:rPr lang="en-US" sz="1100" dirty="0">
                  <a:solidFill>
                    <a:schemeClr val="bg1"/>
                  </a:solidFill>
                  <a:latin typeface="Montserrat" panose="00000500000000000000" pitchFamily="50" charset="0"/>
                </a:rPr>
                <a:t>, do </a:t>
              </a:r>
              <a:r>
                <a:rPr lang="en-US" sz="1100" dirty="0" err="1">
                  <a:solidFill>
                    <a:schemeClr val="bg1"/>
                  </a:solidFill>
                  <a:latin typeface="Montserrat" panose="00000500000000000000" pitchFamily="50" charset="0"/>
                </a:rPr>
                <a:t>eiusmod</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tempor</a:t>
              </a:r>
              <a:r>
                <a:rPr lang="en-US" sz="1100" dirty="0">
                  <a:solidFill>
                    <a:schemeClr val="bg1"/>
                  </a:solidFill>
                  <a:latin typeface="Montserrat" panose="00000500000000000000" pitchFamily="50" charset="0"/>
                </a:rPr>
                <a:t> et.</a:t>
              </a:r>
            </a:p>
          </p:txBody>
        </p:sp>
      </p:grpSp>
      <p:grpSp>
        <p:nvGrpSpPr>
          <p:cNvPr id="42" name="Group 41">
            <a:extLst>
              <a:ext uri="{FF2B5EF4-FFF2-40B4-BE49-F238E27FC236}">
                <a16:creationId xmlns:a16="http://schemas.microsoft.com/office/drawing/2014/main" id="{A08782D9-05C8-4E28-98DF-1CD2B9F4B12B}"/>
              </a:ext>
            </a:extLst>
          </p:cNvPr>
          <p:cNvGrpSpPr/>
          <p:nvPr/>
        </p:nvGrpSpPr>
        <p:grpSpPr>
          <a:xfrm>
            <a:off x="7379672" y="2378672"/>
            <a:ext cx="1607017" cy="1310131"/>
            <a:chOff x="3459932" y="2359929"/>
            <a:chExt cx="1465466" cy="1194731"/>
          </a:xfrm>
        </p:grpSpPr>
        <p:sp>
          <p:nvSpPr>
            <p:cNvPr id="43" name="TextBox 42">
              <a:extLst>
                <a:ext uri="{FF2B5EF4-FFF2-40B4-BE49-F238E27FC236}">
                  <a16:creationId xmlns:a16="http://schemas.microsoft.com/office/drawing/2014/main" id="{70034E1C-2779-4FFC-A016-0D6E9FE3DBF5}"/>
                </a:ext>
              </a:extLst>
            </p:cNvPr>
            <p:cNvSpPr txBox="1"/>
            <p:nvPr/>
          </p:nvSpPr>
          <p:spPr>
            <a:xfrm>
              <a:off x="3459932" y="2359929"/>
              <a:ext cx="1465466" cy="338554"/>
            </a:xfrm>
            <a:prstGeom prst="rect">
              <a:avLst/>
            </a:prstGeom>
            <a:noFill/>
          </p:spPr>
          <p:txBody>
            <a:bodyPr wrap="none" rtlCol="0">
              <a:spAutoFit/>
            </a:bodyPr>
            <a:lstStyle/>
            <a:p>
              <a:pPr algn="ctr"/>
              <a:r>
                <a:rPr lang="en-US" sz="1600" b="1" dirty="0">
                  <a:solidFill>
                    <a:schemeClr val="bg1"/>
                  </a:solidFill>
                  <a:latin typeface="Montserrat" panose="00000500000000000000" pitchFamily="50" charset="0"/>
                </a:rPr>
                <a:t>Information</a:t>
              </a:r>
            </a:p>
          </p:txBody>
        </p:sp>
        <p:sp>
          <p:nvSpPr>
            <p:cNvPr id="44" name="TextBox 43">
              <a:extLst>
                <a:ext uri="{FF2B5EF4-FFF2-40B4-BE49-F238E27FC236}">
                  <a16:creationId xmlns:a16="http://schemas.microsoft.com/office/drawing/2014/main" id="{631ABA56-603D-4E2D-BA19-E23030A87839}"/>
                </a:ext>
              </a:extLst>
            </p:cNvPr>
            <p:cNvSpPr txBox="1"/>
            <p:nvPr/>
          </p:nvSpPr>
          <p:spPr>
            <a:xfrm>
              <a:off x="3459933" y="2694708"/>
              <a:ext cx="1465465" cy="859952"/>
            </a:xfrm>
            <a:prstGeom prst="rect">
              <a:avLst/>
            </a:prstGeom>
            <a:noFill/>
          </p:spPr>
          <p:txBody>
            <a:bodyPr wrap="square" rtlCol="0">
              <a:spAutoFit/>
            </a:bodyPr>
            <a:lstStyle/>
            <a:p>
              <a:pPr algn="ctr">
                <a:lnSpc>
                  <a:spcPts val="1700"/>
                </a:lnSpc>
              </a:pPr>
              <a:r>
                <a:rPr lang="en-US" sz="1100" dirty="0">
                  <a:solidFill>
                    <a:schemeClr val="bg1"/>
                  </a:solidFill>
                  <a:latin typeface="Montserrat" panose="00000500000000000000" pitchFamily="50" charset="0"/>
                </a:rPr>
                <a:t>Lorem ipsum dolor sit </a:t>
              </a:r>
              <a:r>
                <a:rPr lang="en-US" sz="1100" dirty="0" err="1">
                  <a:solidFill>
                    <a:schemeClr val="bg1"/>
                  </a:solidFill>
                  <a:latin typeface="Montserrat" panose="00000500000000000000" pitchFamily="50" charset="0"/>
                </a:rPr>
                <a:t>amet</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adipiscing</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elit</a:t>
              </a:r>
              <a:r>
                <a:rPr lang="en-US" sz="1100" dirty="0">
                  <a:solidFill>
                    <a:schemeClr val="bg1"/>
                  </a:solidFill>
                  <a:latin typeface="Montserrat" panose="00000500000000000000" pitchFamily="50" charset="0"/>
                </a:rPr>
                <a:t>, do </a:t>
              </a:r>
              <a:r>
                <a:rPr lang="en-US" sz="1100" dirty="0" err="1">
                  <a:solidFill>
                    <a:schemeClr val="bg1"/>
                  </a:solidFill>
                  <a:latin typeface="Montserrat" panose="00000500000000000000" pitchFamily="50" charset="0"/>
                </a:rPr>
                <a:t>eiusmod</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tempor</a:t>
              </a:r>
              <a:r>
                <a:rPr lang="en-US" sz="1100" dirty="0">
                  <a:solidFill>
                    <a:schemeClr val="bg1"/>
                  </a:solidFill>
                  <a:latin typeface="Montserrat" panose="00000500000000000000" pitchFamily="50" charset="0"/>
                </a:rPr>
                <a:t> et.</a:t>
              </a:r>
            </a:p>
          </p:txBody>
        </p:sp>
      </p:grpSp>
      <p:grpSp>
        <p:nvGrpSpPr>
          <p:cNvPr id="45" name="Group 44">
            <a:extLst>
              <a:ext uri="{FF2B5EF4-FFF2-40B4-BE49-F238E27FC236}">
                <a16:creationId xmlns:a16="http://schemas.microsoft.com/office/drawing/2014/main" id="{8F8A76DF-3F88-4E4D-AE8A-95DA1D5089D0}"/>
              </a:ext>
            </a:extLst>
          </p:cNvPr>
          <p:cNvGrpSpPr/>
          <p:nvPr/>
        </p:nvGrpSpPr>
        <p:grpSpPr>
          <a:xfrm>
            <a:off x="9540021" y="1034260"/>
            <a:ext cx="1607017" cy="1310131"/>
            <a:chOff x="3459932" y="2359929"/>
            <a:chExt cx="1465466" cy="1194731"/>
          </a:xfrm>
        </p:grpSpPr>
        <p:sp>
          <p:nvSpPr>
            <p:cNvPr id="46" name="TextBox 45">
              <a:extLst>
                <a:ext uri="{FF2B5EF4-FFF2-40B4-BE49-F238E27FC236}">
                  <a16:creationId xmlns:a16="http://schemas.microsoft.com/office/drawing/2014/main" id="{E05D9D75-BC83-4C96-9903-A1EC722F7619}"/>
                </a:ext>
              </a:extLst>
            </p:cNvPr>
            <p:cNvSpPr txBox="1"/>
            <p:nvPr/>
          </p:nvSpPr>
          <p:spPr>
            <a:xfrm>
              <a:off x="3459932" y="2359929"/>
              <a:ext cx="1465466" cy="338554"/>
            </a:xfrm>
            <a:prstGeom prst="rect">
              <a:avLst/>
            </a:prstGeom>
            <a:noFill/>
          </p:spPr>
          <p:txBody>
            <a:bodyPr wrap="none" rtlCol="0">
              <a:spAutoFit/>
            </a:bodyPr>
            <a:lstStyle/>
            <a:p>
              <a:pPr algn="ctr"/>
              <a:r>
                <a:rPr lang="en-US" sz="1600" b="1" dirty="0">
                  <a:solidFill>
                    <a:schemeClr val="bg1"/>
                  </a:solidFill>
                  <a:latin typeface="Montserrat" panose="00000500000000000000" pitchFamily="50" charset="0"/>
                </a:rPr>
                <a:t>Information</a:t>
              </a:r>
            </a:p>
          </p:txBody>
        </p:sp>
        <p:sp>
          <p:nvSpPr>
            <p:cNvPr id="47" name="TextBox 46">
              <a:extLst>
                <a:ext uri="{FF2B5EF4-FFF2-40B4-BE49-F238E27FC236}">
                  <a16:creationId xmlns:a16="http://schemas.microsoft.com/office/drawing/2014/main" id="{520F9577-8C7A-48E5-8437-6022363E831B}"/>
                </a:ext>
              </a:extLst>
            </p:cNvPr>
            <p:cNvSpPr txBox="1"/>
            <p:nvPr/>
          </p:nvSpPr>
          <p:spPr>
            <a:xfrm>
              <a:off x="3459933" y="2694708"/>
              <a:ext cx="1465465" cy="859952"/>
            </a:xfrm>
            <a:prstGeom prst="rect">
              <a:avLst/>
            </a:prstGeom>
            <a:noFill/>
          </p:spPr>
          <p:txBody>
            <a:bodyPr wrap="square" rtlCol="0">
              <a:spAutoFit/>
            </a:bodyPr>
            <a:lstStyle/>
            <a:p>
              <a:pPr algn="ctr">
                <a:lnSpc>
                  <a:spcPts val="1700"/>
                </a:lnSpc>
              </a:pPr>
              <a:r>
                <a:rPr lang="en-US" sz="1100" dirty="0">
                  <a:solidFill>
                    <a:schemeClr val="bg1"/>
                  </a:solidFill>
                  <a:latin typeface="Montserrat" panose="00000500000000000000" pitchFamily="50" charset="0"/>
                </a:rPr>
                <a:t>Lorem ipsum dolor sit </a:t>
              </a:r>
              <a:r>
                <a:rPr lang="en-US" sz="1100" dirty="0" err="1">
                  <a:solidFill>
                    <a:schemeClr val="bg1"/>
                  </a:solidFill>
                  <a:latin typeface="Montserrat" panose="00000500000000000000" pitchFamily="50" charset="0"/>
                </a:rPr>
                <a:t>amet</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adipiscing</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elit</a:t>
              </a:r>
              <a:r>
                <a:rPr lang="en-US" sz="1100" dirty="0">
                  <a:solidFill>
                    <a:schemeClr val="bg1"/>
                  </a:solidFill>
                  <a:latin typeface="Montserrat" panose="00000500000000000000" pitchFamily="50" charset="0"/>
                </a:rPr>
                <a:t>, do </a:t>
              </a:r>
              <a:r>
                <a:rPr lang="en-US" sz="1100" dirty="0" err="1">
                  <a:solidFill>
                    <a:schemeClr val="bg1"/>
                  </a:solidFill>
                  <a:latin typeface="Montserrat" panose="00000500000000000000" pitchFamily="50" charset="0"/>
                </a:rPr>
                <a:t>eiusmod</a:t>
              </a:r>
              <a:r>
                <a:rPr lang="en-US" sz="1100" dirty="0">
                  <a:solidFill>
                    <a:schemeClr val="bg1"/>
                  </a:solidFill>
                  <a:latin typeface="Montserrat" panose="00000500000000000000" pitchFamily="50" charset="0"/>
                </a:rPr>
                <a:t> </a:t>
              </a:r>
              <a:r>
                <a:rPr lang="en-US" sz="1100" dirty="0" err="1">
                  <a:solidFill>
                    <a:schemeClr val="bg1"/>
                  </a:solidFill>
                  <a:latin typeface="Montserrat" panose="00000500000000000000" pitchFamily="50" charset="0"/>
                </a:rPr>
                <a:t>tempor</a:t>
              </a:r>
              <a:r>
                <a:rPr lang="en-US" sz="1100" dirty="0">
                  <a:solidFill>
                    <a:schemeClr val="bg1"/>
                  </a:solidFill>
                  <a:latin typeface="Montserrat" panose="00000500000000000000" pitchFamily="50" charset="0"/>
                </a:rPr>
                <a:t> et.</a:t>
              </a:r>
            </a:p>
          </p:txBody>
        </p:sp>
      </p:grpSp>
      <p:sp>
        <p:nvSpPr>
          <p:cNvPr id="54" name="Freeform: Shape 53">
            <a:extLst>
              <a:ext uri="{FF2B5EF4-FFF2-40B4-BE49-F238E27FC236}">
                <a16:creationId xmlns:a16="http://schemas.microsoft.com/office/drawing/2014/main" id="{85502DEF-DF21-447B-B51B-8F8003945028}"/>
              </a:ext>
            </a:extLst>
          </p:cNvPr>
          <p:cNvSpPr/>
          <p:nvPr/>
        </p:nvSpPr>
        <p:spPr>
          <a:xfrm>
            <a:off x="1632310" y="2690983"/>
            <a:ext cx="432320" cy="355120"/>
          </a:xfrm>
          <a:custGeom>
            <a:avLst/>
            <a:gdLst>
              <a:gd name="connsiteX0" fmla="*/ 1112332 w 2226365"/>
              <a:gd name="connsiteY0" fmla="*/ 1593740 h 1828800"/>
              <a:gd name="connsiteX1" fmla="*/ 242790 w 2226365"/>
              <a:gd name="connsiteY1" fmla="*/ 1593673 h 1828800"/>
              <a:gd name="connsiteX2" fmla="*/ 77 w 2226365"/>
              <a:gd name="connsiteY2" fmla="*/ 1350098 h 1828800"/>
              <a:gd name="connsiteX3" fmla="*/ 77 w 2226365"/>
              <a:gd name="connsiteY3" fmla="*/ 242084 h 1828800"/>
              <a:gd name="connsiteX4" fmla="*/ 241796 w 2226365"/>
              <a:gd name="connsiteY4" fmla="*/ 99 h 1828800"/>
              <a:gd name="connsiteX5" fmla="*/ 1988300 w 2226365"/>
              <a:gd name="connsiteY5" fmla="*/ 99 h 1828800"/>
              <a:gd name="connsiteX6" fmla="*/ 2229755 w 2226365"/>
              <a:gd name="connsiteY6" fmla="*/ 242349 h 1828800"/>
              <a:gd name="connsiteX7" fmla="*/ 2229755 w 2226365"/>
              <a:gd name="connsiteY7" fmla="*/ 1352881 h 1828800"/>
              <a:gd name="connsiteX8" fmla="*/ 1989294 w 2226365"/>
              <a:gd name="connsiteY8" fmla="*/ 1593673 h 1828800"/>
              <a:gd name="connsiteX9" fmla="*/ 1112332 w 2226365"/>
              <a:gd name="connsiteY9" fmla="*/ 1593740 h 1828800"/>
              <a:gd name="connsiteX10" fmla="*/ 1115578 w 2226365"/>
              <a:gd name="connsiteY10" fmla="*/ 1431268 h 1828800"/>
              <a:gd name="connsiteX11" fmla="*/ 1823642 w 2226365"/>
              <a:gd name="connsiteY11" fmla="*/ 1431268 h 1828800"/>
              <a:gd name="connsiteX12" fmla="*/ 1975181 w 2226365"/>
              <a:gd name="connsiteY12" fmla="*/ 1431135 h 1828800"/>
              <a:gd name="connsiteX13" fmla="*/ 2067349 w 2226365"/>
              <a:gd name="connsiteY13" fmla="*/ 1338436 h 1828800"/>
              <a:gd name="connsiteX14" fmla="*/ 2067416 w 2226365"/>
              <a:gd name="connsiteY14" fmla="*/ 1323528 h 1828800"/>
              <a:gd name="connsiteX15" fmla="*/ 2067416 w 2226365"/>
              <a:gd name="connsiteY15" fmla="*/ 270112 h 1828800"/>
              <a:gd name="connsiteX16" fmla="*/ 2067217 w 2226365"/>
              <a:gd name="connsiteY16" fmla="*/ 247783 h 1828800"/>
              <a:gd name="connsiteX17" fmla="*/ 1982602 w 2226365"/>
              <a:gd name="connsiteY17" fmla="*/ 162704 h 1828800"/>
              <a:gd name="connsiteX18" fmla="*/ 1965241 w 2226365"/>
              <a:gd name="connsiteY18" fmla="*/ 162505 h 1828800"/>
              <a:gd name="connsiteX19" fmla="*/ 265849 w 2226365"/>
              <a:gd name="connsiteY19" fmla="*/ 162505 h 1828800"/>
              <a:gd name="connsiteX20" fmla="*/ 226357 w 2226365"/>
              <a:gd name="connsiteY20" fmla="*/ 165818 h 1828800"/>
              <a:gd name="connsiteX21" fmla="*/ 165662 w 2226365"/>
              <a:gd name="connsiteY21" fmla="*/ 226977 h 1828800"/>
              <a:gd name="connsiteX22" fmla="*/ 162548 w 2226365"/>
              <a:gd name="connsiteY22" fmla="*/ 268920 h 1828800"/>
              <a:gd name="connsiteX23" fmla="*/ 162548 w 2226365"/>
              <a:gd name="connsiteY23" fmla="*/ 1073923 h 1828800"/>
              <a:gd name="connsiteX24" fmla="*/ 162548 w 2226365"/>
              <a:gd name="connsiteY24" fmla="*/ 1337310 h 1828800"/>
              <a:gd name="connsiteX25" fmla="*/ 201178 w 2226365"/>
              <a:gd name="connsiteY25" fmla="*/ 1418413 h 1828800"/>
              <a:gd name="connsiteX26" fmla="*/ 263463 w 2226365"/>
              <a:gd name="connsiteY26" fmla="*/ 1431334 h 1828800"/>
              <a:gd name="connsiteX27" fmla="*/ 1115578 w 2226365"/>
              <a:gd name="connsiteY27" fmla="*/ 1431268 h 1828800"/>
              <a:gd name="connsiteX28" fmla="*/ 1348353 w 2226365"/>
              <a:gd name="connsiteY28" fmla="*/ 1832213 h 1828800"/>
              <a:gd name="connsiteX29" fmla="*/ 1434624 w 2226365"/>
              <a:gd name="connsiteY29" fmla="*/ 1751043 h 1828800"/>
              <a:gd name="connsiteX30" fmla="*/ 1348220 w 2226365"/>
              <a:gd name="connsiteY30" fmla="*/ 1669940 h 1828800"/>
              <a:gd name="connsiteX31" fmla="*/ 881479 w 2226365"/>
              <a:gd name="connsiteY31" fmla="*/ 1669940 h 1828800"/>
              <a:gd name="connsiteX32" fmla="*/ 795207 w 2226365"/>
              <a:gd name="connsiteY32" fmla="*/ 1751109 h 1828800"/>
              <a:gd name="connsiteX33" fmla="*/ 881545 w 2226365"/>
              <a:gd name="connsiteY33" fmla="*/ 1832279 h 1828800"/>
              <a:gd name="connsiteX34" fmla="*/ 1114916 w 2226365"/>
              <a:gd name="connsiteY34" fmla="*/ 1832345 h 1828800"/>
              <a:gd name="connsiteX35" fmla="*/ 1348353 w 2226365"/>
              <a:gd name="connsiteY35" fmla="*/ 1832213 h 1828800"/>
              <a:gd name="connsiteX36" fmla="*/ 1827883 w 2226365"/>
              <a:gd name="connsiteY36" fmla="*/ 878056 h 1828800"/>
              <a:gd name="connsiteX37" fmla="*/ 1832852 w 2226365"/>
              <a:gd name="connsiteY37" fmla="*/ 878056 h 1828800"/>
              <a:gd name="connsiteX38" fmla="*/ 1879169 w 2226365"/>
              <a:gd name="connsiteY38" fmla="*/ 863015 h 1828800"/>
              <a:gd name="connsiteX39" fmla="*/ 1908920 w 2226365"/>
              <a:gd name="connsiteY39" fmla="*/ 769719 h 1828800"/>
              <a:gd name="connsiteX40" fmla="*/ 1827883 w 2226365"/>
              <a:gd name="connsiteY40" fmla="*/ 711542 h 1828800"/>
              <a:gd name="connsiteX41" fmla="*/ 1653948 w 2226365"/>
              <a:gd name="connsiteY41" fmla="*/ 711078 h 1828800"/>
              <a:gd name="connsiteX42" fmla="*/ 1490615 w 2226365"/>
              <a:gd name="connsiteY42" fmla="*/ 804308 h 1828800"/>
              <a:gd name="connsiteX43" fmla="*/ 1371080 w 2226365"/>
              <a:gd name="connsiteY43" fmla="*/ 1004879 h 1828800"/>
              <a:gd name="connsiteX44" fmla="*/ 1336161 w 2226365"/>
              <a:gd name="connsiteY44" fmla="*/ 1005409 h 1828800"/>
              <a:gd name="connsiteX45" fmla="*/ 1019831 w 2226365"/>
              <a:gd name="connsiteY45" fmla="*/ 479629 h 1828800"/>
              <a:gd name="connsiteX46" fmla="*/ 732193 w 2226365"/>
              <a:gd name="connsiteY46" fmla="*/ 481683 h 1828800"/>
              <a:gd name="connsiteX47" fmla="*/ 605767 w 2226365"/>
              <a:gd name="connsiteY47" fmla="*/ 692658 h 1828800"/>
              <a:gd name="connsiteX48" fmla="*/ 564420 w 2226365"/>
              <a:gd name="connsiteY48" fmla="*/ 716512 h 1828800"/>
              <a:gd name="connsiteX49" fmla="*/ 407912 w 2226365"/>
              <a:gd name="connsiteY49" fmla="*/ 716181 h 1828800"/>
              <a:gd name="connsiteX50" fmla="*/ 318062 w 2226365"/>
              <a:gd name="connsiteY50" fmla="*/ 797947 h 1828800"/>
              <a:gd name="connsiteX51" fmla="*/ 407912 w 2226365"/>
              <a:gd name="connsiteY51" fmla="*/ 882429 h 1828800"/>
              <a:gd name="connsiteX52" fmla="*/ 574360 w 2226365"/>
              <a:gd name="connsiteY52" fmla="*/ 882760 h 1828800"/>
              <a:gd name="connsiteX53" fmla="*/ 739680 w 2226365"/>
              <a:gd name="connsiteY53" fmla="*/ 788537 h 1828800"/>
              <a:gd name="connsiteX54" fmla="*/ 861865 w 2226365"/>
              <a:gd name="connsiteY54" fmla="*/ 583725 h 1828800"/>
              <a:gd name="connsiteX55" fmla="*/ 890225 w 2226365"/>
              <a:gd name="connsiteY55" fmla="*/ 582996 h 1828800"/>
              <a:gd name="connsiteX56" fmla="*/ 960462 w 2226365"/>
              <a:gd name="connsiteY56" fmla="*/ 700212 h 1828800"/>
              <a:gd name="connsiteX57" fmla="*/ 1206488 w 2226365"/>
              <a:gd name="connsiteY57" fmla="*/ 1111692 h 1828800"/>
              <a:gd name="connsiteX58" fmla="*/ 1307006 w 2226365"/>
              <a:gd name="connsiteY58" fmla="*/ 1195247 h 1828800"/>
              <a:gd name="connsiteX59" fmla="*/ 1490217 w 2226365"/>
              <a:gd name="connsiteY59" fmla="*/ 1125010 h 1828800"/>
              <a:gd name="connsiteX60" fmla="*/ 1621149 w 2226365"/>
              <a:gd name="connsiteY60" fmla="*/ 908072 h 1828800"/>
              <a:gd name="connsiteX61" fmla="*/ 1673694 w 2226365"/>
              <a:gd name="connsiteY61" fmla="*/ 877592 h 1828800"/>
              <a:gd name="connsiteX62" fmla="*/ 1745719 w 2226365"/>
              <a:gd name="connsiteY62" fmla="*/ 878122 h 1828800"/>
              <a:gd name="connsiteX63" fmla="*/ 1827883 w 2226365"/>
              <a:gd name="connsiteY63" fmla="*/ 878056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226365" h="1828800">
                <a:moveTo>
                  <a:pt x="1112332" y="1593740"/>
                </a:moveTo>
                <a:cubicBezTo>
                  <a:pt x="822506" y="1593740"/>
                  <a:pt x="532681" y="1593872"/>
                  <a:pt x="242790" y="1593673"/>
                </a:cubicBezTo>
                <a:cubicBezTo>
                  <a:pt x="103178" y="1593607"/>
                  <a:pt x="77" y="1490108"/>
                  <a:pt x="77" y="1350098"/>
                </a:cubicBezTo>
                <a:cubicBezTo>
                  <a:pt x="10" y="980760"/>
                  <a:pt x="-56" y="611422"/>
                  <a:pt x="77" y="242084"/>
                </a:cubicBezTo>
                <a:cubicBezTo>
                  <a:pt x="143" y="103930"/>
                  <a:pt x="103775" y="99"/>
                  <a:pt x="241796" y="99"/>
                </a:cubicBezTo>
                <a:cubicBezTo>
                  <a:pt x="823964" y="-33"/>
                  <a:pt x="1406132" y="-33"/>
                  <a:pt x="1988300" y="99"/>
                </a:cubicBezTo>
                <a:cubicBezTo>
                  <a:pt x="2126256" y="99"/>
                  <a:pt x="2229689" y="103930"/>
                  <a:pt x="2229755" y="242349"/>
                </a:cubicBezTo>
                <a:cubicBezTo>
                  <a:pt x="2229887" y="612549"/>
                  <a:pt x="2229887" y="982682"/>
                  <a:pt x="2229755" y="1352881"/>
                </a:cubicBezTo>
                <a:cubicBezTo>
                  <a:pt x="2229689" y="1489379"/>
                  <a:pt x="2125659" y="1593607"/>
                  <a:pt x="1989294" y="1593673"/>
                </a:cubicBezTo>
                <a:cubicBezTo>
                  <a:pt x="1696951" y="1593806"/>
                  <a:pt x="1404675" y="1593740"/>
                  <a:pt x="1112332" y="1593740"/>
                </a:cubicBezTo>
                <a:close/>
                <a:moveTo>
                  <a:pt x="1115578" y="1431268"/>
                </a:moveTo>
                <a:cubicBezTo>
                  <a:pt x="1351600" y="1431268"/>
                  <a:pt x="1587621" y="1431268"/>
                  <a:pt x="1823642" y="1431268"/>
                </a:cubicBezTo>
                <a:cubicBezTo>
                  <a:pt x="1874133" y="1431268"/>
                  <a:pt x="1924690" y="1431665"/>
                  <a:pt x="1975181" y="1431135"/>
                </a:cubicBezTo>
                <a:cubicBezTo>
                  <a:pt x="2035279" y="1430539"/>
                  <a:pt x="2066356" y="1398866"/>
                  <a:pt x="2067349" y="1338436"/>
                </a:cubicBezTo>
                <a:cubicBezTo>
                  <a:pt x="2067416" y="1333467"/>
                  <a:pt x="2067416" y="1328497"/>
                  <a:pt x="2067416" y="1323528"/>
                </a:cubicBezTo>
                <a:cubicBezTo>
                  <a:pt x="2067416" y="972411"/>
                  <a:pt x="2067416" y="621229"/>
                  <a:pt x="2067416" y="270112"/>
                </a:cubicBezTo>
                <a:cubicBezTo>
                  <a:pt x="2067416" y="262691"/>
                  <a:pt x="2067615" y="255204"/>
                  <a:pt x="2067217" y="247783"/>
                </a:cubicBezTo>
                <a:cubicBezTo>
                  <a:pt x="2064500" y="195768"/>
                  <a:pt x="2034351" y="165486"/>
                  <a:pt x="1982602" y="162704"/>
                </a:cubicBezTo>
                <a:cubicBezTo>
                  <a:pt x="1976837" y="162372"/>
                  <a:pt x="1971006" y="162505"/>
                  <a:pt x="1965241" y="162505"/>
                </a:cubicBezTo>
                <a:cubicBezTo>
                  <a:pt x="1398777" y="162505"/>
                  <a:pt x="832313" y="162505"/>
                  <a:pt x="265849" y="162505"/>
                </a:cubicBezTo>
                <a:cubicBezTo>
                  <a:pt x="252597" y="162505"/>
                  <a:pt x="239543" y="162770"/>
                  <a:pt x="226357" y="165818"/>
                </a:cubicBezTo>
                <a:cubicBezTo>
                  <a:pt x="193028" y="173504"/>
                  <a:pt x="173150" y="193647"/>
                  <a:pt x="165662" y="226977"/>
                </a:cubicBezTo>
                <a:cubicBezTo>
                  <a:pt x="162482" y="240958"/>
                  <a:pt x="162548" y="254872"/>
                  <a:pt x="162548" y="268920"/>
                </a:cubicBezTo>
                <a:cubicBezTo>
                  <a:pt x="162482" y="537276"/>
                  <a:pt x="162548" y="805567"/>
                  <a:pt x="162548" y="1073923"/>
                </a:cubicBezTo>
                <a:cubicBezTo>
                  <a:pt x="162548" y="1161719"/>
                  <a:pt x="162614" y="1249514"/>
                  <a:pt x="162548" y="1337310"/>
                </a:cubicBezTo>
                <a:cubicBezTo>
                  <a:pt x="162482" y="1370639"/>
                  <a:pt x="171228" y="1399728"/>
                  <a:pt x="201178" y="1418413"/>
                </a:cubicBezTo>
                <a:cubicBezTo>
                  <a:pt x="220195" y="1430274"/>
                  <a:pt x="241730" y="1431334"/>
                  <a:pt x="263463" y="1431334"/>
                </a:cubicBezTo>
                <a:cubicBezTo>
                  <a:pt x="547458" y="1431268"/>
                  <a:pt x="831518" y="1431268"/>
                  <a:pt x="1115578" y="1431268"/>
                </a:cubicBezTo>
                <a:close/>
                <a:moveTo>
                  <a:pt x="1348353" y="1832213"/>
                </a:moveTo>
                <a:cubicBezTo>
                  <a:pt x="1400831" y="1832080"/>
                  <a:pt x="1434624" y="1800010"/>
                  <a:pt x="1434624" y="1751043"/>
                </a:cubicBezTo>
                <a:cubicBezTo>
                  <a:pt x="1434624" y="1702142"/>
                  <a:pt x="1400699" y="1669940"/>
                  <a:pt x="1348220" y="1669940"/>
                </a:cubicBezTo>
                <a:cubicBezTo>
                  <a:pt x="1192640" y="1669807"/>
                  <a:pt x="1037059" y="1669807"/>
                  <a:pt x="881479" y="1669940"/>
                </a:cubicBezTo>
                <a:cubicBezTo>
                  <a:pt x="828801" y="1670006"/>
                  <a:pt x="795207" y="1701811"/>
                  <a:pt x="795207" y="1751109"/>
                </a:cubicBezTo>
                <a:cubicBezTo>
                  <a:pt x="795207" y="1800142"/>
                  <a:pt x="829066" y="1832146"/>
                  <a:pt x="881545" y="1832279"/>
                </a:cubicBezTo>
                <a:cubicBezTo>
                  <a:pt x="959335" y="1832477"/>
                  <a:pt x="1037125" y="1832345"/>
                  <a:pt x="1114916" y="1832345"/>
                </a:cubicBezTo>
                <a:cubicBezTo>
                  <a:pt x="1192772" y="1832279"/>
                  <a:pt x="1270562" y="1832411"/>
                  <a:pt x="1348353" y="1832213"/>
                </a:cubicBezTo>
                <a:close/>
                <a:moveTo>
                  <a:pt x="1827883" y="878056"/>
                </a:moveTo>
                <a:cubicBezTo>
                  <a:pt x="1829539" y="878056"/>
                  <a:pt x="1831196" y="877990"/>
                  <a:pt x="1832852" y="878056"/>
                </a:cubicBezTo>
                <a:cubicBezTo>
                  <a:pt x="1850080" y="878586"/>
                  <a:pt x="1865386" y="873086"/>
                  <a:pt x="1879169" y="863015"/>
                </a:cubicBezTo>
                <a:cubicBezTo>
                  <a:pt x="1907661" y="842209"/>
                  <a:pt x="1919720" y="804440"/>
                  <a:pt x="1908920" y="769719"/>
                </a:cubicBezTo>
                <a:cubicBezTo>
                  <a:pt x="1898252" y="735198"/>
                  <a:pt x="1867175" y="712006"/>
                  <a:pt x="1827883" y="711542"/>
                </a:cubicBezTo>
                <a:cubicBezTo>
                  <a:pt x="1769904" y="710747"/>
                  <a:pt x="1711926" y="712006"/>
                  <a:pt x="1653948" y="711078"/>
                </a:cubicBezTo>
                <a:cubicBezTo>
                  <a:pt x="1580730" y="709952"/>
                  <a:pt x="1527257" y="741227"/>
                  <a:pt x="1490615" y="804308"/>
                </a:cubicBezTo>
                <a:cubicBezTo>
                  <a:pt x="1451521" y="871629"/>
                  <a:pt x="1411036" y="938088"/>
                  <a:pt x="1371080" y="1004879"/>
                </a:cubicBezTo>
                <a:cubicBezTo>
                  <a:pt x="1353587" y="1034100"/>
                  <a:pt x="1353389" y="1034100"/>
                  <a:pt x="1336161" y="1005409"/>
                </a:cubicBezTo>
                <a:cubicBezTo>
                  <a:pt x="1230806" y="830083"/>
                  <a:pt x="1126313" y="654227"/>
                  <a:pt x="1019831" y="479629"/>
                </a:cubicBezTo>
                <a:cubicBezTo>
                  <a:pt x="948601" y="362878"/>
                  <a:pt x="803092" y="364667"/>
                  <a:pt x="732193" y="481683"/>
                </a:cubicBezTo>
                <a:cubicBezTo>
                  <a:pt x="689720" y="551788"/>
                  <a:pt x="647180" y="621891"/>
                  <a:pt x="605767" y="692658"/>
                </a:cubicBezTo>
                <a:cubicBezTo>
                  <a:pt x="595762" y="709753"/>
                  <a:pt x="584630" y="717042"/>
                  <a:pt x="564420" y="716512"/>
                </a:cubicBezTo>
                <a:cubicBezTo>
                  <a:pt x="512273" y="715121"/>
                  <a:pt x="460059" y="715783"/>
                  <a:pt x="407912" y="716181"/>
                </a:cubicBezTo>
                <a:cubicBezTo>
                  <a:pt x="353910" y="716578"/>
                  <a:pt x="318460" y="749178"/>
                  <a:pt x="318062" y="797947"/>
                </a:cubicBezTo>
                <a:cubicBezTo>
                  <a:pt x="317665" y="848106"/>
                  <a:pt x="353446" y="882032"/>
                  <a:pt x="407912" y="882429"/>
                </a:cubicBezTo>
                <a:cubicBezTo>
                  <a:pt x="463373" y="882827"/>
                  <a:pt x="518899" y="881700"/>
                  <a:pt x="574360" y="882760"/>
                </a:cubicBezTo>
                <a:cubicBezTo>
                  <a:pt x="648572" y="884086"/>
                  <a:pt x="702574" y="852545"/>
                  <a:pt x="739680" y="788537"/>
                </a:cubicBezTo>
                <a:cubicBezTo>
                  <a:pt x="779503" y="719759"/>
                  <a:pt x="820982" y="651908"/>
                  <a:pt x="861865" y="583725"/>
                </a:cubicBezTo>
                <a:cubicBezTo>
                  <a:pt x="875515" y="560931"/>
                  <a:pt x="876907" y="560931"/>
                  <a:pt x="890225" y="582996"/>
                </a:cubicBezTo>
                <a:cubicBezTo>
                  <a:pt x="913814" y="621958"/>
                  <a:pt x="937071" y="661118"/>
                  <a:pt x="960462" y="700212"/>
                </a:cubicBezTo>
                <a:cubicBezTo>
                  <a:pt x="1042559" y="837372"/>
                  <a:pt x="1124789" y="974333"/>
                  <a:pt x="1206488" y="1111692"/>
                </a:cubicBezTo>
                <a:cubicBezTo>
                  <a:pt x="1230276" y="1151713"/>
                  <a:pt x="1261684" y="1181928"/>
                  <a:pt x="1307006" y="1195247"/>
                </a:cubicBezTo>
                <a:cubicBezTo>
                  <a:pt x="1377773" y="1216053"/>
                  <a:pt x="1449533" y="1189548"/>
                  <a:pt x="1490217" y="1125010"/>
                </a:cubicBezTo>
                <a:cubicBezTo>
                  <a:pt x="1535275" y="1053581"/>
                  <a:pt x="1578676" y="981092"/>
                  <a:pt x="1621149" y="908072"/>
                </a:cubicBezTo>
                <a:cubicBezTo>
                  <a:pt x="1633738" y="886405"/>
                  <a:pt x="1647256" y="874743"/>
                  <a:pt x="1673694" y="877592"/>
                </a:cubicBezTo>
                <a:cubicBezTo>
                  <a:pt x="1697415" y="880110"/>
                  <a:pt x="1721666" y="878122"/>
                  <a:pt x="1745719" y="878122"/>
                </a:cubicBezTo>
                <a:cubicBezTo>
                  <a:pt x="1773217" y="878056"/>
                  <a:pt x="1800583" y="878056"/>
                  <a:pt x="1827883" y="878056"/>
                </a:cubicBezTo>
                <a:close/>
              </a:path>
            </a:pathLst>
          </a:custGeom>
          <a:solidFill>
            <a:schemeClr val="bg1">
              <a:alpha val="75000"/>
            </a:schemeClr>
          </a:solidFill>
          <a:ln w="6624"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5CA2FD61-DEB0-4400-9F3C-7B21D5980C2A}"/>
              </a:ext>
            </a:extLst>
          </p:cNvPr>
          <p:cNvSpPr/>
          <p:nvPr/>
        </p:nvSpPr>
        <p:spPr>
          <a:xfrm>
            <a:off x="10095651" y="2634593"/>
            <a:ext cx="495756" cy="436362"/>
          </a:xfrm>
          <a:custGeom>
            <a:avLst/>
            <a:gdLst>
              <a:gd name="connsiteX0" fmla="*/ 2716126 w 2710069"/>
              <a:gd name="connsiteY0" fmla="*/ 373712 h 2385391"/>
              <a:gd name="connsiteX1" fmla="*/ 2716126 w 2710069"/>
              <a:gd name="connsiteY1" fmla="*/ 2197211 h 2385391"/>
              <a:gd name="connsiteX2" fmla="*/ 2707976 w 2710069"/>
              <a:gd name="connsiteY2" fmla="*/ 2219541 h 2385391"/>
              <a:gd name="connsiteX3" fmla="*/ 2475399 w 2710069"/>
              <a:gd name="connsiteY3" fmla="*/ 2389898 h 2385391"/>
              <a:gd name="connsiteX4" fmla="*/ 241679 w 2710069"/>
              <a:gd name="connsiteY4" fmla="*/ 2389831 h 2385391"/>
              <a:gd name="connsiteX5" fmla="*/ 159 w 2710069"/>
              <a:gd name="connsiteY5" fmla="*/ 2148046 h 2385391"/>
              <a:gd name="connsiteX6" fmla="*/ 92 w 2710069"/>
              <a:gd name="connsiteY6" fmla="*/ 409824 h 2385391"/>
              <a:gd name="connsiteX7" fmla="*/ 91135 w 2710069"/>
              <a:gd name="connsiteY7" fmla="*/ 318583 h 2385391"/>
              <a:gd name="connsiteX8" fmla="*/ 562780 w 2710069"/>
              <a:gd name="connsiteY8" fmla="*/ 318517 h 2385391"/>
              <a:gd name="connsiteX9" fmla="*/ 764146 w 2710069"/>
              <a:gd name="connsiteY9" fmla="*/ 318517 h 2385391"/>
              <a:gd name="connsiteX10" fmla="*/ 800458 w 2710069"/>
              <a:gd name="connsiteY10" fmla="*/ 283531 h 2385391"/>
              <a:gd name="connsiteX11" fmla="*/ 800656 w 2710069"/>
              <a:gd name="connsiteY11" fmla="*/ 230522 h 2385391"/>
              <a:gd name="connsiteX12" fmla="*/ 1030184 w 2710069"/>
              <a:gd name="connsiteY12" fmla="*/ 928 h 2385391"/>
              <a:gd name="connsiteX13" fmla="*/ 1687293 w 2710069"/>
              <a:gd name="connsiteY13" fmla="*/ 1260 h 2385391"/>
              <a:gd name="connsiteX14" fmla="*/ 1885214 w 2710069"/>
              <a:gd name="connsiteY14" fmla="*/ 119270 h 2385391"/>
              <a:gd name="connsiteX15" fmla="*/ 1917947 w 2710069"/>
              <a:gd name="connsiteY15" fmla="*/ 280152 h 2385391"/>
              <a:gd name="connsiteX16" fmla="*/ 1955915 w 2710069"/>
              <a:gd name="connsiteY16" fmla="*/ 318517 h 2385391"/>
              <a:gd name="connsiteX17" fmla="*/ 2623625 w 2710069"/>
              <a:gd name="connsiteY17" fmla="*/ 317920 h 2385391"/>
              <a:gd name="connsiteX18" fmla="*/ 2716126 w 2710069"/>
              <a:gd name="connsiteY18" fmla="*/ 373712 h 2385391"/>
              <a:gd name="connsiteX19" fmla="*/ 2555112 w 2710069"/>
              <a:gd name="connsiteY19" fmla="*/ 918774 h 2385391"/>
              <a:gd name="connsiteX20" fmla="*/ 2551533 w 2710069"/>
              <a:gd name="connsiteY20" fmla="*/ 918641 h 2385391"/>
              <a:gd name="connsiteX21" fmla="*/ 2547956 w 2710069"/>
              <a:gd name="connsiteY21" fmla="*/ 928448 h 2385391"/>
              <a:gd name="connsiteX22" fmla="*/ 2433589 w 2710069"/>
              <a:gd name="connsiteY22" fmla="*/ 1269824 h 2385391"/>
              <a:gd name="connsiteX23" fmla="*/ 2197701 w 2710069"/>
              <a:gd name="connsiteY23" fmla="*/ 1435874 h 2385391"/>
              <a:gd name="connsiteX24" fmla="*/ 1789599 w 2710069"/>
              <a:gd name="connsiteY24" fmla="*/ 1435542 h 2385391"/>
              <a:gd name="connsiteX25" fmla="*/ 1758391 w 2710069"/>
              <a:gd name="connsiteY25" fmla="*/ 1465691 h 2385391"/>
              <a:gd name="connsiteX26" fmla="*/ 1758523 w 2710069"/>
              <a:gd name="connsiteY26" fmla="*/ 1513399 h 2385391"/>
              <a:gd name="connsiteX27" fmla="*/ 1676293 w 2710069"/>
              <a:gd name="connsiteY27" fmla="*/ 1594767 h 2385391"/>
              <a:gd name="connsiteX28" fmla="*/ 1543772 w 2710069"/>
              <a:gd name="connsiteY28" fmla="*/ 1594900 h 2385391"/>
              <a:gd name="connsiteX29" fmla="*/ 1042906 w 2710069"/>
              <a:gd name="connsiteY29" fmla="*/ 1594767 h 2385391"/>
              <a:gd name="connsiteX30" fmla="*/ 959484 w 2710069"/>
              <a:gd name="connsiteY30" fmla="*/ 1511941 h 2385391"/>
              <a:gd name="connsiteX31" fmla="*/ 959417 w 2710069"/>
              <a:gd name="connsiteY31" fmla="*/ 1477486 h 2385391"/>
              <a:gd name="connsiteX32" fmla="*/ 919064 w 2710069"/>
              <a:gd name="connsiteY32" fmla="*/ 1435940 h 2385391"/>
              <a:gd name="connsiteX33" fmla="*/ 513614 w 2710069"/>
              <a:gd name="connsiteY33" fmla="*/ 1435874 h 2385391"/>
              <a:gd name="connsiteX34" fmla="*/ 290712 w 2710069"/>
              <a:gd name="connsiteY34" fmla="*/ 1285727 h 2385391"/>
              <a:gd name="connsiteX35" fmla="*/ 254335 w 2710069"/>
              <a:gd name="connsiteY35" fmla="*/ 1180703 h 2385391"/>
              <a:gd name="connsiteX36" fmla="*/ 166473 w 2710069"/>
              <a:gd name="connsiteY36" fmla="*/ 917912 h 2385391"/>
              <a:gd name="connsiteX37" fmla="*/ 162961 w 2710069"/>
              <a:gd name="connsiteY37" fmla="*/ 918509 h 2385391"/>
              <a:gd name="connsiteX38" fmla="*/ 162961 w 2710069"/>
              <a:gd name="connsiteY38" fmla="*/ 938785 h 2385391"/>
              <a:gd name="connsiteX39" fmla="*/ 163028 w 2710069"/>
              <a:gd name="connsiteY39" fmla="*/ 2123264 h 2385391"/>
              <a:gd name="connsiteX40" fmla="*/ 267919 w 2710069"/>
              <a:gd name="connsiteY40" fmla="*/ 2226962 h 2385391"/>
              <a:gd name="connsiteX41" fmla="*/ 2448829 w 2710069"/>
              <a:gd name="connsiteY41" fmla="*/ 2226962 h 2385391"/>
              <a:gd name="connsiteX42" fmla="*/ 2554913 w 2710069"/>
              <a:gd name="connsiteY42" fmla="*/ 2121740 h 2385391"/>
              <a:gd name="connsiteX43" fmla="*/ 2554913 w 2710069"/>
              <a:gd name="connsiteY43" fmla="*/ 1583834 h 2385391"/>
              <a:gd name="connsiteX44" fmla="*/ 2555112 w 2710069"/>
              <a:gd name="connsiteY44" fmla="*/ 918774 h 2385391"/>
              <a:gd name="connsiteX45" fmla="*/ 1361157 w 2710069"/>
              <a:gd name="connsiteY45" fmla="*/ 481717 h 2385391"/>
              <a:gd name="connsiteX46" fmla="*/ 232204 w 2710069"/>
              <a:gd name="connsiteY46" fmla="*/ 481717 h 2385391"/>
              <a:gd name="connsiteX47" fmla="*/ 207886 w 2710069"/>
              <a:gd name="connsiteY47" fmla="*/ 516637 h 2385391"/>
              <a:gd name="connsiteX48" fmla="*/ 433836 w 2710069"/>
              <a:gd name="connsiteY48" fmla="*/ 1194750 h 2385391"/>
              <a:gd name="connsiteX49" fmla="*/ 542835 w 2710069"/>
              <a:gd name="connsiteY49" fmla="*/ 1272739 h 2385391"/>
              <a:gd name="connsiteX50" fmla="*/ 887326 w 2710069"/>
              <a:gd name="connsiteY50" fmla="*/ 1272739 h 2385391"/>
              <a:gd name="connsiteX51" fmla="*/ 959550 w 2710069"/>
              <a:gd name="connsiteY51" fmla="*/ 1202039 h 2385391"/>
              <a:gd name="connsiteX52" fmla="*/ 1048339 w 2710069"/>
              <a:gd name="connsiteY52" fmla="*/ 1113780 h 2385391"/>
              <a:gd name="connsiteX53" fmla="*/ 1353139 w 2710069"/>
              <a:gd name="connsiteY53" fmla="*/ 1113713 h 2385391"/>
              <a:gd name="connsiteX54" fmla="*/ 1676492 w 2710069"/>
              <a:gd name="connsiteY54" fmla="*/ 1113912 h 2385391"/>
              <a:gd name="connsiteX55" fmla="*/ 1758656 w 2710069"/>
              <a:gd name="connsiteY55" fmla="*/ 1195347 h 2385391"/>
              <a:gd name="connsiteX56" fmla="*/ 1758789 w 2710069"/>
              <a:gd name="connsiteY56" fmla="*/ 1235103 h 2385391"/>
              <a:gd name="connsiteX57" fmla="*/ 1797750 w 2710069"/>
              <a:gd name="connsiteY57" fmla="*/ 1272739 h 2385391"/>
              <a:gd name="connsiteX58" fmla="*/ 2174045 w 2710069"/>
              <a:gd name="connsiteY58" fmla="*/ 1272739 h 2385391"/>
              <a:gd name="connsiteX59" fmla="*/ 2284833 w 2710069"/>
              <a:gd name="connsiteY59" fmla="*/ 1193558 h 2385391"/>
              <a:gd name="connsiteX60" fmla="*/ 2509988 w 2710069"/>
              <a:gd name="connsiteY60" fmla="*/ 517962 h 2385391"/>
              <a:gd name="connsiteX61" fmla="*/ 2484941 w 2710069"/>
              <a:gd name="connsiteY61" fmla="*/ 481717 h 2385391"/>
              <a:gd name="connsiteX62" fmla="*/ 1361157 w 2710069"/>
              <a:gd name="connsiteY62" fmla="*/ 481717 h 2385391"/>
              <a:gd name="connsiteX63" fmla="*/ 1359036 w 2710069"/>
              <a:gd name="connsiteY63" fmla="*/ 318715 h 2385391"/>
              <a:gd name="connsiteX64" fmla="*/ 1700744 w 2710069"/>
              <a:gd name="connsiteY64" fmla="*/ 318715 h 2385391"/>
              <a:gd name="connsiteX65" fmla="*/ 1754614 w 2710069"/>
              <a:gd name="connsiteY65" fmla="*/ 264249 h 2385391"/>
              <a:gd name="connsiteX66" fmla="*/ 1654560 w 2710069"/>
              <a:gd name="connsiteY66" fmla="*/ 163797 h 2385391"/>
              <a:gd name="connsiteX67" fmla="*/ 1063911 w 2710069"/>
              <a:gd name="connsiteY67" fmla="*/ 163797 h 2385391"/>
              <a:gd name="connsiteX68" fmla="*/ 963658 w 2710069"/>
              <a:gd name="connsiteY68" fmla="*/ 264116 h 2385391"/>
              <a:gd name="connsiteX69" fmla="*/ 963658 w 2710069"/>
              <a:gd name="connsiteY69" fmla="*/ 282669 h 2385391"/>
              <a:gd name="connsiteX70" fmla="*/ 998909 w 2710069"/>
              <a:gd name="connsiteY70" fmla="*/ 318715 h 2385391"/>
              <a:gd name="connsiteX71" fmla="*/ 1359036 w 2710069"/>
              <a:gd name="connsiteY71" fmla="*/ 318715 h 2385391"/>
              <a:gd name="connsiteX72" fmla="*/ 1359169 w 2710069"/>
              <a:gd name="connsiteY72" fmla="*/ 1431832 h 2385391"/>
              <a:gd name="connsiteX73" fmla="*/ 1565572 w 2710069"/>
              <a:gd name="connsiteY73" fmla="*/ 1432097 h 2385391"/>
              <a:gd name="connsiteX74" fmla="*/ 1595985 w 2710069"/>
              <a:gd name="connsiteY74" fmla="*/ 1403870 h 2385391"/>
              <a:gd name="connsiteX75" fmla="*/ 1595786 w 2710069"/>
              <a:gd name="connsiteY75" fmla="*/ 1300701 h 2385391"/>
              <a:gd name="connsiteX76" fmla="*/ 1572132 w 2710069"/>
              <a:gd name="connsiteY76" fmla="*/ 1276781 h 2385391"/>
              <a:gd name="connsiteX77" fmla="*/ 1146140 w 2710069"/>
              <a:gd name="connsiteY77" fmla="*/ 1276781 h 2385391"/>
              <a:gd name="connsiteX78" fmla="*/ 1122552 w 2710069"/>
              <a:gd name="connsiteY78" fmla="*/ 1300834 h 2385391"/>
              <a:gd name="connsiteX79" fmla="*/ 1122286 w 2710069"/>
              <a:gd name="connsiteY79" fmla="*/ 1401352 h 2385391"/>
              <a:gd name="connsiteX80" fmla="*/ 1152766 w 2710069"/>
              <a:gd name="connsiteY80" fmla="*/ 1432229 h 2385391"/>
              <a:gd name="connsiteX81" fmla="*/ 1359169 w 2710069"/>
              <a:gd name="connsiteY81" fmla="*/ 1431832 h 238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710069" h="2385391">
                <a:moveTo>
                  <a:pt x="2716126" y="373712"/>
                </a:moveTo>
                <a:cubicBezTo>
                  <a:pt x="2716126" y="981523"/>
                  <a:pt x="2716126" y="1589400"/>
                  <a:pt x="2716126" y="2197211"/>
                </a:cubicBezTo>
                <a:cubicBezTo>
                  <a:pt x="2713409" y="2204632"/>
                  <a:pt x="2710427" y="2212054"/>
                  <a:pt x="2707976" y="2219541"/>
                </a:cubicBezTo>
                <a:cubicBezTo>
                  <a:pt x="2673719" y="2325227"/>
                  <a:pt x="2586122" y="2389898"/>
                  <a:pt x="2475399" y="2389898"/>
                </a:cubicBezTo>
                <a:cubicBezTo>
                  <a:pt x="1730826" y="2390030"/>
                  <a:pt x="986253" y="2390097"/>
                  <a:pt x="241679" y="2389831"/>
                </a:cubicBezTo>
                <a:cubicBezTo>
                  <a:pt x="104586" y="2389765"/>
                  <a:pt x="225" y="2285272"/>
                  <a:pt x="159" y="2148046"/>
                </a:cubicBezTo>
                <a:cubicBezTo>
                  <a:pt x="-107" y="1568660"/>
                  <a:pt x="26" y="989275"/>
                  <a:pt x="92" y="409824"/>
                </a:cubicBezTo>
                <a:cubicBezTo>
                  <a:pt x="92" y="349195"/>
                  <a:pt x="30639" y="318649"/>
                  <a:pt x="91135" y="318583"/>
                </a:cubicBezTo>
                <a:cubicBezTo>
                  <a:pt x="248372" y="318450"/>
                  <a:pt x="405542" y="318517"/>
                  <a:pt x="562780" y="318517"/>
                </a:cubicBezTo>
                <a:cubicBezTo>
                  <a:pt x="629902" y="318517"/>
                  <a:pt x="697024" y="318583"/>
                  <a:pt x="764146" y="318517"/>
                </a:cubicBezTo>
                <a:cubicBezTo>
                  <a:pt x="799861" y="318450"/>
                  <a:pt x="800259" y="318053"/>
                  <a:pt x="800458" y="283531"/>
                </a:cubicBezTo>
                <a:cubicBezTo>
                  <a:pt x="800524" y="265839"/>
                  <a:pt x="800325" y="248214"/>
                  <a:pt x="800656" y="230522"/>
                </a:cubicBezTo>
                <a:cubicBezTo>
                  <a:pt x="802777" y="108801"/>
                  <a:pt x="908529" y="1525"/>
                  <a:pt x="1030184" y="928"/>
                </a:cubicBezTo>
                <a:cubicBezTo>
                  <a:pt x="1249243" y="-132"/>
                  <a:pt x="1468301" y="-596"/>
                  <a:pt x="1687293" y="1260"/>
                </a:cubicBezTo>
                <a:cubicBezTo>
                  <a:pt x="1774294" y="1988"/>
                  <a:pt x="1839494" y="45919"/>
                  <a:pt x="1885214" y="119270"/>
                </a:cubicBezTo>
                <a:cubicBezTo>
                  <a:pt x="1916092" y="168833"/>
                  <a:pt x="1919736" y="223764"/>
                  <a:pt x="1917947" y="280152"/>
                </a:cubicBezTo>
                <a:cubicBezTo>
                  <a:pt x="1916754" y="318450"/>
                  <a:pt x="1917815" y="318517"/>
                  <a:pt x="1955915" y="318517"/>
                </a:cubicBezTo>
                <a:cubicBezTo>
                  <a:pt x="2178485" y="318517"/>
                  <a:pt x="2401055" y="319245"/>
                  <a:pt x="2623625" y="317920"/>
                </a:cubicBezTo>
                <a:cubicBezTo>
                  <a:pt x="2668020" y="317854"/>
                  <a:pt x="2698633" y="333028"/>
                  <a:pt x="2716126" y="373712"/>
                </a:cubicBezTo>
                <a:close/>
                <a:moveTo>
                  <a:pt x="2555112" y="918774"/>
                </a:moveTo>
                <a:cubicBezTo>
                  <a:pt x="2553919" y="918708"/>
                  <a:pt x="2552726" y="918708"/>
                  <a:pt x="2551533" y="918641"/>
                </a:cubicBezTo>
                <a:cubicBezTo>
                  <a:pt x="2550341" y="921888"/>
                  <a:pt x="2549082" y="925135"/>
                  <a:pt x="2547956" y="928448"/>
                </a:cubicBezTo>
                <a:cubicBezTo>
                  <a:pt x="2509922" y="1042284"/>
                  <a:pt x="2473213" y="1156518"/>
                  <a:pt x="2433589" y="1269824"/>
                </a:cubicBezTo>
                <a:cubicBezTo>
                  <a:pt x="2395953" y="1377432"/>
                  <a:pt x="2311139" y="1435741"/>
                  <a:pt x="2197701" y="1435874"/>
                </a:cubicBezTo>
                <a:cubicBezTo>
                  <a:pt x="2061667" y="1436006"/>
                  <a:pt x="1925633" y="1436271"/>
                  <a:pt x="1789599" y="1435542"/>
                </a:cubicBezTo>
                <a:cubicBezTo>
                  <a:pt x="1767203" y="1435410"/>
                  <a:pt x="1756469" y="1441970"/>
                  <a:pt x="1758391" y="1465691"/>
                </a:cubicBezTo>
                <a:cubicBezTo>
                  <a:pt x="1759716" y="1481461"/>
                  <a:pt x="1758854" y="1497496"/>
                  <a:pt x="1758523" y="1513399"/>
                </a:cubicBezTo>
                <a:cubicBezTo>
                  <a:pt x="1757529" y="1561769"/>
                  <a:pt x="1724995" y="1594171"/>
                  <a:pt x="1676293" y="1594767"/>
                </a:cubicBezTo>
                <a:cubicBezTo>
                  <a:pt x="1632164" y="1595297"/>
                  <a:pt x="1587968" y="1594900"/>
                  <a:pt x="1543772" y="1594900"/>
                </a:cubicBezTo>
                <a:cubicBezTo>
                  <a:pt x="1376795" y="1594900"/>
                  <a:pt x="1209883" y="1595099"/>
                  <a:pt x="1042906" y="1594767"/>
                </a:cubicBezTo>
                <a:cubicBezTo>
                  <a:pt x="992681" y="1594635"/>
                  <a:pt x="960345" y="1561968"/>
                  <a:pt x="959484" y="1511941"/>
                </a:cubicBezTo>
                <a:cubicBezTo>
                  <a:pt x="959285" y="1500478"/>
                  <a:pt x="959417" y="1488949"/>
                  <a:pt x="959417" y="1477486"/>
                </a:cubicBezTo>
                <a:cubicBezTo>
                  <a:pt x="959351" y="1435940"/>
                  <a:pt x="959351" y="1435940"/>
                  <a:pt x="919064" y="1435940"/>
                </a:cubicBezTo>
                <a:cubicBezTo>
                  <a:pt x="783893" y="1435940"/>
                  <a:pt x="648786" y="1436072"/>
                  <a:pt x="513614" y="1435874"/>
                </a:cubicBezTo>
                <a:cubicBezTo>
                  <a:pt x="412699" y="1435675"/>
                  <a:pt x="328547" y="1379486"/>
                  <a:pt x="290712" y="1285727"/>
                </a:cubicBezTo>
                <a:cubicBezTo>
                  <a:pt x="276864" y="1251403"/>
                  <a:pt x="266130" y="1215821"/>
                  <a:pt x="254335" y="1180703"/>
                </a:cubicBezTo>
                <a:cubicBezTo>
                  <a:pt x="224915" y="1093172"/>
                  <a:pt x="195761" y="1005509"/>
                  <a:pt x="166473" y="917912"/>
                </a:cubicBezTo>
                <a:cubicBezTo>
                  <a:pt x="165280" y="918111"/>
                  <a:pt x="164154" y="918310"/>
                  <a:pt x="162961" y="918509"/>
                </a:cubicBezTo>
                <a:cubicBezTo>
                  <a:pt x="162961" y="925267"/>
                  <a:pt x="162961" y="932026"/>
                  <a:pt x="162961" y="938785"/>
                </a:cubicBezTo>
                <a:cubicBezTo>
                  <a:pt x="162961" y="1333633"/>
                  <a:pt x="162895" y="1728482"/>
                  <a:pt x="163028" y="2123264"/>
                </a:cubicBezTo>
                <a:cubicBezTo>
                  <a:pt x="163028" y="2198271"/>
                  <a:pt x="192050" y="2226962"/>
                  <a:pt x="267919" y="2226962"/>
                </a:cubicBezTo>
                <a:cubicBezTo>
                  <a:pt x="994867" y="2227028"/>
                  <a:pt x="1721815" y="2227028"/>
                  <a:pt x="2448829" y="2226962"/>
                </a:cubicBezTo>
                <a:cubicBezTo>
                  <a:pt x="2526421" y="2226962"/>
                  <a:pt x="2554913" y="2198735"/>
                  <a:pt x="2554913" y="2121740"/>
                </a:cubicBezTo>
                <a:cubicBezTo>
                  <a:pt x="2554979" y="1942438"/>
                  <a:pt x="2554913" y="1763136"/>
                  <a:pt x="2554913" y="1583834"/>
                </a:cubicBezTo>
                <a:cubicBezTo>
                  <a:pt x="2555112" y="1362192"/>
                  <a:pt x="2555112" y="1140483"/>
                  <a:pt x="2555112" y="918774"/>
                </a:cubicBezTo>
                <a:close/>
                <a:moveTo>
                  <a:pt x="1361157" y="481717"/>
                </a:moveTo>
                <a:cubicBezTo>
                  <a:pt x="984861" y="481717"/>
                  <a:pt x="608499" y="481717"/>
                  <a:pt x="232204" y="481717"/>
                </a:cubicBezTo>
                <a:cubicBezTo>
                  <a:pt x="196224" y="481717"/>
                  <a:pt x="196224" y="481783"/>
                  <a:pt x="207886" y="516637"/>
                </a:cubicBezTo>
                <a:cubicBezTo>
                  <a:pt x="283225" y="742652"/>
                  <a:pt x="358497" y="968734"/>
                  <a:pt x="433836" y="1194750"/>
                </a:cubicBezTo>
                <a:cubicBezTo>
                  <a:pt x="454377" y="1256373"/>
                  <a:pt x="477171" y="1272739"/>
                  <a:pt x="542835" y="1272739"/>
                </a:cubicBezTo>
                <a:cubicBezTo>
                  <a:pt x="657665" y="1272806"/>
                  <a:pt x="772495" y="1272739"/>
                  <a:pt x="887326" y="1272739"/>
                </a:cubicBezTo>
                <a:cubicBezTo>
                  <a:pt x="958953" y="1272739"/>
                  <a:pt x="958953" y="1272739"/>
                  <a:pt x="959550" y="1202039"/>
                </a:cubicBezTo>
                <a:cubicBezTo>
                  <a:pt x="960014" y="1145121"/>
                  <a:pt x="991156" y="1113912"/>
                  <a:pt x="1048339" y="1113780"/>
                </a:cubicBezTo>
                <a:cubicBezTo>
                  <a:pt x="1149918" y="1113581"/>
                  <a:pt x="1251495" y="1113713"/>
                  <a:pt x="1353139" y="1113713"/>
                </a:cubicBezTo>
                <a:cubicBezTo>
                  <a:pt x="1460946" y="1113713"/>
                  <a:pt x="1568686" y="1113448"/>
                  <a:pt x="1676492" y="1113912"/>
                </a:cubicBezTo>
                <a:cubicBezTo>
                  <a:pt x="1725194" y="1114111"/>
                  <a:pt x="1757596" y="1146910"/>
                  <a:pt x="1758656" y="1195347"/>
                </a:cubicBezTo>
                <a:cubicBezTo>
                  <a:pt x="1758921" y="1208599"/>
                  <a:pt x="1758722" y="1221851"/>
                  <a:pt x="1758789" y="1235103"/>
                </a:cubicBezTo>
                <a:cubicBezTo>
                  <a:pt x="1758921" y="1272673"/>
                  <a:pt x="1758921" y="1272739"/>
                  <a:pt x="1797750" y="1272739"/>
                </a:cubicBezTo>
                <a:cubicBezTo>
                  <a:pt x="1923182" y="1272739"/>
                  <a:pt x="2048614" y="1272806"/>
                  <a:pt x="2174045" y="1272739"/>
                </a:cubicBezTo>
                <a:cubicBezTo>
                  <a:pt x="2241632" y="1272673"/>
                  <a:pt x="2263763" y="1256770"/>
                  <a:pt x="2284833" y="1193558"/>
                </a:cubicBezTo>
                <a:cubicBezTo>
                  <a:pt x="2359907" y="968337"/>
                  <a:pt x="2434914" y="743116"/>
                  <a:pt x="2509988" y="517962"/>
                </a:cubicBezTo>
                <a:cubicBezTo>
                  <a:pt x="2522047" y="481717"/>
                  <a:pt x="2522114" y="481717"/>
                  <a:pt x="2484941" y="481717"/>
                </a:cubicBezTo>
                <a:cubicBezTo>
                  <a:pt x="2110302" y="481717"/>
                  <a:pt x="1735729" y="481717"/>
                  <a:pt x="1361157" y="481717"/>
                </a:cubicBezTo>
                <a:close/>
                <a:moveTo>
                  <a:pt x="1359036" y="318715"/>
                </a:moveTo>
                <a:cubicBezTo>
                  <a:pt x="1472939" y="318715"/>
                  <a:pt x="1586841" y="318782"/>
                  <a:pt x="1700744" y="318715"/>
                </a:cubicBezTo>
                <a:cubicBezTo>
                  <a:pt x="1759518" y="318715"/>
                  <a:pt x="1754812" y="323817"/>
                  <a:pt x="1754614" y="264249"/>
                </a:cubicBezTo>
                <a:cubicBezTo>
                  <a:pt x="1754415" y="194277"/>
                  <a:pt x="1724266" y="163864"/>
                  <a:pt x="1654560" y="163797"/>
                </a:cubicBezTo>
                <a:cubicBezTo>
                  <a:pt x="1457699" y="163599"/>
                  <a:pt x="1260772" y="163599"/>
                  <a:pt x="1063911" y="163797"/>
                </a:cubicBezTo>
                <a:cubicBezTo>
                  <a:pt x="994138" y="163864"/>
                  <a:pt x="964055" y="194277"/>
                  <a:pt x="963658" y="264116"/>
                </a:cubicBezTo>
                <a:cubicBezTo>
                  <a:pt x="963592" y="270279"/>
                  <a:pt x="963658" y="276507"/>
                  <a:pt x="963658" y="282669"/>
                </a:cubicBezTo>
                <a:cubicBezTo>
                  <a:pt x="963790" y="318119"/>
                  <a:pt x="964254" y="318715"/>
                  <a:pt x="998909" y="318715"/>
                </a:cubicBezTo>
                <a:cubicBezTo>
                  <a:pt x="1118907" y="318715"/>
                  <a:pt x="1238972" y="318715"/>
                  <a:pt x="1359036" y="318715"/>
                </a:cubicBezTo>
                <a:close/>
                <a:moveTo>
                  <a:pt x="1359169" y="1431832"/>
                </a:moveTo>
                <a:cubicBezTo>
                  <a:pt x="1427948" y="1431832"/>
                  <a:pt x="1496793" y="1431368"/>
                  <a:pt x="1565572" y="1432097"/>
                </a:cubicBezTo>
                <a:cubicBezTo>
                  <a:pt x="1586245" y="1432362"/>
                  <a:pt x="1596847" y="1426862"/>
                  <a:pt x="1595985" y="1403870"/>
                </a:cubicBezTo>
                <a:cubicBezTo>
                  <a:pt x="1594727" y="1369547"/>
                  <a:pt x="1595323" y="1335091"/>
                  <a:pt x="1595786" y="1300701"/>
                </a:cubicBezTo>
                <a:cubicBezTo>
                  <a:pt x="1595985" y="1284004"/>
                  <a:pt x="1589028" y="1276715"/>
                  <a:pt x="1572132" y="1276781"/>
                </a:cubicBezTo>
                <a:cubicBezTo>
                  <a:pt x="1430134" y="1277046"/>
                  <a:pt x="1288138" y="1277046"/>
                  <a:pt x="1146140" y="1276781"/>
                </a:cubicBezTo>
                <a:cubicBezTo>
                  <a:pt x="1129178" y="1276781"/>
                  <a:pt x="1122353" y="1284202"/>
                  <a:pt x="1122552" y="1300834"/>
                </a:cubicBezTo>
                <a:cubicBezTo>
                  <a:pt x="1123015" y="1334362"/>
                  <a:pt x="1123678" y="1367890"/>
                  <a:pt x="1122286" y="1401352"/>
                </a:cubicBezTo>
                <a:cubicBezTo>
                  <a:pt x="1121359" y="1424278"/>
                  <a:pt x="1129575" y="1432627"/>
                  <a:pt x="1152766" y="1432229"/>
                </a:cubicBezTo>
                <a:cubicBezTo>
                  <a:pt x="1221545" y="1431169"/>
                  <a:pt x="1290324" y="1431832"/>
                  <a:pt x="1359169" y="1431832"/>
                </a:cubicBezTo>
                <a:close/>
              </a:path>
            </a:pathLst>
          </a:custGeom>
          <a:solidFill>
            <a:schemeClr val="bg1">
              <a:alpha val="75000"/>
            </a:schemeClr>
          </a:solidFill>
          <a:ln w="6624"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69E9BC3D-BD9F-4C6C-A81A-C4F0835341F3}"/>
              </a:ext>
            </a:extLst>
          </p:cNvPr>
          <p:cNvSpPr/>
          <p:nvPr/>
        </p:nvSpPr>
        <p:spPr>
          <a:xfrm>
            <a:off x="5849184" y="2585773"/>
            <a:ext cx="493630" cy="436296"/>
          </a:xfrm>
          <a:custGeom>
            <a:avLst/>
            <a:gdLst>
              <a:gd name="connsiteX0" fmla="*/ 0 w 2339008"/>
              <a:gd name="connsiteY0" fmla="*/ 1851131 h 2067339"/>
              <a:gd name="connsiteX1" fmla="*/ 0 w 2339008"/>
              <a:gd name="connsiteY1" fmla="*/ 79977 h 2067339"/>
              <a:gd name="connsiteX2" fmla="*/ 121986 w 2339008"/>
              <a:gd name="connsiteY2" fmla="*/ 1 h 2067339"/>
              <a:gd name="connsiteX3" fmla="*/ 1705157 w 2339008"/>
              <a:gd name="connsiteY3" fmla="*/ 531 h 2067339"/>
              <a:gd name="connsiteX4" fmla="*/ 1972852 w 2339008"/>
              <a:gd name="connsiteY4" fmla="*/ 729 h 2067339"/>
              <a:gd name="connsiteX5" fmla="*/ 2079730 w 2339008"/>
              <a:gd name="connsiteY5" fmla="*/ 99193 h 2067339"/>
              <a:gd name="connsiteX6" fmla="*/ 2082049 w 2339008"/>
              <a:gd name="connsiteY6" fmla="*/ 236353 h 2067339"/>
              <a:gd name="connsiteX7" fmla="*/ 2112596 w 2339008"/>
              <a:gd name="connsiteY7" fmla="*/ 265905 h 2067339"/>
              <a:gd name="connsiteX8" fmla="*/ 2231533 w 2339008"/>
              <a:gd name="connsiteY8" fmla="*/ 265972 h 2067339"/>
              <a:gd name="connsiteX9" fmla="*/ 2344907 w 2339008"/>
              <a:gd name="connsiteY9" fmla="*/ 378549 h 2067339"/>
              <a:gd name="connsiteX10" fmla="*/ 2344840 w 2339008"/>
              <a:gd name="connsiteY10" fmla="*/ 1810711 h 2067339"/>
              <a:gd name="connsiteX11" fmla="*/ 2084037 w 2339008"/>
              <a:gd name="connsiteY11" fmla="*/ 2072442 h 2067339"/>
              <a:gd name="connsiteX12" fmla="*/ 258417 w 2339008"/>
              <a:gd name="connsiteY12" fmla="*/ 2072574 h 2067339"/>
              <a:gd name="connsiteX13" fmla="*/ 158695 w 2339008"/>
              <a:gd name="connsiteY13" fmla="*/ 2050841 h 2067339"/>
              <a:gd name="connsiteX14" fmla="*/ 0 w 2339008"/>
              <a:gd name="connsiteY14" fmla="*/ 1851131 h 2067339"/>
              <a:gd name="connsiteX15" fmla="*/ 1170763 w 2339008"/>
              <a:gd name="connsiteY15" fmla="*/ 1960130 h 2067339"/>
              <a:gd name="connsiteX16" fmla="*/ 1269161 w 2339008"/>
              <a:gd name="connsiteY16" fmla="*/ 1960130 h 2067339"/>
              <a:gd name="connsiteX17" fmla="*/ 2067670 w 2339008"/>
              <a:gd name="connsiteY17" fmla="*/ 1960329 h 2067339"/>
              <a:gd name="connsiteX18" fmla="*/ 2218348 w 2339008"/>
              <a:gd name="connsiteY18" fmla="*/ 1872069 h 2067339"/>
              <a:gd name="connsiteX19" fmla="*/ 2233256 w 2339008"/>
              <a:gd name="connsiteY19" fmla="*/ 1780563 h 2067339"/>
              <a:gd name="connsiteX20" fmla="*/ 2233256 w 2339008"/>
              <a:gd name="connsiteY20" fmla="*/ 419167 h 2067339"/>
              <a:gd name="connsiteX21" fmla="*/ 2233190 w 2339008"/>
              <a:gd name="connsiteY21" fmla="*/ 400879 h 2067339"/>
              <a:gd name="connsiteX22" fmla="*/ 2209535 w 2339008"/>
              <a:gd name="connsiteY22" fmla="*/ 377886 h 2067339"/>
              <a:gd name="connsiteX23" fmla="*/ 2113457 w 2339008"/>
              <a:gd name="connsiteY23" fmla="*/ 377953 h 2067339"/>
              <a:gd name="connsiteX24" fmla="*/ 2082182 w 2339008"/>
              <a:gd name="connsiteY24" fmla="*/ 409493 h 2067339"/>
              <a:gd name="connsiteX25" fmla="*/ 2081917 w 2339008"/>
              <a:gd name="connsiteY25" fmla="*/ 1706814 h 2067339"/>
              <a:gd name="connsiteX26" fmla="*/ 2115180 w 2339008"/>
              <a:gd name="connsiteY26" fmla="*/ 1751806 h 2067339"/>
              <a:gd name="connsiteX27" fmla="*/ 2158647 w 2339008"/>
              <a:gd name="connsiteY27" fmla="*/ 1813958 h 2067339"/>
              <a:gd name="connsiteX28" fmla="*/ 2095169 w 2339008"/>
              <a:gd name="connsiteY28" fmla="*/ 1860805 h 2067339"/>
              <a:gd name="connsiteX29" fmla="*/ 1970863 w 2339008"/>
              <a:gd name="connsiteY29" fmla="*/ 1735969 h 2067339"/>
              <a:gd name="connsiteX30" fmla="*/ 1968478 w 2339008"/>
              <a:gd name="connsiteY30" fmla="*/ 1672027 h 2067339"/>
              <a:gd name="connsiteX31" fmla="*/ 1968345 w 2339008"/>
              <a:gd name="connsiteY31" fmla="*/ 157304 h 2067339"/>
              <a:gd name="connsiteX32" fmla="*/ 1924945 w 2339008"/>
              <a:gd name="connsiteY32" fmla="*/ 112710 h 2067339"/>
              <a:gd name="connsiteX33" fmla="*/ 151671 w 2339008"/>
              <a:gd name="connsiteY33" fmla="*/ 112710 h 2067339"/>
              <a:gd name="connsiteX34" fmla="*/ 128811 w 2339008"/>
              <a:gd name="connsiteY34" fmla="*/ 112975 h 2067339"/>
              <a:gd name="connsiteX35" fmla="*/ 110391 w 2339008"/>
              <a:gd name="connsiteY35" fmla="*/ 131330 h 2067339"/>
              <a:gd name="connsiteX36" fmla="*/ 110060 w 2339008"/>
              <a:gd name="connsiteY36" fmla="*/ 156509 h 2067339"/>
              <a:gd name="connsiteX37" fmla="*/ 110060 w 2339008"/>
              <a:gd name="connsiteY37" fmla="*/ 1776455 h 2067339"/>
              <a:gd name="connsiteX38" fmla="*/ 110987 w 2339008"/>
              <a:gd name="connsiteY38" fmla="*/ 1817603 h 2067339"/>
              <a:gd name="connsiteX39" fmla="*/ 127420 w 2339008"/>
              <a:gd name="connsiteY39" fmla="*/ 1876442 h 2067339"/>
              <a:gd name="connsiteX40" fmla="*/ 278362 w 2339008"/>
              <a:gd name="connsiteY40" fmla="*/ 1960329 h 2067339"/>
              <a:gd name="connsiteX41" fmla="*/ 1170763 w 2339008"/>
              <a:gd name="connsiteY41" fmla="*/ 1960130 h 2067339"/>
              <a:gd name="connsiteX42" fmla="*/ 962704 w 2339008"/>
              <a:gd name="connsiteY42" fmla="*/ 907112 h 2067339"/>
              <a:gd name="connsiteX43" fmla="*/ 962638 w 2339008"/>
              <a:gd name="connsiteY43" fmla="*/ 1156319 h 2067339"/>
              <a:gd name="connsiteX44" fmla="*/ 889751 w 2339008"/>
              <a:gd name="connsiteY44" fmla="*/ 1230200 h 2067339"/>
              <a:gd name="connsiteX45" fmla="*/ 386699 w 2339008"/>
              <a:gd name="connsiteY45" fmla="*/ 1230200 h 2067339"/>
              <a:gd name="connsiteX46" fmla="*/ 314607 w 2339008"/>
              <a:gd name="connsiteY46" fmla="*/ 1157445 h 2067339"/>
              <a:gd name="connsiteX47" fmla="*/ 314607 w 2339008"/>
              <a:gd name="connsiteY47" fmla="*/ 654393 h 2067339"/>
              <a:gd name="connsiteX48" fmla="*/ 385638 w 2339008"/>
              <a:gd name="connsiteY48" fmla="*/ 582235 h 2067339"/>
              <a:gd name="connsiteX49" fmla="*/ 890944 w 2339008"/>
              <a:gd name="connsiteY49" fmla="*/ 582235 h 2067339"/>
              <a:gd name="connsiteX50" fmla="*/ 962638 w 2339008"/>
              <a:gd name="connsiteY50" fmla="*/ 655586 h 2067339"/>
              <a:gd name="connsiteX51" fmla="*/ 962704 w 2339008"/>
              <a:gd name="connsiteY51" fmla="*/ 907112 h 2067339"/>
              <a:gd name="connsiteX52" fmla="*/ 638490 w 2339008"/>
              <a:gd name="connsiteY52" fmla="*/ 1117556 h 2067339"/>
              <a:gd name="connsiteX53" fmla="*/ 823822 w 2339008"/>
              <a:gd name="connsiteY53" fmla="*/ 1117888 h 2067339"/>
              <a:gd name="connsiteX54" fmla="*/ 850193 w 2339008"/>
              <a:gd name="connsiteY54" fmla="*/ 1090986 h 2067339"/>
              <a:gd name="connsiteX55" fmla="*/ 850127 w 2339008"/>
              <a:gd name="connsiteY55" fmla="*/ 720322 h 2067339"/>
              <a:gd name="connsiteX56" fmla="*/ 825081 w 2339008"/>
              <a:gd name="connsiteY56" fmla="*/ 694613 h 2067339"/>
              <a:gd name="connsiteX57" fmla="*/ 452098 w 2339008"/>
              <a:gd name="connsiteY57" fmla="*/ 694613 h 2067339"/>
              <a:gd name="connsiteX58" fmla="*/ 426919 w 2339008"/>
              <a:gd name="connsiteY58" fmla="*/ 720190 h 2067339"/>
              <a:gd name="connsiteX59" fmla="*/ 426787 w 2339008"/>
              <a:gd name="connsiteY59" fmla="*/ 1090853 h 2067339"/>
              <a:gd name="connsiteX60" fmla="*/ 455345 w 2339008"/>
              <a:gd name="connsiteY60" fmla="*/ 1117888 h 2067339"/>
              <a:gd name="connsiteX61" fmla="*/ 638490 w 2339008"/>
              <a:gd name="connsiteY61" fmla="*/ 1117556 h 2067339"/>
              <a:gd name="connsiteX62" fmla="*/ 1684087 w 2339008"/>
              <a:gd name="connsiteY62" fmla="*/ 429371 h 2067339"/>
              <a:gd name="connsiteX63" fmla="*/ 1716024 w 2339008"/>
              <a:gd name="connsiteY63" fmla="*/ 427979 h 2067339"/>
              <a:gd name="connsiteX64" fmla="*/ 1762606 w 2339008"/>
              <a:gd name="connsiteY64" fmla="*/ 375700 h 2067339"/>
              <a:gd name="connsiteX65" fmla="*/ 1719602 w 2339008"/>
              <a:gd name="connsiteY65" fmla="*/ 320902 h 2067339"/>
              <a:gd name="connsiteX66" fmla="*/ 1687996 w 2339008"/>
              <a:gd name="connsiteY66" fmla="*/ 317059 h 2067339"/>
              <a:gd name="connsiteX67" fmla="*/ 390741 w 2339008"/>
              <a:gd name="connsiteY67" fmla="*/ 317125 h 2067339"/>
              <a:gd name="connsiteX68" fmla="*/ 354695 w 2339008"/>
              <a:gd name="connsiteY68" fmla="*/ 321896 h 2067339"/>
              <a:gd name="connsiteX69" fmla="*/ 318185 w 2339008"/>
              <a:gd name="connsiteY69" fmla="*/ 386434 h 2067339"/>
              <a:gd name="connsiteX70" fmla="*/ 384578 w 2339008"/>
              <a:gd name="connsiteY70" fmla="*/ 429504 h 2067339"/>
              <a:gd name="connsiteX71" fmla="*/ 1036651 w 2339008"/>
              <a:gd name="connsiteY71" fmla="*/ 429570 h 2067339"/>
              <a:gd name="connsiteX72" fmla="*/ 1684087 w 2339008"/>
              <a:gd name="connsiteY72" fmla="*/ 429371 h 2067339"/>
              <a:gd name="connsiteX73" fmla="*/ 1542222 w 2339008"/>
              <a:gd name="connsiteY73" fmla="*/ 960187 h 2067339"/>
              <a:gd name="connsiteX74" fmla="*/ 1699923 w 2339008"/>
              <a:gd name="connsiteY74" fmla="*/ 959855 h 2067339"/>
              <a:gd name="connsiteX75" fmla="*/ 1757371 w 2339008"/>
              <a:gd name="connsiteY75" fmla="*/ 881867 h 2067339"/>
              <a:gd name="connsiteX76" fmla="*/ 1690845 w 2339008"/>
              <a:gd name="connsiteY76" fmla="*/ 847411 h 2067339"/>
              <a:gd name="connsiteX77" fmla="*/ 1188058 w 2339008"/>
              <a:gd name="connsiteY77" fmla="*/ 847411 h 2067339"/>
              <a:gd name="connsiteX78" fmla="*/ 1169836 w 2339008"/>
              <a:gd name="connsiteY78" fmla="*/ 848339 h 2067339"/>
              <a:gd name="connsiteX79" fmla="*/ 1116231 w 2339008"/>
              <a:gd name="connsiteY79" fmla="*/ 906118 h 2067339"/>
              <a:gd name="connsiteX80" fmla="*/ 1174342 w 2339008"/>
              <a:gd name="connsiteY80" fmla="*/ 959723 h 2067339"/>
              <a:gd name="connsiteX81" fmla="*/ 1197202 w 2339008"/>
              <a:gd name="connsiteY81" fmla="*/ 960054 h 2067339"/>
              <a:gd name="connsiteX82" fmla="*/ 1437198 w 2339008"/>
              <a:gd name="connsiteY82" fmla="*/ 960054 h 2067339"/>
              <a:gd name="connsiteX83" fmla="*/ 1542222 w 2339008"/>
              <a:gd name="connsiteY83" fmla="*/ 960187 h 2067339"/>
              <a:gd name="connsiteX84" fmla="*/ 1239741 w 2339008"/>
              <a:gd name="connsiteY84" fmla="*/ 1112786 h 2067339"/>
              <a:gd name="connsiteX85" fmla="*/ 1171227 w 2339008"/>
              <a:gd name="connsiteY85" fmla="*/ 1113514 h 2067339"/>
              <a:gd name="connsiteX86" fmla="*/ 1116098 w 2339008"/>
              <a:gd name="connsiteY86" fmla="*/ 1167517 h 2067339"/>
              <a:gd name="connsiteX87" fmla="*/ 1166125 w 2339008"/>
              <a:gd name="connsiteY87" fmla="*/ 1223640 h 2067339"/>
              <a:gd name="connsiteX88" fmla="*/ 1197931 w 2339008"/>
              <a:gd name="connsiteY88" fmla="*/ 1225429 h 2067339"/>
              <a:gd name="connsiteX89" fmla="*/ 1629885 w 2339008"/>
              <a:gd name="connsiteY89" fmla="*/ 1225495 h 2067339"/>
              <a:gd name="connsiteX90" fmla="*/ 1700718 w 2339008"/>
              <a:gd name="connsiteY90" fmla="*/ 1225098 h 2067339"/>
              <a:gd name="connsiteX91" fmla="*/ 1762672 w 2339008"/>
              <a:gd name="connsiteY91" fmla="*/ 1168113 h 2067339"/>
              <a:gd name="connsiteX92" fmla="*/ 1699062 w 2339008"/>
              <a:gd name="connsiteY92" fmla="*/ 1112852 h 2067339"/>
              <a:gd name="connsiteX93" fmla="*/ 1678520 w 2339008"/>
              <a:gd name="connsiteY93" fmla="*/ 1112719 h 2067339"/>
              <a:gd name="connsiteX94" fmla="*/ 1440843 w 2339008"/>
              <a:gd name="connsiteY94" fmla="*/ 1112719 h 2067339"/>
              <a:gd name="connsiteX95" fmla="*/ 1239741 w 2339008"/>
              <a:gd name="connsiteY95" fmla="*/ 1112786 h 2067339"/>
              <a:gd name="connsiteX96" fmla="*/ 1441969 w 2339008"/>
              <a:gd name="connsiteY96" fmla="*/ 1643535 h 2067339"/>
              <a:gd name="connsiteX97" fmla="*/ 1302556 w 2339008"/>
              <a:gd name="connsiteY97" fmla="*/ 1643535 h 2067339"/>
              <a:gd name="connsiteX98" fmla="*/ 1172288 w 2339008"/>
              <a:gd name="connsiteY98" fmla="*/ 1643999 h 2067339"/>
              <a:gd name="connsiteX99" fmla="*/ 1116231 w 2339008"/>
              <a:gd name="connsiteY99" fmla="*/ 1696676 h 2067339"/>
              <a:gd name="connsiteX100" fmla="*/ 1162812 w 2339008"/>
              <a:gd name="connsiteY100" fmla="*/ 1753263 h 2067339"/>
              <a:gd name="connsiteX101" fmla="*/ 1199123 w 2339008"/>
              <a:gd name="connsiteY101" fmla="*/ 1756112 h 2067339"/>
              <a:gd name="connsiteX102" fmla="*/ 1667588 w 2339008"/>
              <a:gd name="connsiteY102" fmla="*/ 1756112 h 2067339"/>
              <a:gd name="connsiteX103" fmla="*/ 1701844 w 2339008"/>
              <a:gd name="connsiteY103" fmla="*/ 1755582 h 2067339"/>
              <a:gd name="connsiteX104" fmla="*/ 1750016 w 2339008"/>
              <a:gd name="connsiteY104" fmla="*/ 1733252 h 2067339"/>
              <a:gd name="connsiteX105" fmla="*/ 1756443 w 2339008"/>
              <a:gd name="connsiteY105" fmla="*/ 1675340 h 2067339"/>
              <a:gd name="connsiteX106" fmla="*/ 1702441 w 2339008"/>
              <a:gd name="connsiteY106" fmla="*/ 1643668 h 2067339"/>
              <a:gd name="connsiteX107" fmla="*/ 1441903 w 2339008"/>
              <a:gd name="connsiteY107" fmla="*/ 1643601 h 2067339"/>
              <a:gd name="connsiteX108" fmla="*/ 1441969 w 2339008"/>
              <a:gd name="connsiteY108" fmla="*/ 1643535 h 2067339"/>
              <a:gd name="connsiteX109" fmla="*/ 1515055 w 2339008"/>
              <a:gd name="connsiteY109" fmla="*/ 694878 h 2067339"/>
              <a:gd name="connsiteX110" fmla="*/ 1700122 w 2339008"/>
              <a:gd name="connsiteY110" fmla="*/ 694613 h 2067339"/>
              <a:gd name="connsiteX111" fmla="*/ 1757040 w 2339008"/>
              <a:gd name="connsiteY111" fmla="*/ 616558 h 2067339"/>
              <a:gd name="connsiteX112" fmla="*/ 1692700 w 2339008"/>
              <a:gd name="connsiteY112" fmla="*/ 582235 h 2067339"/>
              <a:gd name="connsiteX113" fmla="*/ 1185407 w 2339008"/>
              <a:gd name="connsiteY113" fmla="*/ 582235 h 2067339"/>
              <a:gd name="connsiteX114" fmla="*/ 1167252 w 2339008"/>
              <a:gd name="connsiteY114" fmla="*/ 583759 h 2067339"/>
              <a:gd name="connsiteX115" fmla="*/ 1116164 w 2339008"/>
              <a:gd name="connsiteY115" fmla="*/ 641406 h 2067339"/>
              <a:gd name="connsiteX116" fmla="*/ 1174540 w 2339008"/>
              <a:gd name="connsiteY116" fmla="*/ 694613 h 2067339"/>
              <a:gd name="connsiteX117" fmla="*/ 1195081 w 2339008"/>
              <a:gd name="connsiteY117" fmla="*/ 694878 h 2067339"/>
              <a:gd name="connsiteX118" fmla="*/ 1439584 w 2339008"/>
              <a:gd name="connsiteY118" fmla="*/ 694878 h 2067339"/>
              <a:gd name="connsiteX119" fmla="*/ 1515055 w 2339008"/>
              <a:gd name="connsiteY119" fmla="*/ 694878 h 2067339"/>
              <a:gd name="connsiteX120" fmla="*/ 1180968 w 2339008"/>
              <a:gd name="connsiteY120" fmla="*/ 1378293 h 2067339"/>
              <a:gd name="connsiteX121" fmla="*/ 1116032 w 2339008"/>
              <a:gd name="connsiteY121" fmla="*/ 1434283 h 2067339"/>
              <a:gd name="connsiteX122" fmla="*/ 1178914 w 2339008"/>
              <a:gd name="connsiteY122" fmla="*/ 1490671 h 2067339"/>
              <a:gd name="connsiteX123" fmla="*/ 1188058 w 2339008"/>
              <a:gd name="connsiteY123" fmla="*/ 1490870 h 2067339"/>
              <a:gd name="connsiteX124" fmla="*/ 1690779 w 2339008"/>
              <a:gd name="connsiteY124" fmla="*/ 1490804 h 2067339"/>
              <a:gd name="connsiteX125" fmla="*/ 1762539 w 2339008"/>
              <a:gd name="connsiteY125" fmla="*/ 1434018 h 2067339"/>
              <a:gd name="connsiteX126" fmla="*/ 1690514 w 2339008"/>
              <a:gd name="connsiteY126" fmla="*/ 1378227 h 2067339"/>
              <a:gd name="connsiteX127" fmla="*/ 1439186 w 2339008"/>
              <a:gd name="connsiteY127" fmla="*/ 1378227 h 2067339"/>
              <a:gd name="connsiteX128" fmla="*/ 1180968 w 2339008"/>
              <a:gd name="connsiteY128" fmla="*/ 1378293 h 2067339"/>
              <a:gd name="connsiteX129" fmla="*/ 595752 w 2339008"/>
              <a:gd name="connsiteY129" fmla="*/ 1378160 h 2067339"/>
              <a:gd name="connsiteX130" fmla="*/ 378681 w 2339008"/>
              <a:gd name="connsiteY130" fmla="*/ 1378426 h 2067339"/>
              <a:gd name="connsiteX131" fmla="*/ 319311 w 2339008"/>
              <a:gd name="connsiteY131" fmla="*/ 1451776 h 2067339"/>
              <a:gd name="connsiteX132" fmla="*/ 389482 w 2339008"/>
              <a:gd name="connsiteY132" fmla="*/ 1490870 h 2067339"/>
              <a:gd name="connsiteX133" fmla="*/ 887564 w 2339008"/>
              <a:gd name="connsiteY133" fmla="*/ 1490870 h 2067339"/>
              <a:gd name="connsiteX134" fmla="*/ 912479 w 2339008"/>
              <a:gd name="connsiteY134" fmla="*/ 1488816 h 2067339"/>
              <a:gd name="connsiteX135" fmla="*/ 961843 w 2339008"/>
              <a:gd name="connsiteY135" fmla="*/ 1432229 h 2067339"/>
              <a:gd name="connsiteX136" fmla="*/ 904063 w 2339008"/>
              <a:gd name="connsiteY136" fmla="*/ 1378492 h 2067339"/>
              <a:gd name="connsiteX137" fmla="*/ 881204 w 2339008"/>
              <a:gd name="connsiteY137" fmla="*/ 1378227 h 2067339"/>
              <a:gd name="connsiteX138" fmla="*/ 639020 w 2339008"/>
              <a:gd name="connsiteY138" fmla="*/ 1378227 h 2067339"/>
              <a:gd name="connsiteX139" fmla="*/ 595752 w 2339008"/>
              <a:gd name="connsiteY139" fmla="*/ 1378160 h 2067339"/>
              <a:gd name="connsiteX140" fmla="*/ 437454 w 2339008"/>
              <a:gd name="connsiteY140" fmla="*/ 1643535 h 2067339"/>
              <a:gd name="connsiteX141" fmla="*/ 371194 w 2339008"/>
              <a:gd name="connsiteY141" fmla="*/ 1643999 h 2067339"/>
              <a:gd name="connsiteX142" fmla="*/ 315733 w 2339008"/>
              <a:gd name="connsiteY142" fmla="*/ 1697273 h 2067339"/>
              <a:gd name="connsiteX143" fmla="*/ 362911 w 2339008"/>
              <a:gd name="connsiteY143" fmla="*/ 1752932 h 2067339"/>
              <a:gd name="connsiteX144" fmla="*/ 392264 w 2339008"/>
              <a:gd name="connsiteY144" fmla="*/ 1755980 h 2067339"/>
              <a:gd name="connsiteX145" fmla="*/ 885842 w 2339008"/>
              <a:gd name="connsiteY145" fmla="*/ 1756179 h 2067339"/>
              <a:gd name="connsiteX146" fmla="*/ 921954 w 2339008"/>
              <a:gd name="connsiteY146" fmla="*/ 1751607 h 2067339"/>
              <a:gd name="connsiteX147" fmla="*/ 958066 w 2339008"/>
              <a:gd name="connsiteY147" fmla="*/ 1681105 h 2067339"/>
              <a:gd name="connsiteX148" fmla="*/ 898962 w 2339008"/>
              <a:gd name="connsiteY148" fmla="*/ 1643601 h 2067339"/>
              <a:gd name="connsiteX149" fmla="*/ 640743 w 2339008"/>
              <a:gd name="connsiteY149" fmla="*/ 1643469 h 2067339"/>
              <a:gd name="connsiteX150" fmla="*/ 437454 w 2339008"/>
              <a:gd name="connsiteY150" fmla="*/ 1643535 h 2067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2339008" h="2067339">
                <a:moveTo>
                  <a:pt x="0" y="1851131"/>
                </a:moveTo>
                <a:cubicBezTo>
                  <a:pt x="0" y="1260746"/>
                  <a:pt x="0" y="670362"/>
                  <a:pt x="0" y="79977"/>
                </a:cubicBezTo>
                <a:cubicBezTo>
                  <a:pt x="21469" y="24053"/>
                  <a:pt x="61557" y="-132"/>
                  <a:pt x="121986" y="1"/>
                </a:cubicBezTo>
                <a:cubicBezTo>
                  <a:pt x="649688" y="862"/>
                  <a:pt x="1177389" y="464"/>
                  <a:pt x="1705157" y="531"/>
                </a:cubicBezTo>
                <a:cubicBezTo>
                  <a:pt x="1794411" y="531"/>
                  <a:pt x="1883598" y="199"/>
                  <a:pt x="1972852" y="729"/>
                </a:cubicBezTo>
                <a:cubicBezTo>
                  <a:pt x="2030366" y="1061"/>
                  <a:pt x="2074363" y="42540"/>
                  <a:pt x="2079730" y="99193"/>
                </a:cubicBezTo>
                <a:cubicBezTo>
                  <a:pt x="2084103" y="144847"/>
                  <a:pt x="2081122" y="190633"/>
                  <a:pt x="2082049" y="236353"/>
                </a:cubicBezTo>
                <a:cubicBezTo>
                  <a:pt x="2082645" y="263851"/>
                  <a:pt x="2084501" y="265839"/>
                  <a:pt x="2112596" y="265905"/>
                </a:cubicBezTo>
                <a:cubicBezTo>
                  <a:pt x="2152219" y="266038"/>
                  <a:pt x="2191910" y="265839"/>
                  <a:pt x="2231533" y="265972"/>
                </a:cubicBezTo>
                <a:cubicBezTo>
                  <a:pt x="2300644" y="266237"/>
                  <a:pt x="2344907" y="309903"/>
                  <a:pt x="2344907" y="378549"/>
                </a:cubicBezTo>
                <a:cubicBezTo>
                  <a:pt x="2344973" y="855958"/>
                  <a:pt x="2345105" y="1333302"/>
                  <a:pt x="2344840" y="1810711"/>
                </a:cubicBezTo>
                <a:cubicBezTo>
                  <a:pt x="2344774" y="1952841"/>
                  <a:pt x="2226034" y="2072375"/>
                  <a:pt x="2084037" y="2072442"/>
                </a:cubicBezTo>
                <a:cubicBezTo>
                  <a:pt x="1475497" y="2072773"/>
                  <a:pt x="866957" y="2072574"/>
                  <a:pt x="258417" y="2072574"/>
                </a:cubicBezTo>
                <a:cubicBezTo>
                  <a:pt x="223565" y="2072574"/>
                  <a:pt x="190301" y="2064954"/>
                  <a:pt x="158695" y="2050841"/>
                </a:cubicBezTo>
                <a:cubicBezTo>
                  <a:pt x="71429" y="2011681"/>
                  <a:pt x="20872" y="1943101"/>
                  <a:pt x="0" y="1851131"/>
                </a:cubicBezTo>
                <a:close/>
                <a:moveTo>
                  <a:pt x="1170763" y="1960130"/>
                </a:moveTo>
                <a:cubicBezTo>
                  <a:pt x="1203563" y="1960130"/>
                  <a:pt x="1236362" y="1960130"/>
                  <a:pt x="1269161" y="1960130"/>
                </a:cubicBezTo>
                <a:cubicBezTo>
                  <a:pt x="1535331" y="1960130"/>
                  <a:pt x="1801501" y="1959732"/>
                  <a:pt x="2067670" y="1960329"/>
                </a:cubicBezTo>
                <a:cubicBezTo>
                  <a:pt x="2136052" y="1960461"/>
                  <a:pt x="2186410" y="1932896"/>
                  <a:pt x="2218348" y="1872069"/>
                </a:cubicBezTo>
                <a:cubicBezTo>
                  <a:pt x="2233522" y="1843179"/>
                  <a:pt x="2233256" y="1811838"/>
                  <a:pt x="2233256" y="1780563"/>
                </a:cubicBezTo>
                <a:cubicBezTo>
                  <a:pt x="2233256" y="1326742"/>
                  <a:pt x="2233256" y="872987"/>
                  <a:pt x="2233256" y="419167"/>
                </a:cubicBezTo>
                <a:cubicBezTo>
                  <a:pt x="2233256" y="413071"/>
                  <a:pt x="2232926" y="406975"/>
                  <a:pt x="2233190" y="400879"/>
                </a:cubicBezTo>
                <a:cubicBezTo>
                  <a:pt x="2233920" y="384247"/>
                  <a:pt x="2225703" y="377688"/>
                  <a:pt x="2209535" y="377886"/>
                </a:cubicBezTo>
                <a:cubicBezTo>
                  <a:pt x="2177532" y="378284"/>
                  <a:pt x="2145461" y="377820"/>
                  <a:pt x="2113457" y="377953"/>
                </a:cubicBezTo>
                <a:cubicBezTo>
                  <a:pt x="2084700" y="378085"/>
                  <a:pt x="2082182" y="380470"/>
                  <a:pt x="2082182" y="409493"/>
                </a:cubicBezTo>
                <a:cubicBezTo>
                  <a:pt x="2082116" y="841911"/>
                  <a:pt x="2082248" y="1274396"/>
                  <a:pt x="2081917" y="1706814"/>
                </a:cubicBezTo>
                <a:cubicBezTo>
                  <a:pt x="2081917" y="1731198"/>
                  <a:pt x="2087416" y="1746637"/>
                  <a:pt x="2115180" y="1751806"/>
                </a:cubicBezTo>
                <a:cubicBezTo>
                  <a:pt x="2146786" y="1757636"/>
                  <a:pt x="2164147" y="1785797"/>
                  <a:pt x="2158647" y="1813958"/>
                </a:cubicBezTo>
                <a:cubicBezTo>
                  <a:pt x="2152750" y="1844239"/>
                  <a:pt x="2126908" y="1863323"/>
                  <a:pt x="2095169" y="1860805"/>
                </a:cubicBezTo>
                <a:cubicBezTo>
                  <a:pt x="2028378" y="1855504"/>
                  <a:pt x="1975435" y="1802561"/>
                  <a:pt x="1970863" y="1735969"/>
                </a:cubicBezTo>
                <a:cubicBezTo>
                  <a:pt x="1969406" y="1714699"/>
                  <a:pt x="1968478" y="1693363"/>
                  <a:pt x="1968478" y="1672027"/>
                </a:cubicBezTo>
                <a:cubicBezTo>
                  <a:pt x="1968345" y="1167120"/>
                  <a:pt x="1968345" y="662212"/>
                  <a:pt x="1968345" y="157304"/>
                </a:cubicBezTo>
                <a:cubicBezTo>
                  <a:pt x="1968345" y="112777"/>
                  <a:pt x="1968345" y="112710"/>
                  <a:pt x="1924945" y="112710"/>
                </a:cubicBezTo>
                <a:cubicBezTo>
                  <a:pt x="1333832" y="112710"/>
                  <a:pt x="742785" y="112710"/>
                  <a:pt x="151671" y="112710"/>
                </a:cubicBezTo>
                <a:cubicBezTo>
                  <a:pt x="144051" y="112710"/>
                  <a:pt x="136431" y="112909"/>
                  <a:pt x="128811" y="112975"/>
                </a:cubicBezTo>
                <a:cubicBezTo>
                  <a:pt x="116686" y="113108"/>
                  <a:pt x="110589" y="119336"/>
                  <a:pt x="110391" y="131330"/>
                </a:cubicBezTo>
                <a:cubicBezTo>
                  <a:pt x="110258" y="139745"/>
                  <a:pt x="110060" y="148094"/>
                  <a:pt x="110060" y="156509"/>
                </a:cubicBezTo>
                <a:cubicBezTo>
                  <a:pt x="110060" y="696469"/>
                  <a:pt x="110060" y="1236495"/>
                  <a:pt x="110060" y="1776455"/>
                </a:cubicBezTo>
                <a:cubicBezTo>
                  <a:pt x="110060" y="1790170"/>
                  <a:pt x="110921" y="1803887"/>
                  <a:pt x="110987" y="1817603"/>
                </a:cubicBezTo>
                <a:cubicBezTo>
                  <a:pt x="111120" y="1838740"/>
                  <a:pt x="117414" y="1858220"/>
                  <a:pt x="127420" y="1876442"/>
                </a:cubicBezTo>
                <a:cubicBezTo>
                  <a:pt x="160086" y="1935944"/>
                  <a:pt x="211306" y="1960527"/>
                  <a:pt x="278362" y="1960329"/>
                </a:cubicBezTo>
                <a:cubicBezTo>
                  <a:pt x="575873" y="1959732"/>
                  <a:pt x="873319" y="1960130"/>
                  <a:pt x="1170763" y="1960130"/>
                </a:cubicBezTo>
                <a:close/>
                <a:moveTo>
                  <a:pt x="962704" y="907112"/>
                </a:moveTo>
                <a:cubicBezTo>
                  <a:pt x="962704" y="990203"/>
                  <a:pt x="962837" y="1073294"/>
                  <a:pt x="962638" y="1156319"/>
                </a:cubicBezTo>
                <a:cubicBezTo>
                  <a:pt x="962572" y="1209725"/>
                  <a:pt x="942495" y="1230134"/>
                  <a:pt x="889751" y="1230200"/>
                </a:cubicBezTo>
                <a:cubicBezTo>
                  <a:pt x="722045" y="1230332"/>
                  <a:pt x="554405" y="1230332"/>
                  <a:pt x="386699" y="1230200"/>
                </a:cubicBezTo>
                <a:cubicBezTo>
                  <a:pt x="336142" y="1230134"/>
                  <a:pt x="314673" y="1208665"/>
                  <a:pt x="314607" y="1157445"/>
                </a:cubicBezTo>
                <a:cubicBezTo>
                  <a:pt x="314342" y="989739"/>
                  <a:pt x="314342" y="822099"/>
                  <a:pt x="314607" y="654393"/>
                </a:cubicBezTo>
                <a:cubicBezTo>
                  <a:pt x="314673" y="605161"/>
                  <a:pt x="336937" y="582367"/>
                  <a:pt x="385638" y="582235"/>
                </a:cubicBezTo>
                <a:cubicBezTo>
                  <a:pt x="554074" y="581904"/>
                  <a:pt x="722509" y="581904"/>
                  <a:pt x="890944" y="582235"/>
                </a:cubicBezTo>
                <a:cubicBezTo>
                  <a:pt x="941302" y="582301"/>
                  <a:pt x="962505" y="604565"/>
                  <a:pt x="962638" y="655586"/>
                </a:cubicBezTo>
                <a:cubicBezTo>
                  <a:pt x="962771" y="739472"/>
                  <a:pt x="962704" y="823292"/>
                  <a:pt x="962704" y="907112"/>
                </a:cubicBezTo>
                <a:close/>
                <a:moveTo>
                  <a:pt x="638490" y="1117556"/>
                </a:moveTo>
                <a:cubicBezTo>
                  <a:pt x="700245" y="1117556"/>
                  <a:pt x="762066" y="1117026"/>
                  <a:pt x="823822" y="1117888"/>
                </a:cubicBezTo>
                <a:cubicBezTo>
                  <a:pt x="843965" y="1118153"/>
                  <a:pt x="850326" y="1110599"/>
                  <a:pt x="850193" y="1090986"/>
                </a:cubicBezTo>
                <a:cubicBezTo>
                  <a:pt x="849597" y="967409"/>
                  <a:pt x="849663" y="843899"/>
                  <a:pt x="850127" y="720322"/>
                </a:cubicBezTo>
                <a:cubicBezTo>
                  <a:pt x="850193" y="701902"/>
                  <a:pt x="844230" y="694481"/>
                  <a:pt x="825081" y="694613"/>
                </a:cubicBezTo>
                <a:cubicBezTo>
                  <a:pt x="700775" y="695143"/>
                  <a:pt x="576470" y="695143"/>
                  <a:pt x="452098" y="694613"/>
                </a:cubicBezTo>
                <a:cubicBezTo>
                  <a:pt x="433015" y="694547"/>
                  <a:pt x="426853" y="701637"/>
                  <a:pt x="426919" y="720190"/>
                </a:cubicBezTo>
                <a:cubicBezTo>
                  <a:pt x="427449" y="843767"/>
                  <a:pt x="427582" y="967277"/>
                  <a:pt x="426787" y="1090853"/>
                </a:cubicBezTo>
                <a:cubicBezTo>
                  <a:pt x="426654" y="1112653"/>
                  <a:pt x="435268" y="1118153"/>
                  <a:pt x="455345" y="1117888"/>
                </a:cubicBezTo>
                <a:cubicBezTo>
                  <a:pt x="516437" y="1116960"/>
                  <a:pt x="577464" y="1117556"/>
                  <a:pt x="638490" y="1117556"/>
                </a:cubicBezTo>
                <a:close/>
                <a:moveTo>
                  <a:pt x="1684087" y="429371"/>
                </a:moveTo>
                <a:cubicBezTo>
                  <a:pt x="1694754" y="429371"/>
                  <a:pt x="1705621" y="429769"/>
                  <a:pt x="1716024" y="427979"/>
                </a:cubicBezTo>
                <a:cubicBezTo>
                  <a:pt x="1742131" y="423408"/>
                  <a:pt x="1761546" y="400945"/>
                  <a:pt x="1762606" y="375700"/>
                </a:cubicBezTo>
                <a:cubicBezTo>
                  <a:pt x="1763666" y="350786"/>
                  <a:pt x="1745643" y="327130"/>
                  <a:pt x="1719602" y="320902"/>
                </a:cubicBezTo>
                <a:cubicBezTo>
                  <a:pt x="1709332" y="318450"/>
                  <a:pt x="1698531" y="317059"/>
                  <a:pt x="1687996" y="317059"/>
                </a:cubicBezTo>
                <a:cubicBezTo>
                  <a:pt x="1255578" y="316860"/>
                  <a:pt x="823159" y="316860"/>
                  <a:pt x="390741" y="317125"/>
                </a:cubicBezTo>
                <a:cubicBezTo>
                  <a:pt x="378681" y="317125"/>
                  <a:pt x="366290" y="318715"/>
                  <a:pt x="354695" y="321896"/>
                </a:cubicBezTo>
                <a:cubicBezTo>
                  <a:pt x="326998" y="329516"/>
                  <a:pt x="311228" y="358339"/>
                  <a:pt x="318185" y="386434"/>
                </a:cubicBezTo>
                <a:cubicBezTo>
                  <a:pt x="325474" y="415854"/>
                  <a:pt x="346014" y="429437"/>
                  <a:pt x="384578" y="429504"/>
                </a:cubicBezTo>
                <a:cubicBezTo>
                  <a:pt x="601914" y="429570"/>
                  <a:pt x="819316" y="429570"/>
                  <a:pt x="1036651" y="429570"/>
                </a:cubicBezTo>
                <a:cubicBezTo>
                  <a:pt x="1252397" y="429437"/>
                  <a:pt x="1468275" y="429437"/>
                  <a:pt x="1684087" y="429371"/>
                </a:cubicBezTo>
                <a:close/>
                <a:moveTo>
                  <a:pt x="1542222" y="960187"/>
                </a:moveTo>
                <a:cubicBezTo>
                  <a:pt x="1594767" y="960187"/>
                  <a:pt x="1647378" y="960849"/>
                  <a:pt x="1699923" y="959855"/>
                </a:cubicBezTo>
                <a:cubicBezTo>
                  <a:pt x="1747034" y="958994"/>
                  <a:pt x="1774864" y="920695"/>
                  <a:pt x="1757371" y="881867"/>
                </a:cubicBezTo>
                <a:cubicBezTo>
                  <a:pt x="1744450" y="853242"/>
                  <a:pt x="1718874" y="847411"/>
                  <a:pt x="1690845" y="847411"/>
                </a:cubicBezTo>
                <a:cubicBezTo>
                  <a:pt x="1523271" y="847411"/>
                  <a:pt x="1355631" y="847411"/>
                  <a:pt x="1188058" y="847411"/>
                </a:cubicBezTo>
                <a:cubicBezTo>
                  <a:pt x="1181961" y="847411"/>
                  <a:pt x="1175799" y="847477"/>
                  <a:pt x="1169836" y="848339"/>
                </a:cubicBezTo>
                <a:cubicBezTo>
                  <a:pt x="1136772" y="853441"/>
                  <a:pt x="1114574" y="877559"/>
                  <a:pt x="1116231" y="906118"/>
                </a:cubicBezTo>
                <a:cubicBezTo>
                  <a:pt x="1117954" y="935869"/>
                  <a:pt x="1140946" y="957271"/>
                  <a:pt x="1174342" y="959723"/>
                </a:cubicBezTo>
                <a:cubicBezTo>
                  <a:pt x="1181896" y="960319"/>
                  <a:pt x="1189582" y="960054"/>
                  <a:pt x="1197202" y="960054"/>
                </a:cubicBezTo>
                <a:cubicBezTo>
                  <a:pt x="1277178" y="960054"/>
                  <a:pt x="1357155" y="960054"/>
                  <a:pt x="1437198" y="960054"/>
                </a:cubicBezTo>
                <a:cubicBezTo>
                  <a:pt x="1472118" y="960187"/>
                  <a:pt x="1507170" y="960253"/>
                  <a:pt x="1542222" y="960187"/>
                </a:cubicBezTo>
                <a:close/>
                <a:moveTo>
                  <a:pt x="1239741" y="1112786"/>
                </a:moveTo>
                <a:cubicBezTo>
                  <a:pt x="1216881" y="1112786"/>
                  <a:pt x="1193955" y="1111792"/>
                  <a:pt x="1171227" y="1113514"/>
                </a:cubicBezTo>
                <a:cubicBezTo>
                  <a:pt x="1139422" y="1115966"/>
                  <a:pt x="1117225" y="1138760"/>
                  <a:pt x="1116098" y="1167517"/>
                </a:cubicBezTo>
                <a:cubicBezTo>
                  <a:pt x="1115038" y="1194684"/>
                  <a:pt x="1135248" y="1217942"/>
                  <a:pt x="1166125" y="1223640"/>
                </a:cubicBezTo>
                <a:cubicBezTo>
                  <a:pt x="1176528" y="1225562"/>
                  <a:pt x="1187329" y="1225429"/>
                  <a:pt x="1197931" y="1225429"/>
                </a:cubicBezTo>
                <a:cubicBezTo>
                  <a:pt x="1341915" y="1225562"/>
                  <a:pt x="1485900" y="1225495"/>
                  <a:pt x="1629885" y="1225495"/>
                </a:cubicBezTo>
                <a:cubicBezTo>
                  <a:pt x="1653474" y="1225495"/>
                  <a:pt x="1677129" y="1226158"/>
                  <a:pt x="1700718" y="1225098"/>
                </a:cubicBezTo>
                <a:cubicBezTo>
                  <a:pt x="1737957" y="1223441"/>
                  <a:pt x="1763335" y="1199389"/>
                  <a:pt x="1762672" y="1168113"/>
                </a:cubicBezTo>
                <a:cubicBezTo>
                  <a:pt x="1761943" y="1135977"/>
                  <a:pt x="1736830" y="1114111"/>
                  <a:pt x="1699062" y="1112852"/>
                </a:cubicBezTo>
                <a:cubicBezTo>
                  <a:pt x="1692237" y="1112587"/>
                  <a:pt x="1685346" y="1112719"/>
                  <a:pt x="1678520" y="1112719"/>
                </a:cubicBezTo>
                <a:cubicBezTo>
                  <a:pt x="1599273" y="1112719"/>
                  <a:pt x="1520091" y="1112719"/>
                  <a:pt x="1440843" y="1112719"/>
                </a:cubicBezTo>
                <a:cubicBezTo>
                  <a:pt x="1373787" y="1112786"/>
                  <a:pt x="1306731" y="1112719"/>
                  <a:pt x="1239741" y="1112786"/>
                </a:cubicBezTo>
                <a:close/>
                <a:moveTo>
                  <a:pt x="1441969" y="1643535"/>
                </a:moveTo>
                <a:cubicBezTo>
                  <a:pt x="1395521" y="1643535"/>
                  <a:pt x="1349072" y="1643535"/>
                  <a:pt x="1302556" y="1643535"/>
                </a:cubicBezTo>
                <a:cubicBezTo>
                  <a:pt x="1259156" y="1643601"/>
                  <a:pt x="1215688" y="1642873"/>
                  <a:pt x="1172288" y="1643999"/>
                </a:cubicBezTo>
                <a:cubicBezTo>
                  <a:pt x="1140681" y="1644860"/>
                  <a:pt x="1117887" y="1667522"/>
                  <a:pt x="1116231" y="1696676"/>
                </a:cubicBezTo>
                <a:cubicBezTo>
                  <a:pt x="1114707" y="1723181"/>
                  <a:pt x="1133922" y="1746107"/>
                  <a:pt x="1162812" y="1753263"/>
                </a:cubicBezTo>
                <a:cubicBezTo>
                  <a:pt x="1174872" y="1756245"/>
                  <a:pt x="1186997" y="1756112"/>
                  <a:pt x="1199123" y="1756112"/>
                </a:cubicBezTo>
                <a:cubicBezTo>
                  <a:pt x="1355300" y="1756179"/>
                  <a:pt x="1511411" y="1756179"/>
                  <a:pt x="1667588" y="1756112"/>
                </a:cubicBezTo>
                <a:cubicBezTo>
                  <a:pt x="1678984" y="1756112"/>
                  <a:pt x="1690514" y="1756642"/>
                  <a:pt x="1701844" y="1755582"/>
                </a:cubicBezTo>
                <a:cubicBezTo>
                  <a:pt x="1720331" y="1753860"/>
                  <a:pt x="1738155" y="1749420"/>
                  <a:pt x="1750016" y="1733252"/>
                </a:cubicBezTo>
                <a:cubicBezTo>
                  <a:pt x="1763202" y="1715296"/>
                  <a:pt x="1766648" y="1695749"/>
                  <a:pt x="1756443" y="1675340"/>
                </a:cubicBezTo>
                <a:cubicBezTo>
                  <a:pt x="1745444" y="1653275"/>
                  <a:pt x="1726427" y="1643734"/>
                  <a:pt x="1702441" y="1643668"/>
                </a:cubicBezTo>
                <a:cubicBezTo>
                  <a:pt x="1615573" y="1643535"/>
                  <a:pt x="1528771" y="1643601"/>
                  <a:pt x="1441903" y="1643601"/>
                </a:cubicBezTo>
                <a:cubicBezTo>
                  <a:pt x="1441969" y="1643601"/>
                  <a:pt x="1441969" y="1643535"/>
                  <a:pt x="1441969" y="1643535"/>
                </a:cubicBezTo>
                <a:close/>
                <a:moveTo>
                  <a:pt x="1515055" y="694878"/>
                </a:moveTo>
                <a:cubicBezTo>
                  <a:pt x="1576744" y="694878"/>
                  <a:pt x="1638433" y="695475"/>
                  <a:pt x="1700122" y="694613"/>
                </a:cubicBezTo>
                <a:cubicBezTo>
                  <a:pt x="1747167" y="693951"/>
                  <a:pt x="1774665" y="655586"/>
                  <a:pt x="1757040" y="616558"/>
                </a:cubicBezTo>
                <a:cubicBezTo>
                  <a:pt x="1744583" y="588927"/>
                  <a:pt x="1720000" y="582235"/>
                  <a:pt x="1692700" y="582235"/>
                </a:cubicBezTo>
                <a:cubicBezTo>
                  <a:pt x="1523603" y="582102"/>
                  <a:pt x="1354505" y="582169"/>
                  <a:pt x="1185407" y="582235"/>
                </a:cubicBezTo>
                <a:cubicBezTo>
                  <a:pt x="1179378" y="582235"/>
                  <a:pt x="1173215" y="582632"/>
                  <a:pt x="1167252" y="583759"/>
                </a:cubicBezTo>
                <a:cubicBezTo>
                  <a:pt x="1135447" y="589855"/>
                  <a:pt x="1114376" y="613775"/>
                  <a:pt x="1116164" y="641406"/>
                </a:cubicBezTo>
                <a:cubicBezTo>
                  <a:pt x="1118086" y="671356"/>
                  <a:pt x="1141145" y="692493"/>
                  <a:pt x="1174540" y="694613"/>
                </a:cubicBezTo>
                <a:cubicBezTo>
                  <a:pt x="1181365" y="695077"/>
                  <a:pt x="1188256" y="694878"/>
                  <a:pt x="1195081" y="694878"/>
                </a:cubicBezTo>
                <a:cubicBezTo>
                  <a:pt x="1276582" y="694878"/>
                  <a:pt x="1358083" y="694878"/>
                  <a:pt x="1439584" y="694878"/>
                </a:cubicBezTo>
                <a:cubicBezTo>
                  <a:pt x="1464763" y="694878"/>
                  <a:pt x="1489876" y="694878"/>
                  <a:pt x="1515055" y="694878"/>
                </a:cubicBezTo>
                <a:close/>
                <a:moveTo>
                  <a:pt x="1180968" y="1378293"/>
                </a:moveTo>
                <a:cubicBezTo>
                  <a:pt x="1141940" y="1378492"/>
                  <a:pt x="1115900" y="1401617"/>
                  <a:pt x="1116032" y="1434283"/>
                </a:cubicBezTo>
                <a:cubicBezTo>
                  <a:pt x="1116164" y="1465625"/>
                  <a:pt x="1141543" y="1488352"/>
                  <a:pt x="1178914" y="1490671"/>
                </a:cubicBezTo>
                <a:cubicBezTo>
                  <a:pt x="1181961" y="1490870"/>
                  <a:pt x="1185010" y="1490870"/>
                  <a:pt x="1188058" y="1490870"/>
                </a:cubicBezTo>
                <a:cubicBezTo>
                  <a:pt x="1355631" y="1490870"/>
                  <a:pt x="1523205" y="1491003"/>
                  <a:pt x="1690779" y="1490804"/>
                </a:cubicBezTo>
                <a:cubicBezTo>
                  <a:pt x="1735240" y="1490738"/>
                  <a:pt x="1762341" y="1468739"/>
                  <a:pt x="1762539" y="1434018"/>
                </a:cubicBezTo>
                <a:cubicBezTo>
                  <a:pt x="1762738" y="1399496"/>
                  <a:pt x="1735505" y="1378293"/>
                  <a:pt x="1690514" y="1378227"/>
                </a:cubicBezTo>
                <a:cubicBezTo>
                  <a:pt x="1606760" y="1378094"/>
                  <a:pt x="1522940" y="1378160"/>
                  <a:pt x="1439186" y="1378227"/>
                </a:cubicBezTo>
                <a:cubicBezTo>
                  <a:pt x="1353113" y="1378160"/>
                  <a:pt x="1267041" y="1377895"/>
                  <a:pt x="1180968" y="1378293"/>
                </a:cubicBezTo>
                <a:close/>
                <a:moveTo>
                  <a:pt x="595752" y="1378160"/>
                </a:moveTo>
                <a:cubicBezTo>
                  <a:pt x="523395" y="1378160"/>
                  <a:pt x="451038" y="1377697"/>
                  <a:pt x="378681" y="1378426"/>
                </a:cubicBezTo>
                <a:cubicBezTo>
                  <a:pt x="333358" y="1378889"/>
                  <a:pt x="306457" y="1413014"/>
                  <a:pt x="319311" y="1451776"/>
                </a:cubicBezTo>
                <a:cubicBezTo>
                  <a:pt x="327991" y="1478082"/>
                  <a:pt x="350388" y="1490804"/>
                  <a:pt x="389482" y="1490870"/>
                </a:cubicBezTo>
                <a:cubicBezTo>
                  <a:pt x="555531" y="1491003"/>
                  <a:pt x="721515" y="1490936"/>
                  <a:pt x="887564" y="1490870"/>
                </a:cubicBezTo>
                <a:cubicBezTo>
                  <a:pt x="895913" y="1490870"/>
                  <a:pt x="904395" y="1490473"/>
                  <a:pt x="912479" y="1488816"/>
                </a:cubicBezTo>
                <a:cubicBezTo>
                  <a:pt x="943422" y="1482521"/>
                  <a:pt x="963235" y="1459529"/>
                  <a:pt x="961843" y="1432229"/>
                </a:cubicBezTo>
                <a:cubicBezTo>
                  <a:pt x="960319" y="1402279"/>
                  <a:pt x="937260" y="1380678"/>
                  <a:pt x="904063" y="1378492"/>
                </a:cubicBezTo>
                <a:cubicBezTo>
                  <a:pt x="896510" y="1377962"/>
                  <a:pt x="888823" y="1378227"/>
                  <a:pt x="881204" y="1378227"/>
                </a:cubicBezTo>
                <a:cubicBezTo>
                  <a:pt x="800498" y="1378227"/>
                  <a:pt x="719726" y="1378227"/>
                  <a:pt x="639020" y="1378227"/>
                </a:cubicBezTo>
                <a:cubicBezTo>
                  <a:pt x="624641" y="1378160"/>
                  <a:pt x="610197" y="1378094"/>
                  <a:pt x="595752" y="1378160"/>
                </a:cubicBezTo>
                <a:close/>
                <a:moveTo>
                  <a:pt x="437454" y="1643535"/>
                </a:moveTo>
                <a:cubicBezTo>
                  <a:pt x="415389" y="1643535"/>
                  <a:pt x="393259" y="1642806"/>
                  <a:pt x="371194" y="1643999"/>
                </a:cubicBezTo>
                <a:cubicBezTo>
                  <a:pt x="339455" y="1645722"/>
                  <a:pt x="317191" y="1667853"/>
                  <a:pt x="315733" y="1697273"/>
                </a:cubicBezTo>
                <a:cubicBezTo>
                  <a:pt x="314408" y="1723843"/>
                  <a:pt x="333557" y="1746836"/>
                  <a:pt x="362911" y="1752932"/>
                </a:cubicBezTo>
                <a:cubicBezTo>
                  <a:pt x="372519" y="1754920"/>
                  <a:pt x="382458" y="1755980"/>
                  <a:pt x="392264" y="1755980"/>
                </a:cubicBezTo>
                <a:cubicBezTo>
                  <a:pt x="556790" y="1756179"/>
                  <a:pt x="721316" y="1756046"/>
                  <a:pt x="885842" y="1756179"/>
                </a:cubicBezTo>
                <a:cubicBezTo>
                  <a:pt x="898166" y="1756179"/>
                  <a:pt x="910226" y="1755119"/>
                  <a:pt x="921954" y="1751607"/>
                </a:cubicBezTo>
                <a:cubicBezTo>
                  <a:pt x="952368" y="1742662"/>
                  <a:pt x="968535" y="1710989"/>
                  <a:pt x="958066" y="1681105"/>
                </a:cubicBezTo>
                <a:cubicBezTo>
                  <a:pt x="949519" y="1656721"/>
                  <a:pt x="929972" y="1643734"/>
                  <a:pt x="898962" y="1643601"/>
                </a:cubicBezTo>
                <a:cubicBezTo>
                  <a:pt x="812889" y="1643336"/>
                  <a:pt x="726816" y="1643469"/>
                  <a:pt x="640743" y="1643469"/>
                </a:cubicBezTo>
                <a:cubicBezTo>
                  <a:pt x="573024" y="1643535"/>
                  <a:pt x="505239" y="1643535"/>
                  <a:pt x="437454" y="1643535"/>
                </a:cubicBezTo>
                <a:close/>
              </a:path>
            </a:pathLst>
          </a:custGeom>
          <a:solidFill>
            <a:schemeClr val="bg1">
              <a:alpha val="75000"/>
            </a:schemeClr>
          </a:solidFill>
          <a:ln w="6624"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71590F6E-9FCF-4BB7-AFA2-89042E2CFBA1}"/>
              </a:ext>
            </a:extLst>
          </p:cNvPr>
          <p:cNvSpPr/>
          <p:nvPr/>
        </p:nvSpPr>
        <p:spPr>
          <a:xfrm>
            <a:off x="3776575" y="1667308"/>
            <a:ext cx="464487" cy="455480"/>
          </a:xfrm>
          <a:custGeom>
            <a:avLst/>
            <a:gdLst>
              <a:gd name="connsiteX0" fmla="*/ 2393683 w 2392017"/>
              <a:gd name="connsiteY0" fmla="*/ 1287738 h 2345634"/>
              <a:gd name="connsiteX1" fmla="*/ 2337627 w 2392017"/>
              <a:gd name="connsiteY1" fmla="*/ 1592804 h 2345634"/>
              <a:gd name="connsiteX2" fmla="*/ 2242277 w 2392017"/>
              <a:gd name="connsiteY2" fmla="*/ 1733806 h 2345634"/>
              <a:gd name="connsiteX3" fmla="*/ 1972463 w 2392017"/>
              <a:gd name="connsiteY3" fmla="*/ 1811332 h 2345634"/>
              <a:gd name="connsiteX4" fmla="*/ 1874065 w 2392017"/>
              <a:gd name="connsiteY4" fmla="*/ 1799802 h 2345634"/>
              <a:gd name="connsiteX5" fmla="*/ 1432304 w 2392017"/>
              <a:gd name="connsiteY5" fmla="*/ 1799670 h 2345634"/>
              <a:gd name="connsiteX6" fmla="*/ 1296204 w 2392017"/>
              <a:gd name="connsiteY6" fmla="*/ 1808748 h 2345634"/>
              <a:gd name="connsiteX7" fmla="*/ 1280036 w 2392017"/>
              <a:gd name="connsiteY7" fmla="*/ 1828758 h 2345634"/>
              <a:gd name="connsiteX8" fmla="*/ 1302830 w 2392017"/>
              <a:gd name="connsiteY8" fmla="*/ 2015746 h 2345634"/>
              <a:gd name="connsiteX9" fmla="*/ 1331389 w 2392017"/>
              <a:gd name="connsiteY9" fmla="*/ 2257003 h 2345634"/>
              <a:gd name="connsiteX10" fmla="*/ 1222787 w 2392017"/>
              <a:gd name="connsiteY10" fmla="*/ 2342148 h 2345634"/>
              <a:gd name="connsiteX11" fmla="*/ 976297 w 2392017"/>
              <a:gd name="connsiteY11" fmla="*/ 2257466 h 2345634"/>
              <a:gd name="connsiteX12" fmla="*/ 916927 w 2392017"/>
              <a:gd name="connsiteY12" fmla="*/ 2205054 h 2345634"/>
              <a:gd name="connsiteX13" fmla="*/ 776387 w 2392017"/>
              <a:gd name="connsiteY13" fmla="*/ 1908934 h 2345634"/>
              <a:gd name="connsiteX14" fmla="*/ 735306 w 2392017"/>
              <a:gd name="connsiteY14" fmla="*/ 1886670 h 2345634"/>
              <a:gd name="connsiteX15" fmla="*/ 482123 w 2392017"/>
              <a:gd name="connsiteY15" fmla="*/ 1934643 h 2345634"/>
              <a:gd name="connsiteX16" fmla="*/ 303616 w 2392017"/>
              <a:gd name="connsiteY16" fmla="*/ 1890911 h 2345634"/>
              <a:gd name="connsiteX17" fmla="*/ 98605 w 2392017"/>
              <a:gd name="connsiteY17" fmla="*/ 1646475 h 2345634"/>
              <a:gd name="connsiteX18" fmla="*/ 605 w 2392017"/>
              <a:gd name="connsiteY18" fmla="*/ 1230688 h 2345634"/>
              <a:gd name="connsiteX19" fmla="*/ 46524 w 2392017"/>
              <a:gd name="connsiteY19" fmla="*/ 1054566 h 2345634"/>
              <a:gd name="connsiteX20" fmla="*/ 156782 w 2392017"/>
              <a:gd name="connsiteY20" fmla="*/ 955440 h 2345634"/>
              <a:gd name="connsiteX21" fmla="*/ 994850 w 2392017"/>
              <a:gd name="connsiteY21" fmla="*/ 462658 h 2345634"/>
              <a:gd name="connsiteX22" fmla="*/ 1291698 w 2392017"/>
              <a:gd name="connsiteY22" fmla="*/ 180718 h 2345634"/>
              <a:gd name="connsiteX23" fmla="*/ 1308463 w 2392017"/>
              <a:gd name="connsiteY23" fmla="*/ 159249 h 2345634"/>
              <a:gd name="connsiteX24" fmla="*/ 1743863 w 2392017"/>
              <a:gd name="connsiteY24" fmla="*/ 36468 h 2345634"/>
              <a:gd name="connsiteX25" fmla="*/ 2046145 w 2392017"/>
              <a:gd name="connsiteY25" fmla="*/ 292235 h 2345634"/>
              <a:gd name="connsiteX26" fmla="*/ 2374335 w 2392017"/>
              <a:gd name="connsiteY26" fmla="*/ 1055693 h 2345634"/>
              <a:gd name="connsiteX27" fmla="*/ 2393683 w 2392017"/>
              <a:gd name="connsiteY27" fmla="*/ 1287738 h 2345634"/>
              <a:gd name="connsiteX28" fmla="*/ 1645730 w 2392017"/>
              <a:gd name="connsiteY28" fmla="*/ 1637264 h 2345634"/>
              <a:gd name="connsiteX29" fmla="*/ 1620551 w 2392017"/>
              <a:gd name="connsiteY29" fmla="*/ 1607845 h 2345634"/>
              <a:gd name="connsiteX30" fmla="*/ 1304420 w 2392017"/>
              <a:gd name="connsiteY30" fmla="*/ 1064041 h 2345634"/>
              <a:gd name="connsiteX31" fmla="*/ 1213179 w 2392017"/>
              <a:gd name="connsiteY31" fmla="*/ 518450 h 2345634"/>
              <a:gd name="connsiteX32" fmla="*/ 1209866 w 2392017"/>
              <a:gd name="connsiteY32" fmla="*/ 497511 h 2345634"/>
              <a:gd name="connsiteX33" fmla="*/ 1193897 w 2392017"/>
              <a:gd name="connsiteY33" fmla="*/ 505794 h 2345634"/>
              <a:gd name="connsiteX34" fmla="*/ 220326 w 2392017"/>
              <a:gd name="connsiteY34" fmla="*/ 1106714 h 2345634"/>
              <a:gd name="connsiteX35" fmla="*/ 182226 w 2392017"/>
              <a:gd name="connsiteY35" fmla="*/ 1143157 h 2345634"/>
              <a:gd name="connsiteX36" fmla="*/ 167251 w 2392017"/>
              <a:gd name="connsiteY36" fmla="*/ 1195437 h 2345634"/>
              <a:gd name="connsiteX37" fmla="*/ 218206 w 2392017"/>
              <a:gd name="connsiteY37" fmla="*/ 1522103 h 2345634"/>
              <a:gd name="connsiteX38" fmla="*/ 368751 w 2392017"/>
              <a:gd name="connsiteY38" fmla="*/ 1738511 h 2345634"/>
              <a:gd name="connsiteX39" fmla="*/ 473642 w 2392017"/>
              <a:gd name="connsiteY39" fmla="*/ 1769919 h 2345634"/>
              <a:gd name="connsiteX40" fmla="*/ 1143672 w 2392017"/>
              <a:gd name="connsiteY40" fmla="*/ 1661052 h 2345634"/>
              <a:gd name="connsiteX41" fmla="*/ 1569597 w 2392017"/>
              <a:gd name="connsiteY41" fmla="*/ 1637331 h 2345634"/>
              <a:gd name="connsiteX42" fmla="*/ 1645730 w 2392017"/>
              <a:gd name="connsiteY42" fmla="*/ 1637264 h 2345634"/>
              <a:gd name="connsiteX43" fmla="*/ 2223525 w 2392017"/>
              <a:gd name="connsiteY43" fmla="*/ 1250632 h 2345634"/>
              <a:gd name="connsiteX44" fmla="*/ 2209809 w 2392017"/>
              <a:gd name="connsiteY44" fmla="*/ 1077691 h 2345634"/>
              <a:gd name="connsiteX45" fmla="*/ 1983926 w 2392017"/>
              <a:gd name="connsiteY45" fmla="*/ 493204 h 2345634"/>
              <a:gd name="connsiteX46" fmla="*/ 1732267 w 2392017"/>
              <a:gd name="connsiteY46" fmla="*/ 218818 h 2345634"/>
              <a:gd name="connsiteX47" fmla="*/ 1664548 w 2392017"/>
              <a:gd name="connsiteY47" fmla="*/ 182507 h 2345634"/>
              <a:gd name="connsiteX48" fmla="*/ 1444695 w 2392017"/>
              <a:gd name="connsiteY48" fmla="*/ 257050 h 2345634"/>
              <a:gd name="connsiteX49" fmla="*/ 1380157 w 2392017"/>
              <a:gd name="connsiteY49" fmla="*/ 502216 h 2345634"/>
              <a:gd name="connsiteX50" fmla="*/ 1398511 w 2392017"/>
              <a:gd name="connsiteY50" fmla="*/ 524943 h 2345634"/>
              <a:gd name="connsiteX51" fmla="*/ 1602197 w 2392017"/>
              <a:gd name="connsiteY51" fmla="*/ 637786 h 2345634"/>
              <a:gd name="connsiteX52" fmla="*/ 1821322 w 2392017"/>
              <a:gd name="connsiteY52" fmla="*/ 1230887 h 2345634"/>
              <a:gd name="connsiteX53" fmla="*/ 1734653 w 2392017"/>
              <a:gd name="connsiteY53" fmla="*/ 1455047 h 2345634"/>
              <a:gd name="connsiteX54" fmla="*/ 1735381 w 2392017"/>
              <a:gd name="connsiteY54" fmla="*/ 1479497 h 2345634"/>
              <a:gd name="connsiteX55" fmla="*/ 1850476 w 2392017"/>
              <a:gd name="connsiteY55" fmla="*/ 1585183 h 2345634"/>
              <a:gd name="connsiteX56" fmla="*/ 1964313 w 2392017"/>
              <a:gd name="connsiteY56" fmla="*/ 1644686 h 2345634"/>
              <a:gd name="connsiteX57" fmla="*/ 2144145 w 2392017"/>
              <a:gd name="connsiteY57" fmla="*/ 1585448 h 2345634"/>
              <a:gd name="connsiteX58" fmla="*/ 2182709 w 2392017"/>
              <a:gd name="connsiteY58" fmla="*/ 1516272 h 2345634"/>
              <a:gd name="connsiteX59" fmla="*/ 2223525 w 2392017"/>
              <a:gd name="connsiteY59" fmla="*/ 1250632 h 2345634"/>
              <a:gd name="connsiteX60" fmla="*/ 1656001 w 2392017"/>
              <a:gd name="connsiteY60" fmla="*/ 1198883 h 2345634"/>
              <a:gd name="connsiteX61" fmla="*/ 1520829 w 2392017"/>
              <a:gd name="connsiteY61" fmla="*/ 795818 h 2345634"/>
              <a:gd name="connsiteX62" fmla="*/ 1415805 w 2392017"/>
              <a:gd name="connsiteY62" fmla="*/ 699607 h 2345634"/>
              <a:gd name="connsiteX63" fmla="*/ 1393276 w 2392017"/>
              <a:gd name="connsiteY63" fmla="*/ 695035 h 2345634"/>
              <a:gd name="connsiteX64" fmla="*/ 1390825 w 2392017"/>
              <a:gd name="connsiteY64" fmla="*/ 716305 h 2345634"/>
              <a:gd name="connsiteX65" fmla="*/ 1612533 w 2392017"/>
              <a:gd name="connsiteY65" fmla="*/ 1321929 h 2345634"/>
              <a:gd name="connsiteX66" fmla="*/ 1625786 w 2392017"/>
              <a:gd name="connsiteY66" fmla="*/ 1334187 h 2345634"/>
              <a:gd name="connsiteX67" fmla="*/ 1635394 w 2392017"/>
              <a:gd name="connsiteY67" fmla="*/ 1320604 h 2345634"/>
              <a:gd name="connsiteX68" fmla="*/ 1656001 w 2392017"/>
              <a:gd name="connsiteY68" fmla="*/ 1198883 h 2345634"/>
              <a:gd name="connsiteX69" fmla="*/ 1148509 w 2392017"/>
              <a:gd name="connsiteY69" fmla="*/ 2115204 h 2345634"/>
              <a:gd name="connsiteX70" fmla="*/ 1113722 w 2392017"/>
              <a:gd name="connsiteY70" fmla="*/ 1842739 h 2345634"/>
              <a:gd name="connsiteX71" fmla="*/ 1092054 w 2392017"/>
              <a:gd name="connsiteY71" fmla="*/ 1829421 h 2345634"/>
              <a:gd name="connsiteX72" fmla="*/ 954762 w 2392017"/>
              <a:gd name="connsiteY72" fmla="*/ 1847974 h 2345634"/>
              <a:gd name="connsiteX73" fmla="*/ 944359 w 2392017"/>
              <a:gd name="connsiteY73" fmla="*/ 1867057 h 2345634"/>
              <a:gd name="connsiteX74" fmla="*/ 1047130 w 2392017"/>
              <a:gd name="connsiteY74" fmla="*/ 2092609 h 2345634"/>
              <a:gd name="connsiteX75" fmla="*/ 1068333 w 2392017"/>
              <a:gd name="connsiteY75" fmla="*/ 2111560 h 2345634"/>
              <a:gd name="connsiteX76" fmla="*/ 1129890 w 2392017"/>
              <a:gd name="connsiteY76" fmla="*/ 2130444 h 2345634"/>
              <a:gd name="connsiteX77" fmla="*/ 1148509 w 2392017"/>
              <a:gd name="connsiteY77" fmla="*/ 2115204 h 2345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392017" h="2345634">
                <a:moveTo>
                  <a:pt x="2393683" y="1287738"/>
                </a:moveTo>
                <a:cubicBezTo>
                  <a:pt x="2396731" y="1391635"/>
                  <a:pt x="2379238" y="1494539"/>
                  <a:pt x="2337627" y="1592804"/>
                </a:cubicBezTo>
                <a:cubicBezTo>
                  <a:pt x="2315164" y="1645945"/>
                  <a:pt x="2284419" y="1693785"/>
                  <a:pt x="2242277" y="1733806"/>
                </a:cubicBezTo>
                <a:cubicBezTo>
                  <a:pt x="2165812" y="1806495"/>
                  <a:pt x="2075300" y="1831939"/>
                  <a:pt x="1972463" y="1811332"/>
                </a:cubicBezTo>
                <a:cubicBezTo>
                  <a:pt x="1939796" y="1804772"/>
                  <a:pt x="1906931" y="1801790"/>
                  <a:pt x="1874065" y="1799802"/>
                </a:cubicBezTo>
                <a:cubicBezTo>
                  <a:pt x="1726833" y="1791056"/>
                  <a:pt x="1579536" y="1793110"/>
                  <a:pt x="1432304" y="1799670"/>
                </a:cubicBezTo>
                <a:cubicBezTo>
                  <a:pt x="1386915" y="1801658"/>
                  <a:pt x="1341593" y="1806627"/>
                  <a:pt x="1296204" y="1808748"/>
                </a:cubicBezTo>
                <a:cubicBezTo>
                  <a:pt x="1280766" y="1809476"/>
                  <a:pt x="1278380" y="1815705"/>
                  <a:pt x="1280036" y="1828758"/>
                </a:cubicBezTo>
                <a:cubicBezTo>
                  <a:pt x="1287855" y="1891043"/>
                  <a:pt x="1295276" y="1953395"/>
                  <a:pt x="1302830" y="2015746"/>
                </a:cubicBezTo>
                <a:cubicBezTo>
                  <a:pt x="1312504" y="2096187"/>
                  <a:pt x="1323437" y="2176429"/>
                  <a:pt x="1331389" y="2257003"/>
                </a:cubicBezTo>
                <a:cubicBezTo>
                  <a:pt x="1337882" y="2322733"/>
                  <a:pt x="1284940" y="2363285"/>
                  <a:pt x="1222787" y="2342148"/>
                </a:cubicBezTo>
                <a:cubicBezTo>
                  <a:pt x="1140557" y="2314119"/>
                  <a:pt x="1058593" y="2285230"/>
                  <a:pt x="976297" y="2257466"/>
                </a:cubicBezTo>
                <a:cubicBezTo>
                  <a:pt x="948732" y="2248123"/>
                  <a:pt x="929384" y="2231426"/>
                  <a:pt x="916927" y="2205054"/>
                </a:cubicBezTo>
                <a:cubicBezTo>
                  <a:pt x="870279" y="2106259"/>
                  <a:pt x="822505" y="2007994"/>
                  <a:pt x="776387" y="1908934"/>
                </a:cubicBezTo>
                <a:cubicBezTo>
                  <a:pt x="767244" y="1889387"/>
                  <a:pt x="758497" y="1882496"/>
                  <a:pt x="735306" y="1886670"/>
                </a:cubicBezTo>
                <a:cubicBezTo>
                  <a:pt x="650757" y="1901712"/>
                  <a:pt x="565877" y="1914434"/>
                  <a:pt x="482123" y="1934643"/>
                </a:cubicBezTo>
                <a:cubicBezTo>
                  <a:pt x="417585" y="1950215"/>
                  <a:pt x="357818" y="1926162"/>
                  <a:pt x="303616" y="1890911"/>
                </a:cubicBezTo>
                <a:cubicBezTo>
                  <a:pt x="210586" y="1830349"/>
                  <a:pt x="147506" y="1744143"/>
                  <a:pt x="98605" y="1646475"/>
                </a:cubicBezTo>
                <a:cubicBezTo>
                  <a:pt x="33139" y="1515676"/>
                  <a:pt x="-5358" y="1378251"/>
                  <a:pt x="605" y="1230688"/>
                </a:cubicBezTo>
                <a:cubicBezTo>
                  <a:pt x="3123" y="1168866"/>
                  <a:pt x="16243" y="1109298"/>
                  <a:pt x="46524" y="1054566"/>
                </a:cubicBezTo>
                <a:cubicBezTo>
                  <a:pt x="71770" y="1008846"/>
                  <a:pt x="107352" y="974855"/>
                  <a:pt x="156782" y="955440"/>
                </a:cubicBezTo>
                <a:cubicBezTo>
                  <a:pt x="462179" y="835508"/>
                  <a:pt x="740077" y="668663"/>
                  <a:pt x="994850" y="462658"/>
                </a:cubicBezTo>
                <a:cubicBezTo>
                  <a:pt x="1101265" y="376585"/>
                  <a:pt x="1200656" y="282959"/>
                  <a:pt x="1291698" y="180718"/>
                </a:cubicBezTo>
                <a:cubicBezTo>
                  <a:pt x="1297728" y="173959"/>
                  <a:pt x="1303824" y="167002"/>
                  <a:pt x="1308463" y="159249"/>
                </a:cubicBezTo>
                <a:cubicBezTo>
                  <a:pt x="1402818" y="1085"/>
                  <a:pt x="1580066" y="-38075"/>
                  <a:pt x="1743863" y="36468"/>
                </a:cubicBezTo>
                <a:cubicBezTo>
                  <a:pt x="1868632" y="93254"/>
                  <a:pt x="1964644" y="185091"/>
                  <a:pt x="2046145" y="292235"/>
                </a:cubicBezTo>
                <a:cubicBezTo>
                  <a:pt x="2218688" y="519245"/>
                  <a:pt x="2325633" y="775144"/>
                  <a:pt x="2374335" y="1055693"/>
                </a:cubicBezTo>
                <a:cubicBezTo>
                  <a:pt x="2387388" y="1131429"/>
                  <a:pt x="2394942" y="1207960"/>
                  <a:pt x="2393683" y="1287738"/>
                </a:cubicBezTo>
                <a:close/>
                <a:moveTo>
                  <a:pt x="1645730" y="1637264"/>
                </a:moveTo>
                <a:cubicBezTo>
                  <a:pt x="1634334" y="1623946"/>
                  <a:pt x="1627707" y="1615663"/>
                  <a:pt x="1620551" y="1607845"/>
                </a:cubicBezTo>
                <a:cubicBezTo>
                  <a:pt x="1476103" y="1449282"/>
                  <a:pt x="1374789" y="1265143"/>
                  <a:pt x="1304420" y="1064041"/>
                </a:cubicBezTo>
                <a:cubicBezTo>
                  <a:pt x="1242798" y="887854"/>
                  <a:pt x="1213577" y="705372"/>
                  <a:pt x="1213179" y="518450"/>
                </a:cubicBezTo>
                <a:cubicBezTo>
                  <a:pt x="1213179" y="511293"/>
                  <a:pt x="1216691" y="501951"/>
                  <a:pt x="1209866" y="497511"/>
                </a:cubicBezTo>
                <a:cubicBezTo>
                  <a:pt x="1202710" y="492873"/>
                  <a:pt x="1198469" y="501752"/>
                  <a:pt x="1193897" y="505794"/>
                </a:cubicBezTo>
                <a:cubicBezTo>
                  <a:pt x="903874" y="762025"/>
                  <a:pt x="579328" y="962398"/>
                  <a:pt x="220326" y="1106714"/>
                </a:cubicBezTo>
                <a:cubicBezTo>
                  <a:pt x="201906" y="1114135"/>
                  <a:pt x="189847" y="1125730"/>
                  <a:pt x="182226" y="1143157"/>
                </a:cubicBezTo>
                <a:cubicBezTo>
                  <a:pt x="174871" y="1159921"/>
                  <a:pt x="169769" y="1177282"/>
                  <a:pt x="167251" y="1195437"/>
                </a:cubicBezTo>
                <a:cubicBezTo>
                  <a:pt x="151283" y="1309472"/>
                  <a:pt x="172685" y="1418007"/>
                  <a:pt x="218206" y="1522103"/>
                </a:cubicBezTo>
                <a:cubicBezTo>
                  <a:pt x="253921" y="1603935"/>
                  <a:pt x="300105" y="1679208"/>
                  <a:pt x="368751" y="1738511"/>
                </a:cubicBezTo>
                <a:cubicBezTo>
                  <a:pt x="399098" y="1764750"/>
                  <a:pt x="432626" y="1779659"/>
                  <a:pt x="473642" y="1769919"/>
                </a:cubicBezTo>
                <a:cubicBezTo>
                  <a:pt x="694357" y="1717374"/>
                  <a:pt x="917921" y="1682918"/>
                  <a:pt x="1143672" y="1661052"/>
                </a:cubicBezTo>
                <a:cubicBezTo>
                  <a:pt x="1285404" y="1647336"/>
                  <a:pt x="1427268" y="1638656"/>
                  <a:pt x="1569597" y="1637331"/>
                </a:cubicBezTo>
                <a:cubicBezTo>
                  <a:pt x="1592589" y="1637066"/>
                  <a:pt x="1615648" y="1637264"/>
                  <a:pt x="1645730" y="1637264"/>
                </a:cubicBezTo>
                <a:close/>
                <a:moveTo>
                  <a:pt x="2223525" y="1250632"/>
                </a:moveTo>
                <a:cubicBezTo>
                  <a:pt x="2224188" y="1192521"/>
                  <a:pt x="2219881" y="1134808"/>
                  <a:pt x="2209809" y="1077691"/>
                </a:cubicBezTo>
                <a:cubicBezTo>
                  <a:pt x="2172902" y="868108"/>
                  <a:pt x="2096039" y="673500"/>
                  <a:pt x="1983926" y="493204"/>
                </a:cubicBezTo>
                <a:cubicBezTo>
                  <a:pt x="1917466" y="386259"/>
                  <a:pt x="1838152" y="290115"/>
                  <a:pt x="1732267" y="218818"/>
                </a:cubicBezTo>
                <a:cubicBezTo>
                  <a:pt x="1710931" y="204439"/>
                  <a:pt x="1688535" y="192115"/>
                  <a:pt x="1664548" y="182507"/>
                </a:cubicBezTo>
                <a:cubicBezTo>
                  <a:pt x="1569928" y="144540"/>
                  <a:pt x="1496842" y="169188"/>
                  <a:pt x="1444695" y="257050"/>
                </a:cubicBezTo>
                <a:cubicBezTo>
                  <a:pt x="1399836" y="332588"/>
                  <a:pt x="1391753" y="417932"/>
                  <a:pt x="1380157" y="502216"/>
                </a:cubicBezTo>
                <a:cubicBezTo>
                  <a:pt x="1378301" y="515733"/>
                  <a:pt x="1382873" y="523154"/>
                  <a:pt x="1398511" y="524943"/>
                </a:cubicBezTo>
                <a:cubicBezTo>
                  <a:pt x="1481735" y="534485"/>
                  <a:pt x="1548990" y="575368"/>
                  <a:pt x="1602197" y="637786"/>
                </a:cubicBezTo>
                <a:cubicBezTo>
                  <a:pt x="1747639" y="808407"/>
                  <a:pt x="1829935" y="1003678"/>
                  <a:pt x="1821322" y="1230887"/>
                </a:cubicBezTo>
                <a:cubicBezTo>
                  <a:pt x="1818141" y="1314176"/>
                  <a:pt x="1795414" y="1392828"/>
                  <a:pt x="1734653" y="1455047"/>
                </a:cubicBezTo>
                <a:cubicBezTo>
                  <a:pt x="1725177" y="1464788"/>
                  <a:pt x="1726900" y="1470685"/>
                  <a:pt x="1735381" y="1479497"/>
                </a:cubicBezTo>
                <a:cubicBezTo>
                  <a:pt x="1771560" y="1517200"/>
                  <a:pt x="1808202" y="1554240"/>
                  <a:pt x="1850476" y="1585183"/>
                </a:cubicBezTo>
                <a:cubicBezTo>
                  <a:pt x="1885462" y="1610760"/>
                  <a:pt x="1922369" y="1632494"/>
                  <a:pt x="1964313" y="1644686"/>
                </a:cubicBezTo>
                <a:cubicBezTo>
                  <a:pt x="2038260" y="1666220"/>
                  <a:pt x="2097365" y="1646674"/>
                  <a:pt x="2144145" y="1585448"/>
                </a:cubicBezTo>
                <a:cubicBezTo>
                  <a:pt x="2160379" y="1564245"/>
                  <a:pt x="2172902" y="1541054"/>
                  <a:pt x="2182709" y="1516272"/>
                </a:cubicBezTo>
                <a:cubicBezTo>
                  <a:pt x="2216502" y="1430862"/>
                  <a:pt x="2222730" y="1341145"/>
                  <a:pt x="2223525" y="1250632"/>
                </a:cubicBezTo>
                <a:close/>
                <a:moveTo>
                  <a:pt x="1656001" y="1198883"/>
                </a:moveTo>
                <a:cubicBezTo>
                  <a:pt x="1648050" y="1052181"/>
                  <a:pt x="1607034" y="916545"/>
                  <a:pt x="1520829" y="795818"/>
                </a:cubicBezTo>
                <a:cubicBezTo>
                  <a:pt x="1492535" y="756127"/>
                  <a:pt x="1459405" y="722202"/>
                  <a:pt x="1415805" y="699607"/>
                </a:cubicBezTo>
                <a:cubicBezTo>
                  <a:pt x="1408914" y="696029"/>
                  <a:pt x="1401162" y="688475"/>
                  <a:pt x="1393276" y="695035"/>
                </a:cubicBezTo>
                <a:cubicBezTo>
                  <a:pt x="1387048" y="700137"/>
                  <a:pt x="1389831" y="709148"/>
                  <a:pt x="1390825" y="716305"/>
                </a:cubicBezTo>
                <a:cubicBezTo>
                  <a:pt x="1421437" y="934038"/>
                  <a:pt x="1496776" y="1135405"/>
                  <a:pt x="1612533" y="1321929"/>
                </a:cubicBezTo>
                <a:cubicBezTo>
                  <a:pt x="1615714" y="1327031"/>
                  <a:pt x="1617172" y="1335976"/>
                  <a:pt x="1625786" y="1334187"/>
                </a:cubicBezTo>
                <a:cubicBezTo>
                  <a:pt x="1631882" y="1332928"/>
                  <a:pt x="1633273" y="1325772"/>
                  <a:pt x="1635394" y="1320604"/>
                </a:cubicBezTo>
                <a:cubicBezTo>
                  <a:pt x="1651628" y="1281709"/>
                  <a:pt x="1656001" y="1240826"/>
                  <a:pt x="1656001" y="1198883"/>
                </a:cubicBezTo>
                <a:close/>
                <a:moveTo>
                  <a:pt x="1148509" y="2115204"/>
                </a:moveTo>
                <a:cubicBezTo>
                  <a:pt x="1136847" y="2024361"/>
                  <a:pt x="1125119" y="1933583"/>
                  <a:pt x="1113722" y="1842739"/>
                </a:cubicBezTo>
                <a:cubicBezTo>
                  <a:pt x="1111933" y="1828295"/>
                  <a:pt x="1102126" y="1828096"/>
                  <a:pt x="1092054" y="1829421"/>
                </a:cubicBezTo>
                <a:cubicBezTo>
                  <a:pt x="1046268" y="1835451"/>
                  <a:pt x="1000614" y="1842408"/>
                  <a:pt x="954762" y="1847974"/>
                </a:cubicBezTo>
                <a:cubicBezTo>
                  <a:pt x="940185" y="1849763"/>
                  <a:pt x="938727" y="1854865"/>
                  <a:pt x="944359" y="1867057"/>
                </a:cubicBezTo>
                <a:cubicBezTo>
                  <a:pt x="978881" y="1942131"/>
                  <a:pt x="1013005" y="2017337"/>
                  <a:pt x="1047130" y="2092609"/>
                </a:cubicBezTo>
                <a:cubicBezTo>
                  <a:pt x="1051503" y="2102283"/>
                  <a:pt x="1057864" y="2108578"/>
                  <a:pt x="1068333" y="2111560"/>
                </a:cubicBezTo>
                <a:cubicBezTo>
                  <a:pt x="1089007" y="2117391"/>
                  <a:pt x="1109614" y="2123420"/>
                  <a:pt x="1129890" y="2130444"/>
                </a:cubicBezTo>
                <a:cubicBezTo>
                  <a:pt x="1145527" y="2135877"/>
                  <a:pt x="1149370" y="2129119"/>
                  <a:pt x="1148509" y="2115204"/>
                </a:cubicBezTo>
                <a:close/>
              </a:path>
            </a:pathLst>
          </a:custGeom>
          <a:solidFill>
            <a:schemeClr val="bg1">
              <a:alpha val="75000"/>
            </a:schemeClr>
          </a:solidFill>
          <a:ln w="6624"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7C399AEA-063C-4674-9CA0-FE1873138E2E}"/>
              </a:ext>
            </a:extLst>
          </p:cNvPr>
          <p:cNvSpPr/>
          <p:nvPr/>
        </p:nvSpPr>
        <p:spPr>
          <a:xfrm>
            <a:off x="7941302" y="1686001"/>
            <a:ext cx="483757" cy="483755"/>
          </a:xfrm>
          <a:custGeom>
            <a:avLst/>
            <a:gdLst>
              <a:gd name="connsiteX0" fmla="*/ 1550438 w 3392556"/>
              <a:gd name="connsiteY0" fmla="*/ 0 h 3392556"/>
              <a:gd name="connsiteX1" fmla="*/ 1841986 w 3392556"/>
              <a:gd name="connsiteY1" fmla="*/ 0 h 3392556"/>
              <a:gd name="connsiteX2" fmla="*/ 1851395 w 3392556"/>
              <a:gd name="connsiteY2" fmla="*/ 3048 h 3392556"/>
              <a:gd name="connsiteX3" fmla="*/ 2557338 w 3392556"/>
              <a:gd name="connsiteY3" fmla="*/ 230257 h 3392556"/>
              <a:gd name="connsiteX4" fmla="*/ 2600540 w 3392556"/>
              <a:gd name="connsiteY4" fmla="*/ 223763 h 3392556"/>
              <a:gd name="connsiteX5" fmla="*/ 2741278 w 3392556"/>
              <a:gd name="connsiteY5" fmla="*/ 83422 h 3392556"/>
              <a:gd name="connsiteX6" fmla="*/ 2850874 w 3392556"/>
              <a:gd name="connsiteY6" fmla="*/ 58111 h 3392556"/>
              <a:gd name="connsiteX7" fmla="*/ 2918393 w 3392556"/>
              <a:gd name="connsiteY7" fmla="*/ 147828 h 3392556"/>
              <a:gd name="connsiteX8" fmla="*/ 2942645 w 3392556"/>
              <a:gd name="connsiteY8" fmla="*/ 414528 h 3392556"/>
              <a:gd name="connsiteX9" fmla="*/ 2979089 w 3392556"/>
              <a:gd name="connsiteY9" fmla="*/ 449977 h 3392556"/>
              <a:gd name="connsiteX10" fmla="*/ 3239229 w 3392556"/>
              <a:gd name="connsiteY10" fmla="*/ 472970 h 3392556"/>
              <a:gd name="connsiteX11" fmla="*/ 3335704 w 3392556"/>
              <a:gd name="connsiteY11" fmla="*/ 545791 h 3392556"/>
              <a:gd name="connsiteX12" fmla="*/ 3301845 w 3392556"/>
              <a:gd name="connsiteY12" fmla="*/ 659428 h 3392556"/>
              <a:gd name="connsiteX13" fmla="*/ 3172703 w 3392556"/>
              <a:gd name="connsiteY13" fmla="*/ 787908 h 3392556"/>
              <a:gd name="connsiteX14" fmla="*/ 3166010 w 3392556"/>
              <a:gd name="connsiteY14" fmla="*/ 841844 h 3392556"/>
              <a:gd name="connsiteX15" fmla="*/ 3388912 w 3392556"/>
              <a:gd name="connsiteY15" fmla="*/ 1852853 h 3392556"/>
              <a:gd name="connsiteX16" fmla="*/ 3208749 w 3392556"/>
              <a:gd name="connsiteY16" fmla="*/ 2474910 h 3392556"/>
              <a:gd name="connsiteX17" fmla="*/ 1348011 w 3392556"/>
              <a:gd name="connsiteY17" fmla="*/ 3358366 h 3392556"/>
              <a:gd name="connsiteX18" fmla="*/ 63544 w 3392556"/>
              <a:gd name="connsiteY18" fmla="*/ 2172826 h 3392556"/>
              <a:gd name="connsiteX19" fmla="*/ 0 w 3392556"/>
              <a:gd name="connsiteY19" fmla="*/ 1842119 h 3392556"/>
              <a:gd name="connsiteX20" fmla="*/ 0 w 3392556"/>
              <a:gd name="connsiteY20" fmla="*/ 1550571 h 3392556"/>
              <a:gd name="connsiteX21" fmla="*/ 24317 w 3392556"/>
              <a:gd name="connsiteY21" fmla="*/ 1387437 h 3392556"/>
              <a:gd name="connsiteX22" fmla="*/ 1213766 w 3392556"/>
              <a:gd name="connsiteY22" fmla="*/ 65068 h 3392556"/>
              <a:gd name="connsiteX23" fmla="*/ 1550438 w 3392556"/>
              <a:gd name="connsiteY23" fmla="*/ 0 h 3392556"/>
              <a:gd name="connsiteX24" fmla="*/ 560766 w 3392556"/>
              <a:gd name="connsiteY24" fmla="*/ 1689851 h 3392556"/>
              <a:gd name="connsiteX25" fmla="*/ 569645 w 3392556"/>
              <a:gd name="connsiteY25" fmla="*/ 1536722 h 3392556"/>
              <a:gd name="connsiteX26" fmla="*/ 954952 w 3392556"/>
              <a:gd name="connsiteY26" fmla="*/ 835417 h 3392556"/>
              <a:gd name="connsiteX27" fmla="*/ 1870279 w 3392556"/>
              <a:gd name="connsiteY27" fmla="*/ 572825 h 3392556"/>
              <a:gd name="connsiteX28" fmla="*/ 2273211 w 3392556"/>
              <a:gd name="connsiteY28" fmla="*/ 716214 h 3392556"/>
              <a:gd name="connsiteX29" fmla="*/ 2299518 w 3392556"/>
              <a:gd name="connsiteY29" fmla="*/ 723701 h 3392556"/>
              <a:gd name="connsiteX30" fmla="*/ 2301174 w 3392556"/>
              <a:gd name="connsiteY30" fmla="*/ 701769 h 3392556"/>
              <a:gd name="connsiteX31" fmla="*/ 2290970 w 3392556"/>
              <a:gd name="connsiteY31" fmla="*/ 596481 h 3392556"/>
              <a:gd name="connsiteX32" fmla="*/ 2328871 w 3392556"/>
              <a:gd name="connsiteY32" fmla="*/ 494836 h 3392556"/>
              <a:gd name="connsiteX33" fmla="*/ 2396921 w 3392556"/>
              <a:gd name="connsiteY33" fmla="*/ 426985 h 3392556"/>
              <a:gd name="connsiteX34" fmla="*/ 2387247 w 3392556"/>
              <a:gd name="connsiteY34" fmla="*/ 372784 h 3392556"/>
              <a:gd name="connsiteX35" fmla="*/ 1528374 w 3392556"/>
              <a:gd name="connsiteY35" fmla="*/ 213559 h 3392556"/>
              <a:gd name="connsiteX36" fmla="*/ 789034 w 3392556"/>
              <a:gd name="connsiteY36" fmla="*/ 511733 h 3392556"/>
              <a:gd name="connsiteX37" fmla="*/ 206336 w 3392556"/>
              <a:gd name="connsiteY37" fmla="*/ 1770027 h 3392556"/>
              <a:gd name="connsiteX38" fmla="*/ 270344 w 3392556"/>
              <a:gd name="connsiteY38" fmla="*/ 2140491 h 3392556"/>
              <a:gd name="connsiteX39" fmla="*/ 1912885 w 3392556"/>
              <a:gd name="connsiteY39" fmla="*/ 3172438 h 3392556"/>
              <a:gd name="connsiteX40" fmla="*/ 2910376 w 3392556"/>
              <a:gd name="connsiteY40" fmla="*/ 2563169 h 3392556"/>
              <a:gd name="connsiteX41" fmla="*/ 3172173 w 3392556"/>
              <a:gd name="connsiteY41" fmla="*/ 1474702 h 3392556"/>
              <a:gd name="connsiteX42" fmla="*/ 3013544 w 3392556"/>
              <a:gd name="connsiteY42" fmla="*/ 993052 h 3392556"/>
              <a:gd name="connsiteX43" fmla="*/ 2976637 w 3392556"/>
              <a:gd name="connsiteY43" fmla="*/ 983974 h 3392556"/>
              <a:gd name="connsiteX44" fmla="*/ 2894938 w 3392556"/>
              <a:gd name="connsiteY44" fmla="*/ 1066270 h 3392556"/>
              <a:gd name="connsiteX45" fmla="*/ 2802239 w 3392556"/>
              <a:gd name="connsiteY45" fmla="*/ 1101720 h 3392556"/>
              <a:gd name="connsiteX46" fmla="*/ 2700064 w 3392556"/>
              <a:gd name="connsiteY46" fmla="*/ 1093172 h 3392556"/>
              <a:gd name="connsiteX47" fmla="*/ 2668856 w 3392556"/>
              <a:gd name="connsiteY47" fmla="*/ 1093503 h 3392556"/>
              <a:gd name="connsiteX48" fmla="*/ 2679921 w 3392556"/>
              <a:gd name="connsiteY48" fmla="*/ 1125374 h 3392556"/>
              <a:gd name="connsiteX49" fmla="*/ 2818671 w 3392556"/>
              <a:gd name="connsiteY49" fmla="*/ 1875183 h 3392556"/>
              <a:gd name="connsiteX50" fmla="*/ 1463570 w 3392556"/>
              <a:gd name="connsiteY50" fmla="*/ 2809461 h 3392556"/>
              <a:gd name="connsiteX51" fmla="*/ 560766 w 3392556"/>
              <a:gd name="connsiteY51" fmla="*/ 1689851 h 3392556"/>
              <a:gd name="connsiteX52" fmla="*/ 1157180 w 3392556"/>
              <a:gd name="connsiteY52" fmla="*/ 1690845 h 3392556"/>
              <a:gd name="connsiteX53" fmla="*/ 1167848 w 3392556"/>
              <a:gd name="connsiteY53" fmla="*/ 1580123 h 3392556"/>
              <a:gd name="connsiteX54" fmla="*/ 1966954 w 3392556"/>
              <a:gd name="connsiteY54" fmla="*/ 1229139 h 3392556"/>
              <a:gd name="connsiteX55" fmla="*/ 2026323 w 3392556"/>
              <a:gd name="connsiteY55" fmla="*/ 1220724 h 3392556"/>
              <a:gd name="connsiteX56" fmla="*/ 2251412 w 3392556"/>
              <a:gd name="connsiteY56" fmla="*/ 996033 h 3392556"/>
              <a:gd name="connsiteX57" fmla="*/ 2246443 w 3392556"/>
              <a:gd name="connsiteY57" fmla="*/ 946868 h 3392556"/>
              <a:gd name="connsiteX58" fmla="*/ 1541095 w 3392556"/>
              <a:gd name="connsiteY58" fmla="*/ 780222 h 3392556"/>
              <a:gd name="connsiteX59" fmla="*/ 778499 w 3392556"/>
              <a:gd name="connsiteY59" fmla="*/ 1848214 h 3392556"/>
              <a:gd name="connsiteX60" fmla="*/ 1970333 w 3392556"/>
              <a:gd name="connsiteY60" fmla="*/ 2584836 h 3392556"/>
              <a:gd name="connsiteX61" fmla="*/ 2623334 w 3392556"/>
              <a:gd name="connsiteY61" fmla="*/ 1640023 h 3392556"/>
              <a:gd name="connsiteX62" fmla="*/ 2441249 w 3392556"/>
              <a:gd name="connsiteY62" fmla="*/ 1140349 h 3392556"/>
              <a:gd name="connsiteX63" fmla="*/ 2400963 w 3392556"/>
              <a:gd name="connsiteY63" fmla="*/ 1137169 h 3392556"/>
              <a:gd name="connsiteX64" fmla="*/ 2171369 w 3392556"/>
              <a:gd name="connsiteY64" fmla="*/ 1366697 h 3392556"/>
              <a:gd name="connsiteX65" fmla="*/ 2163881 w 3392556"/>
              <a:gd name="connsiteY65" fmla="*/ 1426199 h 3392556"/>
              <a:gd name="connsiteX66" fmla="*/ 2233919 w 3392556"/>
              <a:gd name="connsiteY66" fmla="*/ 1757371 h 3392556"/>
              <a:gd name="connsiteX67" fmla="*/ 1633794 w 3392556"/>
              <a:gd name="connsiteY67" fmla="*/ 2233919 h 3392556"/>
              <a:gd name="connsiteX68" fmla="*/ 1157180 w 3392556"/>
              <a:gd name="connsiteY68" fmla="*/ 1690845 h 3392556"/>
              <a:gd name="connsiteX69" fmla="*/ 1362257 w 3392556"/>
              <a:gd name="connsiteY69" fmla="*/ 1696013 h 3392556"/>
              <a:gd name="connsiteX70" fmla="*/ 1728216 w 3392556"/>
              <a:gd name="connsiteY70" fmla="*/ 2026986 h 3392556"/>
              <a:gd name="connsiteX71" fmla="*/ 2007704 w 3392556"/>
              <a:gd name="connsiteY71" fmla="*/ 1578201 h 3392556"/>
              <a:gd name="connsiteX72" fmla="*/ 1969140 w 3392556"/>
              <a:gd name="connsiteY72" fmla="*/ 1569654 h 3392556"/>
              <a:gd name="connsiteX73" fmla="*/ 1774864 w 3392556"/>
              <a:gd name="connsiteY73" fmla="*/ 1763798 h 3392556"/>
              <a:gd name="connsiteX74" fmla="*/ 1663015 w 3392556"/>
              <a:gd name="connsiteY74" fmla="*/ 1792887 h 3392556"/>
              <a:gd name="connsiteX75" fmla="*/ 1625909 w 3392556"/>
              <a:gd name="connsiteY75" fmla="*/ 1620873 h 3392556"/>
              <a:gd name="connsiteX76" fmla="*/ 1819789 w 3392556"/>
              <a:gd name="connsiteY76" fmla="*/ 1426332 h 3392556"/>
              <a:gd name="connsiteX77" fmla="*/ 1808988 w 3392556"/>
              <a:gd name="connsiteY77" fmla="*/ 1382732 h 3392556"/>
              <a:gd name="connsiteX78" fmla="*/ 1662816 w 3392556"/>
              <a:gd name="connsiteY78" fmla="*/ 1365305 h 3392556"/>
              <a:gd name="connsiteX79" fmla="*/ 1362257 w 3392556"/>
              <a:gd name="connsiteY79" fmla="*/ 1696013 h 3392556"/>
              <a:gd name="connsiteX80" fmla="*/ 2726900 w 3392556"/>
              <a:gd name="connsiteY80" fmla="*/ 886239 h 3392556"/>
              <a:gd name="connsiteX81" fmla="*/ 2789715 w 3392556"/>
              <a:gd name="connsiteY81" fmla="*/ 877426 h 3392556"/>
              <a:gd name="connsiteX82" fmla="*/ 2983595 w 3392556"/>
              <a:gd name="connsiteY82" fmla="*/ 683149 h 3392556"/>
              <a:gd name="connsiteX83" fmla="*/ 2991877 w 3392556"/>
              <a:gd name="connsiteY83" fmla="*/ 663801 h 3392556"/>
              <a:gd name="connsiteX84" fmla="*/ 2973920 w 3392556"/>
              <a:gd name="connsiteY84" fmla="*/ 658302 h 3392556"/>
              <a:gd name="connsiteX85" fmla="*/ 2832719 w 3392556"/>
              <a:gd name="connsiteY85" fmla="*/ 644586 h 3392556"/>
              <a:gd name="connsiteX86" fmla="*/ 2747971 w 3392556"/>
              <a:gd name="connsiteY86" fmla="*/ 559971 h 3392556"/>
              <a:gd name="connsiteX87" fmla="*/ 2734321 w 3392556"/>
              <a:gd name="connsiteY87" fmla="*/ 422082 h 3392556"/>
              <a:gd name="connsiteX88" fmla="*/ 2728821 w 3392556"/>
              <a:gd name="connsiteY88" fmla="*/ 400878 h 3392556"/>
              <a:gd name="connsiteX89" fmla="*/ 2707220 w 3392556"/>
              <a:gd name="connsiteY89" fmla="*/ 411281 h 3392556"/>
              <a:gd name="connsiteX90" fmla="*/ 2517648 w 3392556"/>
              <a:gd name="connsiteY90" fmla="*/ 600522 h 3392556"/>
              <a:gd name="connsiteX91" fmla="*/ 2503800 w 3392556"/>
              <a:gd name="connsiteY91" fmla="*/ 635574 h 3392556"/>
              <a:gd name="connsiteX92" fmla="*/ 2520497 w 3392556"/>
              <a:gd name="connsiteY92" fmla="*/ 842905 h 3392556"/>
              <a:gd name="connsiteX93" fmla="*/ 2549254 w 3392556"/>
              <a:gd name="connsiteY93" fmla="*/ 872126 h 3392556"/>
              <a:gd name="connsiteX94" fmla="*/ 2726900 w 3392556"/>
              <a:gd name="connsiteY94" fmla="*/ 886239 h 3392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392556" h="3392556">
                <a:moveTo>
                  <a:pt x="1550438" y="0"/>
                </a:moveTo>
                <a:cubicBezTo>
                  <a:pt x="1647643" y="0"/>
                  <a:pt x="1744781" y="0"/>
                  <a:pt x="1841986" y="0"/>
                </a:cubicBezTo>
                <a:cubicBezTo>
                  <a:pt x="1845100" y="1060"/>
                  <a:pt x="1848214" y="2717"/>
                  <a:pt x="1851395" y="3048"/>
                </a:cubicBezTo>
                <a:cubicBezTo>
                  <a:pt x="2103783" y="25709"/>
                  <a:pt x="2339075" y="101710"/>
                  <a:pt x="2557338" y="230257"/>
                </a:cubicBezTo>
                <a:cubicBezTo>
                  <a:pt x="2575030" y="240660"/>
                  <a:pt x="2586758" y="237877"/>
                  <a:pt x="2600540" y="223763"/>
                </a:cubicBezTo>
                <a:cubicBezTo>
                  <a:pt x="2646790" y="176386"/>
                  <a:pt x="2693504" y="129341"/>
                  <a:pt x="2741278" y="83422"/>
                </a:cubicBezTo>
                <a:cubicBezTo>
                  <a:pt x="2772090" y="53804"/>
                  <a:pt x="2808997" y="42009"/>
                  <a:pt x="2850874" y="58111"/>
                </a:cubicBezTo>
                <a:cubicBezTo>
                  <a:pt x="2891691" y="73815"/>
                  <a:pt x="2914418" y="103698"/>
                  <a:pt x="2918393" y="147828"/>
                </a:cubicBezTo>
                <a:cubicBezTo>
                  <a:pt x="2926412" y="236750"/>
                  <a:pt x="2935754" y="325540"/>
                  <a:pt x="2942645" y="414528"/>
                </a:cubicBezTo>
                <a:cubicBezTo>
                  <a:pt x="2944633" y="439840"/>
                  <a:pt x="2954639" y="448122"/>
                  <a:pt x="2979089" y="449977"/>
                </a:cubicBezTo>
                <a:cubicBezTo>
                  <a:pt x="3065890" y="456538"/>
                  <a:pt x="3152494" y="465218"/>
                  <a:pt x="3239229" y="472970"/>
                </a:cubicBezTo>
                <a:cubicBezTo>
                  <a:pt x="3286606" y="477211"/>
                  <a:pt x="3320200" y="499607"/>
                  <a:pt x="3335704" y="545791"/>
                </a:cubicBezTo>
                <a:cubicBezTo>
                  <a:pt x="3351077" y="591577"/>
                  <a:pt x="3333253" y="627689"/>
                  <a:pt x="3301845" y="659428"/>
                </a:cubicBezTo>
                <a:cubicBezTo>
                  <a:pt x="3259107" y="702564"/>
                  <a:pt x="3216833" y="746230"/>
                  <a:pt x="3172703" y="787908"/>
                </a:cubicBezTo>
                <a:cubicBezTo>
                  <a:pt x="3153819" y="805732"/>
                  <a:pt x="3153289" y="819779"/>
                  <a:pt x="3166010" y="841844"/>
                </a:cubicBezTo>
                <a:cubicBezTo>
                  <a:pt x="3347168" y="1155192"/>
                  <a:pt x="3420055" y="1492393"/>
                  <a:pt x="3388912" y="1852853"/>
                </a:cubicBezTo>
                <a:cubicBezTo>
                  <a:pt x="3369961" y="2072309"/>
                  <a:pt x="3310658" y="2280169"/>
                  <a:pt x="3208749" y="2474910"/>
                </a:cubicBezTo>
                <a:cubicBezTo>
                  <a:pt x="2849747" y="3160776"/>
                  <a:pt x="2103982" y="3523621"/>
                  <a:pt x="1348011" y="3358366"/>
                </a:cubicBezTo>
                <a:cubicBezTo>
                  <a:pt x="695209" y="3215640"/>
                  <a:pt x="269549" y="2808467"/>
                  <a:pt x="63544" y="2172826"/>
                </a:cubicBezTo>
                <a:cubicBezTo>
                  <a:pt x="28757" y="2065418"/>
                  <a:pt x="13517" y="1953834"/>
                  <a:pt x="0" y="1842119"/>
                </a:cubicBezTo>
                <a:cubicBezTo>
                  <a:pt x="0" y="1744914"/>
                  <a:pt x="0" y="1647775"/>
                  <a:pt x="0" y="1550571"/>
                </a:cubicBezTo>
                <a:cubicBezTo>
                  <a:pt x="7951" y="1496170"/>
                  <a:pt x="12854" y="1441108"/>
                  <a:pt x="24317" y="1387437"/>
                </a:cubicBezTo>
                <a:cubicBezTo>
                  <a:pt x="167309" y="718930"/>
                  <a:pt x="566265" y="279687"/>
                  <a:pt x="1213766" y="65068"/>
                </a:cubicBezTo>
                <a:cubicBezTo>
                  <a:pt x="1322832" y="28890"/>
                  <a:pt x="1436668" y="13517"/>
                  <a:pt x="1550438" y="0"/>
                </a:cubicBezTo>
                <a:close/>
                <a:moveTo>
                  <a:pt x="560766" y="1689851"/>
                </a:moveTo>
                <a:cubicBezTo>
                  <a:pt x="558381" y="1644264"/>
                  <a:pt x="561428" y="1590261"/>
                  <a:pt x="569645" y="1536722"/>
                </a:cubicBezTo>
                <a:cubicBezTo>
                  <a:pt x="612979" y="1256306"/>
                  <a:pt x="738875" y="1019821"/>
                  <a:pt x="954952" y="835417"/>
                </a:cubicBezTo>
                <a:cubicBezTo>
                  <a:pt x="1219333" y="609799"/>
                  <a:pt x="1526518" y="524918"/>
                  <a:pt x="1870279" y="572825"/>
                </a:cubicBezTo>
                <a:cubicBezTo>
                  <a:pt x="2014264" y="592902"/>
                  <a:pt x="2147780" y="643327"/>
                  <a:pt x="2273211" y="716214"/>
                </a:cubicBezTo>
                <a:cubicBezTo>
                  <a:pt x="2281163" y="720852"/>
                  <a:pt x="2289247" y="731255"/>
                  <a:pt x="2299518" y="723701"/>
                </a:cubicBezTo>
                <a:cubicBezTo>
                  <a:pt x="2306408" y="718599"/>
                  <a:pt x="2301903" y="709323"/>
                  <a:pt x="2301174" y="701769"/>
                </a:cubicBezTo>
                <a:cubicBezTo>
                  <a:pt x="2297662" y="666651"/>
                  <a:pt x="2294349" y="631599"/>
                  <a:pt x="2290970" y="596481"/>
                </a:cubicBezTo>
                <a:cubicBezTo>
                  <a:pt x="2287192" y="556459"/>
                  <a:pt x="2299981" y="522798"/>
                  <a:pt x="2328871" y="494836"/>
                </a:cubicBezTo>
                <a:cubicBezTo>
                  <a:pt x="2351863" y="472573"/>
                  <a:pt x="2374259" y="449646"/>
                  <a:pt x="2396921" y="426985"/>
                </a:cubicBezTo>
                <a:cubicBezTo>
                  <a:pt x="2429322" y="394650"/>
                  <a:pt x="2429322" y="394716"/>
                  <a:pt x="2387247" y="372784"/>
                </a:cubicBezTo>
                <a:cubicBezTo>
                  <a:pt x="2117168" y="232311"/>
                  <a:pt x="1830589" y="180694"/>
                  <a:pt x="1528374" y="213559"/>
                </a:cubicBezTo>
                <a:cubicBezTo>
                  <a:pt x="1253854" y="243376"/>
                  <a:pt x="1004913" y="340382"/>
                  <a:pt x="789034" y="511733"/>
                </a:cubicBezTo>
                <a:cubicBezTo>
                  <a:pt x="384909" y="832568"/>
                  <a:pt x="188446" y="1252198"/>
                  <a:pt x="206336" y="1770027"/>
                </a:cubicBezTo>
                <a:cubicBezTo>
                  <a:pt x="210709" y="1896651"/>
                  <a:pt x="232774" y="2020029"/>
                  <a:pt x="270344" y="2140491"/>
                </a:cubicBezTo>
                <a:cubicBezTo>
                  <a:pt x="481584" y="2817545"/>
                  <a:pt x="1157643" y="3283293"/>
                  <a:pt x="1912885" y="3172438"/>
                </a:cubicBezTo>
                <a:cubicBezTo>
                  <a:pt x="2330925" y="3111081"/>
                  <a:pt x="2664283" y="2904479"/>
                  <a:pt x="2910376" y="2563169"/>
                </a:cubicBezTo>
                <a:cubicBezTo>
                  <a:pt x="3145139" y="2237563"/>
                  <a:pt x="3227235" y="1871671"/>
                  <a:pt x="3172173" y="1474702"/>
                </a:cubicBezTo>
                <a:cubicBezTo>
                  <a:pt x="3148584" y="1304610"/>
                  <a:pt x="3093918" y="1144590"/>
                  <a:pt x="3013544" y="993052"/>
                </a:cubicBezTo>
                <a:cubicBezTo>
                  <a:pt x="3003937" y="974896"/>
                  <a:pt x="2996781" y="961975"/>
                  <a:pt x="2976637" y="983974"/>
                </a:cubicBezTo>
                <a:cubicBezTo>
                  <a:pt x="2950596" y="1012466"/>
                  <a:pt x="2922171" y="1038838"/>
                  <a:pt x="2894938" y="1066270"/>
                </a:cubicBezTo>
                <a:cubicBezTo>
                  <a:pt x="2869295" y="1092045"/>
                  <a:pt x="2838550" y="1104370"/>
                  <a:pt x="2802239" y="1101720"/>
                </a:cubicBezTo>
                <a:cubicBezTo>
                  <a:pt x="2768181" y="1099202"/>
                  <a:pt x="2734122" y="1096021"/>
                  <a:pt x="2700064" y="1093172"/>
                </a:cubicBezTo>
                <a:cubicBezTo>
                  <a:pt x="2689396" y="1092244"/>
                  <a:pt x="2675879" y="1083630"/>
                  <a:pt x="2668856" y="1093503"/>
                </a:cubicBezTo>
                <a:cubicBezTo>
                  <a:pt x="2660440" y="1105364"/>
                  <a:pt x="2674289" y="1115568"/>
                  <a:pt x="2679921" y="1125374"/>
                </a:cubicBezTo>
                <a:cubicBezTo>
                  <a:pt x="2813900" y="1359143"/>
                  <a:pt x="2860548" y="1609543"/>
                  <a:pt x="2818671" y="1875183"/>
                </a:cubicBezTo>
                <a:cubicBezTo>
                  <a:pt x="2717690" y="2515925"/>
                  <a:pt x="2098681" y="2942977"/>
                  <a:pt x="1463570" y="2809461"/>
                </a:cubicBezTo>
                <a:cubicBezTo>
                  <a:pt x="916123" y="2694366"/>
                  <a:pt x="553742" y="2207150"/>
                  <a:pt x="560766" y="1689851"/>
                </a:cubicBezTo>
                <a:close/>
                <a:moveTo>
                  <a:pt x="1157180" y="1690845"/>
                </a:moveTo>
                <a:cubicBezTo>
                  <a:pt x="1154927" y="1656257"/>
                  <a:pt x="1159234" y="1617958"/>
                  <a:pt x="1167848" y="1580123"/>
                </a:cubicBezTo>
                <a:cubicBezTo>
                  <a:pt x="1249348" y="1221254"/>
                  <a:pt x="1647643" y="1045795"/>
                  <a:pt x="1966954" y="1229139"/>
                </a:cubicBezTo>
                <a:cubicBezTo>
                  <a:pt x="1992331" y="1243717"/>
                  <a:pt x="2006909" y="1240602"/>
                  <a:pt x="2026323" y="1220724"/>
                </a:cubicBezTo>
                <a:cubicBezTo>
                  <a:pt x="2100337" y="1144789"/>
                  <a:pt x="2174947" y="1069517"/>
                  <a:pt x="2251412" y="996033"/>
                </a:cubicBezTo>
                <a:cubicBezTo>
                  <a:pt x="2274868" y="973505"/>
                  <a:pt x="2269634" y="963499"/>
                  <a:pt x="2246443" y="946868"/>
                </a:cubicBezTo>
                <a:cubicBezTo>
                  <a:pt x="2034076" y="794335"/>
                  <a:pt x="1797723" y="736092"/>
                  <a:pt x="1541095" y="780222"/>
                </a:cubicBezTo>
                <a:cubicBezTo>
                  <a:pt x="1032941" y="867686"/>
                  <a:pt x="696402" y="1342511"/>
                  <a:pt x="778499" y="1848214"/>
                </a:cubicBezTo>
                <a:cubicBezTo>
                  <a:pt x="868216" y="2400963"/>
                  <a:pt x="1434017" y="2750157"/>
                  <a:pt x="1970333" y="2584836"/>
                </a:cubicBezTo>
                <a:cubicBezTo>
                  <a:pt x="2361140" y="2464374"/>
                  <a:pt x="2651959" y="2082645"/>
                  <a:pt x="2623334" y="1640023"/>
                </a:cubicBezTo>
                <a:cubicBezTo>
                  <a:pt x="2611341" y="1454890"/>
                  <a:pt x="2549983" y="1289503"/>
                  <a:pt x="2441249" y="1140349"/>
                </a:cubicBezTo>
                <a:cubicBezTo>
                  <a:pt x="2427334" y="1121200"/>
                  <a:pt x="2418124" y="1119610"/>
                  <a:pt x="2400963" y="1137169"/>
                </a:cubicBezTo>
                <a:cubicBezTo>
                  <a:pt x="2325226" y="1214495"/>
                  <a:pt x="2248894" y="1291226"/>
                  <a:pt x="2171369" y="1366697"/>
                </a:cubicBezTo>
                <a:cubicBezTo>
                  <a:pt x="2150960" y="1386575"/>
                  <a:pt x="2149105" y="1401616"/>
                  <a:pt x="2163881" y="1426199"/>
                </a:cubicBezTo>
                <a:cubicBezTo>
                  <a:pt x="2225438" y="1528108"/>
                  <a:pt x="2245912" y="1640288"/>
                  <a:pt x="2233919" y="1757371"/>
                </a:cubicBezTo>
                <a:cubicBezTo>
                  <a:pt x="2203770" y="2051702"/>
                  <a:pt x="1929119" y="2269965"/>
                  <a:pt x="1633794" y="2233919"/>
                </a:cubicBezTo>
                <a:cubicBezTo>
                  <a:pt x="1330320" y="2196879"/>
                  <a:pt x="1147572" y="1933823"/>
                  <a:pt x="1157180" y="1690845"/>
                </a:cubicBezTo>
                <a:close/>
                <a:moveTo>
                  <a:pt x="1362257" y="1696013"/>
                </a:moveTo>
                <a:cubicBezTo>
                  <a:pt x="1367227" y="1909970"/>
                  <a:pt x="1547721" y="2046069"/>
                  <a:pt x="1728216" y="2026986"/>
                </a:cubicBezTo>
                <a:cubicBezTo>
                  <a:pt x="1947605" y="2003861"/>
                  <a:pt x="2086356" y="1782484"/>
                  <a:pt x="2007704" y="1578201"/>
                </a:cubicBezTo>
                <a:cubicBezTo>
                  <a:pt x="1995578" y="1546661"/>
                  <a:pt x="1992928" y="1545999"/>
                  <a:pt x="1969140" y="1569654"/>
                </a:cubicBezTo>
                <a:cubicBezTo>
                  <a:pt x="1904271" y="1634258"/>
                  <a:pt x="1839468" y="1698929"/>
                  <a:pt x="1774864" y="1763798"/>
                </a:cubicBezTo>
                <a:cubicBezTo>
                  <a:pt x="1743124" y="1795670"/>
                  <a:pt x="1705621" y="1806934"/>
                  <a:pt x="1663015" y="1792887"/>
                </a:cubicBezTo>
                <a:cubicBezTo>
                  <a:pt x="1589665" y="1768768"/>
                  <a:pt x="1569852" y="1678719"/>
                  <a:pt x="1625909" y="1620873"/>
                </a:cubicBezTo>
                <a:cubicBezTo>
                  <a:pt x="1689586" y="1555076"/>
                  <a:pt x="1755118" y="1491135"/>
                  <a:pt x="1819789" y="1426332"/>
                </a:cubicBezTo>
                <a:cubicBezTo>
                  <a:pt x="1847287" y="1398833"/>
                  <a:pt x="1846757" y="1395387"/>
                  <a:pt x="1808988" y="1382732"/>
                </a:cubicBezTo>
                <a:cubicBezTo>
                  <a:pt x="1761611" y="1366829"/>
                  <a:pt x="1713572" y="1359805"/>
                  <a:pt x="1662816" y="1365305"/>
                </a:cubicBezTo>
                <a:cubicBezTo>
                  <a:pt x="1492327" y="1383991"/>
                  <a:pt x="1362721" y="1525325"/>
                  <a:pt x="1362257" y="1696013"/>
                </a:cubicBezTo>
                <a:close/>
                <a:moveTo>
                  <a:pt x="2726900" y="886239"/>
                </a:moveTo>
                <a:cubicBezTo>
                  <a:pt x="2747705" y="882860"/>
                  <a:pt x="2770301" y="897040"/>
                  <a:pt x="2789715" y="877426"/>
                </a:cubicBezTo>
                <a:cubicBezTo>
                  <a:pt x="2854054" y="812358"/>
                  <a:pt x="2919057" y="748019"/>
                  <a:pt x="2983595" y="683149"/>
                </a:cubicBezTo>
                <a:cubicBezTo>
                  <a:pt x="2988696" y="678048"/>
                  <a:pt x="2996913" y="672945"/>
                  <a:pt x="2991877" y="663801"/>
                </a:cubicBezTo>
                <a:cubicBezTo>
                  <a:pt x="2988100" y="656977"/>
                  <a:pt x="2980282" y="658898"/>
                  <a:pt x="2973920" y="658302"/>
                </a:cubicBezTo>
                <a:cubicBezTo>
                  <a:pt x="2926809" y="653862"/>
                  <a:pt x="2879498" y="651079"/>
                  <a:pt x="2832719" y="644586"/>
                </a:cubicBezTo>
                <a:cubicBezTo>
                  <a:pt x="2786203" y="638092"/>
                  <a:pt x="2754398" y="606287"/>
                  <a:pt x="2747971" y="559971"/>
                </a:cubicBezTo>
                <a:cubicBezTo>
                  <a:pt x="2741544" y="514251"/>
                  <a:pt x="2738760" y="468067"/>
                  <a:pt x="2734321" y="422082"/>
                </a:cubicBezTo>
                <a:cubicBezTo>
                  <a:pt x="2733592" y="414661"/>
                  <a:pt x="2736773" y="405185"/>
                  <a:pt x="2728821" y="400878"/>
                </a:cubicBezTo>
                <a:cubicBezTo>
                  <a:pt x="2718286" y="395180"/>
                  <a:pt x="2712918" y="405583"/>
                  <a:pt x="2707220" y="411281"/>
                </a:cubicBezTo>
                <a:cubicBezTo>
                  <a:pt x="2643875" y="474163"/>
                  <a:pt x="2580861" y="537442"/>
                  <a:pt x="2517648" y="600522"/>
                </a:cubicBezTo>
                <a:cubicBezTo>
                  <a:pt x="2507841" y="610329"/>
                  <a:pt x="2502408" y="620467"/>
                  <a:pt x="2503800" y="635574"/>
                </a:cubicBezTo>
                <a:cubicBezTo>
                  <a:pt x="2510094" y="704618"/>
                  <a:pt x="2515329" y="773728"/>
                  <a:pt x="2520497" y="842905"/>
                </a:cubicBezTo>
                <a:cubicBezTo>
                  <a:pt x="2521889" y="861458"/>
                  <a:pt x="2530569" y="870734"/>
                  <a:pt x="2549254" y="872126"/>
                </a:cubicBezTo>
                <a:cubicBezTo>
                  <a:pt x="2608359" y="876565"/>
                  <a:pt x="2667596" y="881534"/>
                  <a:pt x="2726900" y="886239"/>
                </a:cubicBezTo>
                <a:close/>
              </a:path>
            </a:pathLst>
          </a:custGeom>
          <a:solidFill>
            <a:schemeClr val="bg1">
              <a:alpha val="75000"/>
            </a:schemeClr>
          </a:solidFill>
          <a:ln w="6624" cap="flat">
            <a:noFill/>
            <a:prstDash val="solid"/>
            <a:miter/>
          </a:ln>
        </p:spPr>
        <p:txBody>
          <a:bodyPr rtlCol="0" anchor="ctr"/>
          <a:lstStyle/>
          <a:p>
            <a:endParaRPr lang="en-US"/>
          </a:p>
        </p:txBody>
      </p:sp>
      <p:sp>
        <p:nvSpPr>
          <p:cNvPr id="61" name="Rectangle: Rounded Corners 60">
            <a:extLst>
              <a:ext uri="{FF2B5EF4-FFF2-40B4-BE49-F238E27FC236}">
                <a16:creationId xmlns:a16="http://schemas.microsoft.com/office/drawing/2014/main" id="{2A42C758-5761-488F-8DDE-08FDBF954D74}"/>
              </a:ext>
            </a:extLst>
          </p:cNvPr>
          <p:cNvSpPr/>
          <p:nvPr/>
        </p:nvSpPr>
        <p:spPr>
          <a:xfrm>
            <a:off x="696835" y="4662064"/>
            <a:ext cx="2329360" cy="451977"/>
          </a:xfrm>
          <a:prstGeom prst="roundRect">
            <a:avLst>
              <a:gd name="adj" fmla="val 50000"/>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ontserrat" panose="00000500000000000000" pitchFamily="50" charset="0"/>
              </a:rPr>
              <a:t>A</a:t>
            </a:r>
          </a:p>
        </p:txBody>
      </p:sp>
      <p:sp>
        <p:nvSpPr>
          <p:cNvPr id="64" name="TextBox 63">
            <a:extLst>
              <a:ext uri="{FF2B5EF4-FFF2-40B4-BE49-F238E27FC236}">
                <a16:creationId xmlns:a16="http://schemas.microsoft.com/office/drawing/2014/main" id="{5AD81CAC-D041-4494-844E-4A166DC20469}"/>
              </a:ext>
            </a:extLst>
          </p:cNvPr>
          <p:cNvSpPr txBox="1"/>
          <p:nvPr/>
        </p:nvSpPr>
        <p:spPr>
          <a:xfrm>
            <a:off x="696833" y="5232338"/>
            <a:ext cx="2329360" cy="943015"/>
          </a:xfrm>
          <a:prstGeom prst="rect">
            <a:avLst/>
          </a:prstGeom>
          <a:noFill/>
        </p:spPr>
        <p:txBody>
          <a:bodyPr wrap="square" rtlCol="0">
            <a:spAutoFit/>
          </a:bodyPr>
          <a:lstStyle/>
          <a:p>
            <a:pPr algn="ctr">
              <a:lnSpc>
                <a:spcPts val="1700"/>
              </a:lnSpc>
            </a:pPr>
            <a:r>
              <a:rPr lang="en-US" sz="1100" dirty="0">
                <a:solidFill>
                  <a:schemeClr val="tx2"/>
                </a:solidFill>
                <a:latin typeface="Montserrat" panose="00000500000000000000" pitchFamily="50" charset="0"/>
              </a:rPr>
              <a:t>Lorem ipsum dolor sit </a:t>
            </a:r>
            <a:r>
              <a:rPr lang="en-US" sz="1100" dirty="0" err="1">
                <a:solidFill>
                  <a:schemeClr val="tx2"/>
                </a:solidFill>
                <a:latin typeface="Montserrat" panose="00000500000000000000" pitchFamily="50" charset="0"/>
              </a:rPr>
              <a:t>amet</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consectetur</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adipiscing</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elit</a:t>
            </a:r>
            <a:r>
              <a:rPr lang="en-US" sz="1100" dirty="0">
                <a:solidFill>
                  <a:schemeClr val="tx2"/>
                </a:solidFill>
                <a:latin typeface="Montserrat" panose="00000500000000000000" pitchFamily="50" charset="0"/>
              </a:rPr>
              <a:t>, sed do </a:t>
            </a:r>
            <a:r>
              <a:rPr lang="en-US" sz="1100" dirty="0" err="1">
                <a:solidFill>
                  <a:schemeClr val="tx2"/>
                </a:solidFill>
                <a:latin typeface="Montserrat" panose="00000500000000000000" pitchFamily="50" charset="0"/>
              </a:rPr>
              <a:t>eiusmod</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tempor</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incididunt</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ut</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labore</a:t>
            </a:r>
            <a:endParaRPr lang="en-US" sz="1100" dirty="0">
              <a:solidFill>
                <a:schemeClr val="tx2"/>
              </a:solidFill>
              <a:latin typeface="Montserrat" panose="00000500000000000000" pitchFamily="50" charset="0"/>
            </a:endParaRPr>
          </a:p>
        </p:txBody>
      </p:sp>
      <p:sp>
        <p:nvSpPr>
          <p:cNvPr id="67" name="Rectangle: Rounded Corners 66">
            <a:extLst>
              <a:ext uri="{FF2B5EF4-FFF2-40B4-BE49-F238E27FC236}">
                <a16:creationId xmlns:a16="http://schemas.microsoft.com/office/drawing/2014/main" id="{D4569D68-3AB2-4E9D-9200-927CA90C9071}"/>
              </a:ext>
            </a:extLst>
          </p:cNvPr>
          <p:cNvSpPr/>
          <p:nvPr/>
        </p:nvSpPr>
        <p:spPr>
          <a:xfrm>
            <a:off x="3519824" y="4662064"/>
            <a:ext cx="2329360" cy="451977"/>
          </a:xfrm>
          <a:prstGeom prst="roundRect">
            <a:avLst>
              <a:gd name="adj" fmla="val 50000"/>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ontserrat" panose="00000500000000000000" pitchFamily="50" charset="0"/>
              </a:rPr>
              <a:t>B</a:t>
            </a:r>
          </a:p>
        </p:txBody>
      </p:sp>
      <p:sp>
        <p:nvSpPr>
          <p:cNvPr id="68" name="TextBox 67">
            <a:extLst>
              <a:ext uri="{FF2B5EF4-FFF2-40B4-BE49-F238E27FC236}">
                <a16:creationId xmlns:a16="http://schemas.microsoft.com/office/drawing/2014/main" id="{4EAE53F1-EEF1-47CA-90BA-A99AE02A1AAA}"/>
              </a:ext>
            </a:extLst>
          </p:cNvPr>
          <p:cNvSpPr txBox="1"/>
          <p:nvPr/>
        </p:nvSpPr>
        <p:spPr>
          <a:xfrm>
            <a:off x="3519823" y="5232338"/>
            <a:ext cx="2329360" cy="943015"/>
          </a:xfrm>
          <a:prstGeom prst="rect">
            <a:avLst/>
          </a:prstGeom>
          <a:noFill/>
        </p:spPr>
        <p:txBody>
          <a:bodyPr wrap="square" rtlCol="0">
            <a:spAutoFit/>
          </a:bodyPr>
          <a:lstStyle/>
          <a:p>
            <a:pPr algn="ctr">
              <a:lnSpc>
                <a:spcPts val="1700"/>
              </a:lnSpc>
            </a:pPr>
            <a:r>
              <a:rPr lang="en-US" sz="1100" dirty="0">
                <a:solidFill>
                  <a:schemeClr val="tx2"/>
                </a:solidFill>
                <a:latin typeface="Montserrat" panose="00000500000000000000" pitchFamily="50" charset="0"/>
              </a:rPr>
              <a:t>Lorem ipsum dolor sit </a:t>
            </a:r>
            <a:r>
              <a:rPr lang="en-US" sz="1100" dirty="0" err="1">
                <a:solidFill>
                  <a:schemeClr val="tx2"/>
                </a:solidFill>
                <a:latin typeface="Montserrat" panose="00000500000000000000" pitchFamily="50" charset="0"/>
              </a:rPr>
              <a:t>amet</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consectetur</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adipiscing</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elit</a:t>
            </a:r>
            <a:r>
              <a:rPr lang="en-US" sz="1100" dirty="0">
                <a:solidFill>
                  <a:schemeClr val="tx2"/>
                </a:solidFill>
                <a:latin typeface="Montserrat" panose="00000500000000000000" pitchFamily="50" charset="0"/>
              </a:rPr>
              <a:t>, sed do </a:t>
            </a:r>
            <a:r>
              <a:rPr lang="en-US" sz="1100" dirty="0" err="1">
                <a:solidFill>
                  <a:schemeClr val="tx2"/>
                </a:solidFill>
                <a:latin typeface="Montserrat" panose="00000500000000000000" pitchFamily="50" charset="0"/>
              </a:rPr>
              <a:t>eiusmod</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tempor</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incididunt</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ut</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labore</a:t>
            </a:r>
            <a:endParaRPr lang="en-US" sz="1100" dirty="0">
              <a:solidFill>
                <a:schemeClr val="tx2"/>
              </a:solidFill>
              <a:latin typeface="Montserrat" panose="00000500000000000000" pitchFamily="50" charset="0"/>
            </a:endParaRPr>
          </a:p>
        </p:txBody>
      </p:sp>
      <p:sp>
        <p:nvSpPr>
          <p:cNvPr id="70" name="Rectangle: Rounded Corners 69">
            <a:extLst>
              <a:ext uri="{FF2B5EF4-FFF2-40B4-BE49-F238E27FC236}">
                <a16:creationId xmlns:a16="http://schemas.microsoft.com/office/drawing/2014/main" id="{2C910BF6-B52A-46E3-ACB0-F18832F17E91}"/>
              </a:ext>
            </a:extLst>
          </p:cNvPr>
          <p:cNvSpPr/>
          <p:nvPr/>
        </p:nvSpPr>
        <p:spPr>
          <a:xfrm>
            <a:off x="6342815" y="4662064"/>
            <a:ext cx="2329360" cy="451977"/>
          </a:xfrm>
          <a:prstGeom prst="roundRect">
            <a:avLst>
              <a:gd name="adj" fmla="val 50000"/>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ontserrat" panose="00000500000000000000" pitchFamily="50" charset="0"/>
              </a:rPr>
              <a:t>C</a:t>
            </a:r>
          </a:p>
        </p:txBody>
      </p:sp>
      <p:sp>
        <p:nvSpPr>
          <p:cNvPr id="71" name="TextBox 70">
            <a:extLst>
              <a:ext uri="{FF2B5EF4-FFF2-40B4-BE49-F238E27FC236}">
                <a16:creationId xmlns:a16="http://schemas.microsoft.com/office/drawing/2014/main" id="{694EBDD9-17ED-404D-883E-F154A8306C23}"/>
              </a:ext>
            </a:extLst>
          </p:cNvPr>
          <p:cNvSpPr txBox="1"/>
          <p:nvPr/>
        </p:nvSpPr>
        <p:spPr>
          <a:xfrm>
            <a:off x="6342814" y="5232338"/>
            <a:ext cx="2329360" cy="943015"/>
          </a:xfrm>
          <a:prstGeom prst="rect">
            <a:avLst/>
          </a:prstGeom>
          <a:noFill/>
        </p:spPr>
        <p:txBody>
          <a:bodyPr wrap="square" rtlCol="0">
            <a:spAutoFit/>
          </a:bodyPr>
          <a:lstStyle/>
          <a:p>
            <a:pPr algn="ctr">
              <a:lnSpc>
                <a:spcPts val="1700"/>
              </a:lnSpc>
            </a:pPr>
            <a:r>
              <a:rPr lang="en-US" sz="1100" dirty="0">
                <a:solidFill>
                  <a:schemeClr val="tx2"/>
                </a:solidFill>
                <a:latin typeface="Montserrat" panose="00000500000000000000" pitchFamily="50" charset="0"/>
              </a:rPr>
              <a:t>Lorem ipsum dolor sit </a:t>
            </a:r>
            <a:r>
              <a:rPr lang="en-US" sz="1100" dirty="0" err="1">
                <a:solidFill>
                  <a:schemeClr val="tx2"/>
                </a:solidFill>
                <a:latin typeface="Montserrat" panose="00000500000000000000" pitchFamily="50" charset="0"/>
              </a:rPr>
              <a:t>amet</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consectetur</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adipiscing</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elit</a:t>
            </a:r>
            <a:r>
              <a:rPr lang="en-US" sz="1100" dirty="0">
                <a:solidFill>
                  <a:schemeClr val="tx2"/>
                </a:solidFill>
                <a:latin typeface="Montserrat" panose="00000500000000000000" pitchFamily="50" charset="0"/>
              </a:rPr>
              <a:t>, sed do </a:t>
            </a:r>
            <a:r>
              <a:rPr lang="en-US" sz="1100" dirty="0" err="1">
                <a:solidFill>
                  <a:schemeClr val="tx2"/>
                </a:solidFill>
                <a:latin typeface="Montserrat" panose="00000500000000000000" pitchFamily="50" charset="0"/>
              </a:rPr>
              <a:t>eiusmod</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tempor</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incididunt</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ut</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labore</a:t>
            </a:r>
            <a:endParaRPr lang="en-US" sz="1100" dirty="0">
              <a:solidFill>
                <a:schemeClr val="tx2"/>
              </a:solidFill>
              <a:latin typeface="Montserrat" panose="00000500000000000000" pitchFamily="50" charset="0"/>
            </a:endParaRPr>
          </a:p>
        </p:txBody>
      </p:sp>
      <p:sp>
        <p:nvSpPr>
          <p:cNvPr id="73" name="Rectangle: Rounded Corners 72">
            <a:extLst>
              <a:ext uri="{FF2B5EF4-FFF2-40B4-BE49-F238E27FC236}">
                <a16:creationId xmlns:a16="http://schemas.microsoft.com/office/drawing/2014/main" id="{C9458EFD-861A-4D67-B4EE-ED7837EC8B49}"/>
              </a:ext>
            </a:extLst>
          </p:cNvPr>
          <p:cNvSpPr/>
          <p:nvPr/>
        </p:nvSpPr>
        <p:spPr>
          <a:xfrm>
            <a:off x="9165808" y="4662064"/>
            <a:ext cx="2329360" cy="451977"/>
          </a:xfrm>
          <a:prstGeom prst="roundRect">
            <a:avLst>
              <a:gd name="adj" fmla="val 50000"/>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ontserrat" panose="00000500000000000000" pitchFamily="50" charset="0"/>
              </a:rPr>
              <a:t>D</a:t>
            </a:r>
          </a:p>
        </p:txBody>
      </p:sp>
      <p:sp>
        <p:nvSpPr>
          <p:cNvPr id="74" name="TextBox 73">
            <a:extLst>
              <a:ext uri="{FF2B5EF4-FFF2-40B4-BE49-F238E27FC236}">
                <a16:creationId xmlns:a16="http://schemas.microsoft.com/office/drawing/2014/main" id="{EFE4C083-0614-46BF-A807-79E026D3312A}"/>
              </a:ext>
            </a:extLst>
          </p:cNvPr>
          <p:cNvSpPr txBox="1"/>
          <p:nvPr/>
        </p:nvSpPr>
        <p:spPr>
          <a:xfrm>
            <a:off x="9165806" y="5232338"/>
            <a:ext cx="2329360" cy="943015"/>
          </a:xfrm>
          <a:prstGeom prst="rect">
            <a:avLst/>
          </a:prstGeom>
          <a:noFill/>
        </p:spPr>
        <p:txBody>
          <a:bodyPr wrap="square" rtlCol="0">
            <a:spAutoFit/>
          </a:bodyPr>
          <a:lstStyle/>
          <a:p>
            <a:pPr algn="ctr">
              <a:lnSpc>
                <a:spcPts val="1700"/>
              </a:lnSpc>
            </a:pPr>
            <a:r>
              <a:rPr lang="en-US" sz="1100" dirty="0">
                <a:solidFill>
                  <a:schemeClr val="tx2"/>
                </a:solidFill>
                <a:latin typeface="Montserrat" panose="00000500000000000000" pitchFamily="50" charset="0"/>
              </a:rPr>
              <a:t>Lorem ipsum dolor sit </a:t>
            </a:r>
            <a:r>
              <a:rPr lang="en-US" sz="1100" dirty="0" err="1">
                <a:solidFill>
                  <a:schemeClr val="tx2"/>
                </a:solidFill>
                <a:latin typeface="Montserrat" panose="00000500000000000000" pitchFamily="50" charset="0"/>
              </a:rPr>
              <a:t>amet</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consectetur</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adipiscing</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elit</a:t>
            </a:r>
            <a:r>
              <a:rPr lang="en-US" sz="1100" dirty="0">
                <a:solidFill>
                  <a:schemeClr val="tx2"/>
                </a:solidFill>
                <a:latin typeface="Montserrat" panose="00000500000000000000" pitchFamily="50" charset="0"/>
              </a:rPr>
              <a:t>, sed do </a:t>
            </a:r>
            <a:r>
              <a:rPr lang="en-US" sz="1100" dirty="0" err="1">
                <a:solidFill>
                  <a:schemeClr val="tx2"/>
                </a:solidFill>
                <a:latin typeface="Montserrat" panose="00000500000000000000" pitchFamily="50" charset="0"/>
              </a:rPr>
              <a:t>eiusmod</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tempor</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incididunt</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ut</a:t>
            </a:r>
            <a:r>
              <a:rPr lang="en-US" sz="1100" dirty="0">
                <a:solidFill>
                  <a:schemeClr val="tx2"/>
                </a:solidFill>
                <a:latin typeface="Montserrat" panose="00000500000000000000" pitchFamily="50" charset="0"/>
              </a:rPr>
              <a:t> </a:t>
            </a:r>
            <a:r>
              <a:rPr lang="en-US" sz="1100" dirty="0" err="1">
                <a:solidFill>
                  <a:schemeClr val="tx2"/>
                </a:solidFill>
                <a:latin typeface="Montserrat" panose="00000500000000000000" pitchFamily="50" charset="0"/>
              </a:rPr>
              <a:t>labore</a:t>
            </a:r>
            <a:endParaRPr lang="en-US" sz="1100" dirty="0">
              <a:solidFill>
                <a:schemeClr val="tx2"/>
              </a:solidFill>
              <a:latin typeface="Montserrat" panose="00000500000000000000" pitchFamily="50" charset="0"/>
            </a:endParaRPr>
          </a:p>
        </p:txBody>
      </p:sp>
    </p:spTree>
    <p:extLst>
      <p:ext uri="{BB962C8B-B14F-4D97-AF65-F5344CB8AC3E}">
        <p14:creationId xmlns:p14="http://schemas.microsoft.com/office/powerpoint/2010/main" val="1099132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500" fill="hold"/>
                                        <p:tgtEl>
                                          <p:spTgt spid="5"/>
                                        </p:tgtEl>
                                        <p:attrNameLst>
                                          <p:attrName>ppt_w</p:attrName>
                                        </p:attrNameLst>
                                      </p:cBhvr>
                                      <p:tavLst>
                                        <p:tav tm="0">
                                          <p:val>
                                            <p:strVal val="4/3*#ppt_w"/>
                                          </p:val>
                                        </p:tav>
                                        <p:tav tm="100000">
                                          <p:val>
                                            <p:strVal val="#ppt_w"/>
                                          </p:val>
                                        </p:tav>
                                      </p:tavLst>
                                    </p:anim>
                                    <p:anim calcmode="lin" valueType="num">
                                      <p:cBhvr>
                                        <p:cTn id="8" dur="1500" fill="hold"/>
                                        <p:tgtEl>
                                          <p:spTgt spid="5"/>
                                        </p:tgtEl>
                                        <p:attrNameLst>
                                          <p:attrName>ppt_h</p:attrName>
                                        </p:attrNameLst>
                                      </p:cBhvr>
                                      <p:tavLst>
                                        <p:tav tm="0">
                                          <p:val>
                                            <p:strVal val="4/3*#ppt_h"/>
                                          </p:val>
                                        </p:tav>
                                        <p:tav tm="100000">
                                          <p:val>
                                            <p:strVal val="#ppt_h"/>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56"/>
                                        </p:tgtEl>
                                        <p:attrNameLst>
                                          <p:attrName>style.visibility</p:attrName>
                                        </p:attrNameLst>
                                      </p:cBhvr>
                                      <p:to>
                                        <p:strVal val="visible"/>
                                      </p:to>
                                    </p:set>
                                    <p:animEffect transition="in" filter="fade">
                                      <p:cBhvr>
                                        <p:cTn id="11" dur="1000"/>
                                        <p:tgtEl>
                                          <p:spTgt spid="56"/>
                                        </p:tgtEl>
                                      </p:cBhvr>
                                    </p:animEffect>
                                  </p:childTnLst>
                                </p:cTn>
                              </p:par>
                              <p:par>
                                <p:cTn id="12" presetID="10" presetClass="entr" presetSubtype="0" fill="hold" nodeType="withEffect">
                                  <p:stCondLst>
                                    <p:cond delay="500"/>
                                  </p:stCondLst>
                                  <p:childTnLst>
                                    <p:set>
                                      <p:cBhvr>
                                        <p:cTn id="13" dur="1" fill="hold">
                                          <p:stCondLst>
                                            <p:cond delay="0"/>
                                          </p:stCondLst>
                                        </p:cTn>
                                        <p:tgtEl>
                                          <p:spTgt spid="39"/>
                                        </p:tgtEl>
                                        <p:attrNameLst>
                                          <p:attrName>style.visibility</p:attrName>
                                        </p:attrNameLst>
                                      </p:cBhvr>
                                      <p:to>
                                        <p:strVal val="visible"/>
                                      </p:to>
                                    </p:set>
                                    <p:animEffect transition="in" filter="fade">
                                      <p:cBhvr>
                                        <p:cTn id="14" dur="1000"/>
                                        <p:tgtEl>
                                          <p:spTgt spid="39"/>
                                        </p:tgtEl>
                                      </p:cBhvr>
                                    </p:animEffect>
                                  </p:childTnLst>
                                </p:cTn>
                              </p:par>
                              <p:par>
                                <p:cTn id="15" presetID="10" presetClass="entr" presetSubtype="0" fill="hold" grpId="0" nodeType="withEffect">
                                  <p:stCondLst>
                                    <p:cond delay="15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1000"/>
                                        <p:tgtEl>
                                          <p:spTgt spid="4"/>
                                        </p:tgtEl>
                                      </p:cBhvr>
                                    </p:animEffect>
                                  </p:childTnLst>
                                </p:cTn>
                              </p:par>
                              <p:par>
                                <p:cTn id="18" presetID="10" presetClass="entr" presetSubtype="0" fill="hold" grpId="0" nodeType="withEffect">
                                  <p:stCondLst>
                                    <p:cond delay="150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1000"/>
                                        <p:tgtEl>
                                          <p:spTgt spid="6"/>
                                        </p:tgtEl>
                                      </p:cBhvr>
                                    </p:animEffect>
                                  </p:childTnLst>
                                </p:cTn>
                              </p:par>
                              <p:par>
                                <p:cTn id="21" presetID="0" presetClass="path" presetSubtype="0" decel="50000" fill="hold" grpId="1" nodeType="withEffect">
                                  <p:stCondLst>
                                    <p:cond delay="1500"/>
                                  </p:stCondLst>
                                  <p:childTnLst>
                                    <p:animMotion origin="layout" path="M 0.17122 -0.09422 L 3.75E-6 1.11111E-6 " pathEditMode="relative" rAng="0" ptsTypes="AA">
                                      <p:cBhvr>
                                        <p:cTn id="22" dur="1500" fill="hold"/>
                                        <p:tgtEl>
                                          <p:spTgt spid="4"/>
                                        </p:tgtEl>
                                        <p:attrNameLst>
                                          <p:attrName>ppt_x</p:attrName>
                                          <p:attrName>ppt_y</p:attrName>
                                        </p:attrNameLst>
                                      </p:cBhvr>
                                      <p:rCtr x="-8555" y="4722"/>
                                    </p:animMotion>
                                  </p:childTnLst>
                                </p:cTn>
                              </p:par>
                              <p:par>
                                <p:cTn id="23" presetID="0" presetClass="path" presetSubtype="0" decel="50000" fill="hold" grpId="1" nodeType="withEffect">
                                  <p:stCondLst>
                                    <p:cond delay="1500"/>
                                  </p:stCondLst>
                                  <p:childTnLst>
                                    <p:animMotion origin="layout" path="M -0.17122 -0.09422 L -3.75E-6 -3.7037E-7 " pathEditMode="relative" rAng="0" ptsTypes="AA">
                                      <p:cBhvr>
                                        <p:cTn id="24" dur="1500" fill="hold"/>
                                        <p:tgtEl>
                                          <p:spTgt spid="6"/>
                                        </p:tgtEl>
                                        <p:attrNameLst>
                                          <p:attrName>ppt_x</p:attrName>
                                          <p:attrName>ppt_y</p:attrName>
                                        </p:attrNameLst>
                                      </p:cBhvr>
                                      <p:rCtr x="8555" y="4745"/>
                                    </p:animMotion>
                                  </p:childTnLst>
                                </p:cTn>
                              </p:par>
                              <p:par>
                                <p:cTn id="25" presetID="10" presetClass="entr" presetSubtype="0" fill="hold" nodeType="withEffect">
                                  <p:stCondLst>
                                    <p:cond delay="200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1000"/>
                                        <p:tgtEl>
                                          <p:spTgt spid="34"/>
                                        </p:tgtEl>
                                      </p:cBhvr>
                                    </p:animEffect>
                                  </p:childTnLst>
                                </p:cTn>
                              </p:par>
                              <p:par>
                                <p:cTn id="28" presetID="10" presetClass="entr" presetSubtype="0" fill="hold" nodeType="withEffect">
                                  <p:stCondLst>
                                    <p:cond delay="2000"/>
                                  </p:stCondLst>
                                  <p:childTnLst>
                                    <p:set>
                                      <p:cBhvr>
                                        <p:cTn id="29" dur="1" fill="hold">
                                          <p:stCondLst>
                                            <p:cond delay="0"/>
                                          </p:stCondLst>
                                        </p:cTn>
                                        <p:tgtEl>
                                          <p:spTgt spid="42"/>
                                        </p:tgtEl>
                                        <p:attrNameLst>
                                          <p:attrName>style.visibility</p:attrName>
                                        </p:attrNameLst>
                                      </p:cBhvr>
                                      <p:to>
                                        <p:strVal val="visible"/>
                                      </p:to>
                                    </p:set>
                                    <p:animEffect transition="in" filter="fade">
                                      <p:cBhvr>
                                        <p:cTn id="30" dur="1000"/>
                                        <p:tgtEl>
                                          <p:spTgt spid="42"/>
                                        </p:tgtEl>
                                      </p:cBhvr>
                                    </p:animEffect>
                                  </p:childTnLst>
                                </p:cTn>
                              </p:par>
                              <p:par>
                                <p:cTn id="31" presetID="10" presetClass="entr" presetSubtype="0" fill="hold" grpId="0" nodeType="withEffect">
                                  <p:stCondLst>
                                    <p:cond delay="200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1000"/>
                                        <p:tgtEl>
                                          <p:spTgt spid="58"/>
                                        </p:tgtEl>
                                      </p:cBhvr>
                                    </p:animEffect>
                                  </p:childTnLst>
                                </p:cTn>
                              </p:par>
                              <p:par>
                                <p:cTn id="34" presetID="10" presetClass="entr" presetSubtype="0" fill="hold" grpId="0" nodeType="withEffect">
                                  <p:stCondLst>
                                    <p:cond delay="2000"/>
                                  </p:stCondLst>
                                  <p:childTnLst>
                                    <p:set>
                                      <p:cBhvr>
                                        <p:cTn id="35" dur="1" fill="hold">
                                          <p:stCondLst>
                                            <p:cond delay="0"/>
                                          </p:stCondLst>
                                        </p:cTn>
                                        <p:tgtEl>
                                          <p:spTgt spid="57"/>
                                        </p:tgtEl>
                                        <p:attrNameLst>
                                          <p:attrName>style.visibility</p:attrName>
                                        </p:attrNameLst>
                                      </p:cBhvr>
                                      <p:to>
                                        <p:strVal val="visible"/>
                                      </p:to>
                                    </p:set>
                                    <p:animEffect transition="in" filter="fade">
                                      <p:cBhvr>
                                        <p:cTn id="36" dur="1000"/>
                                        <p:tgtEl>
                                          <p:spTgt spid="57"/>
                                        </p:tgtEl>
                                      </p:cBhvr>
                                    </p:animEffect>
                                  </p:childTnLst>
                                </p:cTn>
                              </p:par>
                              <p:par>
                                <p:cTn id="37" presetID="10" presetClass="entr" presetSubtype="0" fill="hold" grpId="0" nodeType="withEffect">
                                  <p:stCondLst>
                                    <p:cond delay="250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1000"/>
                                        <p:tgtEl>
                                          <p:spTgt spid="23"/>
                                        </p:tgtEl>
                                      </p:cBhvr>
                                    </p:animEffect>
                                  </p:childTnLst>
                                </p:cTn>
                              </p:par>
                              <p:par>
                                <p:cTn id="40" presetID="10" presetClass="entr" presetSubtype="0" fill="hold" grpId="0" nodeType="withEffect">
                                  <p:stCondLst>
                                    <p:cond delay="250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1000"/>
                                        <p:tgtEl>
                                          <p:spTgt spid="21"/>
                                        </p:tgtEl>
                                      </p:cBhvr>
                                    </p:animEffect>
                                  </p:childTnLst>
                                </p:cTn>
                              </p:par>
                              <p:par>
                                <p:cTn id="43" presetID="10" presetClass="entr" presetSubtype="0" fill="hold" grpId="1" nodeType="withEffect">
                                  <p:stCondLst>
                                    <p:cond delay="300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1000"/>
                                        <p:tgtEl>
                                          <p:spTgt spid="2"/>
                                        </p:tgtEl>
                                      </p:cBhvr>
                                    </p:animEffect>
                                  </p:childTnLst>
                                </p:cTn>
                              </p:par>
                              <p:par>
                                <p:cTn id="46" presetID="0" presetClass="path" presetSubtype="0" decel="50000" fill="hold" grpId="0" nodeType="withEffect">
                                  <p:stCondLst>
                                    <p:cond delay="3000"/>
                                  </p:stCondLst>
                                  <p:childTnLst>
                                    <p:animMotion origin="layout" path="M 0.17123 0.09561 L -9.32414E-18 7.40741E-7 " pathEditMode="relative" rAng="0" ptsTypes="AA">
                                      <p:cBhvr>
                                        <p:cTn id="47" dur="1500" fill="hold"/>
                                        <p:tgtEl>
                                          <p:spTgt spid="2"/>
                                        </p:tgtEl>
                                        <p:attrNameLst>
                                          <p:attrName>ppt_x</p:attrName>
                                          <p:attrName>ppt_y</p:attrName>
                                        </p:attrNameLst>
                                      </p:cBhvr>
                                      <p:rCtr x="-8633" y="-4907"/>
                                    </p:animMotion>
                                  </p:childTnLst>
                                </p:cTn>
                              </p:par>
                              <p:par>
                                <p:cTn id="48" presetID="10" presetClass="entr" presetSubtype="0" fill="hold" grpId="1" nodeType="withEffect">
                                  <p:stCondLst>
                                    <p:cond delay="3000"/>
                                  </p:stCondLst>
                                  <p:childTnLst>
                                    <p:set>
                                      <p:cBhvr>
                                        <p:cTn id="49" dur="1" fill="hold">
                                          <p:stCondLst>
                                            <p:cond delay="0"/>
                                          </p:stCondLst>
                                        </p:cTn>
                                        <p:tgtEl>
                                          <p:spTgt spid="7"/>
                                        </p:tgtEl>
                                        <p:attrNameLst>
                                          <p:attrName>style.visibility</p:attrName>
                                        </p:attrNameLst>
                                      </p:cBhvr>
                                      <p:to>
                                        <p:strVal val="visible"/>
                                      </p:to>
                                    </p:set>
                                    <p:animEffect transition="in" filter="fade">
                                      <p:cBhvr>
                                        <p:cTn id="50" dur="1000"/>
                                        <p:tgtEl>
                                          <p:spTgt spid="7"/>
                                        </p:tgtEl>
                                      </p:cBhvr>
                                    </p:animEffect>
                                  </p:childTnLst>
                                </p:cTn>
                              </p:par>
                              <p:par>
                                <p:cTn id="51" presetID="0" presetClass="path" presetSubtype="0" decel="50000" fill="hold" grpId="0" nodeType="withEffect">
                                  <p:stCondLst>
                                    <p:cond delay="3000"/>
                                  </p:stCondLst>
                                  <p:childTnLst>
                                    <p:animMotion origin="layout" path="M -0.1711 0.09561 L 2.5E-6 -2.96296E-6 " pathEditMode="relative" rAng="0" ptsTypes="AA">
                                      <p:cBhvr>
                                        <p:cTn id="52" dur="1500" fill="hold"/>
                                        <p:tgtEl>
                                          <p:spTgt spid="7"/>
                                        </p:tgtEl>
                                        <p:attrNameLst>
                                          <p:attrName>ppt_x</p:attrName>
                                          <p:attrName>ppt_y</p:attrName>
                                        </p:attrNameLst>
                                      </p:cBhvr>
                                      <p:rCtr x="8542" y="-4722"/>
                                    </p:animMotion>
                                  </p:childTnLst>
                                </p:cTn>
                              </p:par>
                              <p:par>
                                <p:cTn id="53" presetID="10" presetClass="entr" presetSubtype="0" fill="hold" nodeType="withEffect">
                                  <p:stCondLst>
                                    <p:cond delay="3000"/>
                                  </p:stCondLst>
                                  <p:childTnLst>
                                    <p:set>
                                      <p:cBhvr>
                                        <p:cTn id="54" dur="1" fill="hold">
                                          <p:stCondLst>
                                            <p:cond delay="0"/>
                                          </p:stCondLst>
                                        </p:cTn>
                                        <p:tgtEl>
                                          <p:spTgt spid="59"/>
                                        </p:tgtEl>
                                        <p:attrNameLst>
                                          <p:attrName>style.visibility</p:attrName>
                                        </p:attrNameLst>
                                      </p:cBhvr>
                                      <p:to>
                                        <p:strVal val="visible"/>
                                      </p:to>
                                    </p:set>
                                    <p:animEffect transition="in" filter="fade">
                                      <p:cBhvr>
                                        <p:cTn id="55" dur="1000"/>
                                        <p:tgtEl>
                                          <p:spTgt spid="59"/>
                                        </p:tgtEl>
                                      </p:cBhvr>
                                    </p:animEffect>
                                  </p:childTnLst>
                                </p:cTn>
                              </p:par>
                              <p:par>
                                <p:cTn id="56" presetID="10" presetClass="entr" presetSubtype="0" fill="hold" nodeType="withEffect">
                                  <p:stCondLst>
                                    <p:cond delay="3000"/>
                                  </p:stCondLst>
                                  <p:childTnLst>
                                    <p:set>
                                      <p:cBhvr>
                                        <p:cTn id="57" dur="1" fill="hold">
                                          <p:stCondLst>
                                            <p:cond delay="0"/>
                                          </p:stCondLst>
                                        </p:cTn>
                                        <p:tgtEl>
                                          <p:spTgt spid="45"/>
                                        </p:tgtEl>
                                        <p:attrNameLst>
                                          <p:attrName>style.visibility</p:attrName>
                                        </p:attrNameLst>
                                      </p:cBhvr>
                                      <p:to>
                                        <p:strVal val="visible"/>
                                      </p:to>
                                    </p:set>
                                    <p:animEffect transition="in" filter="fade">
                                      <p:cBhvr>
                                        <p:cTn id="58" dur="1000"/>
                                        <p:tgtEl>
                                          <p:spTgt spid="45"/>
                                        </p:tgtEl>
                                      </p:cBhvr>
                                    </p:animEffect>
                                  </p:childTnLst>
                                </p:cTn>
                              </p:par>
                              <p:par>
                                <p:cTn id="59" presetID="10" presetClass="entr" presetSubtype="0" fill="hold" grpId="0" nodeType="withEffect">
                                  <p:stCondLst>
                                    <p:cond delay="3000"/>
                                  </p:stCondLst>
                                  <p:childTnLst>
                                    <p:set>
                                      <p:cBhvr>
                                        <p:cTn id="60" dur="1" fill="hold">
                                          <p:stCondLst>
                                            <p:cond delay="0"/>
                                          </p:stCondLst>
                                        </p:cTn>
                                        <p:tgtEl>
                                          <p:spTgt spid="54"/>
                                        </p:tgtEl>
                                        <p:attrNameLst>
                                          <p:attrName>style.visibility</p:attrName>
                                        </p:attrNameLst>
                                      </p:cBhvr>
                                      <p:to>
                                        <p:strVal val="visible"/>
                                      </p:to>
                                    </p:set>
                                    <p:animEffect transition="in" filter="fade">
                                      <p:cBhvr>
                                        <p:cTn id="61" dur="1000"/>
                                        <p:tgtEl>
                                          <p:spTgt spid="54"/>
                                        </p:tgtEl>
                                      </p:cBhvr>
                                    </p:animEffect>
                                  </p:childTnLst>
                                </p:cTn>
                              </p:par>
                              <p:par>
                                <p:cTn id="62" presetID="10" presetClass="entr" presetSubtype="0" fill="hold" grpId="0" nodeType="withEffect">
                                  <p:stCondLst>
                                    <p:cond delay="3000"/>
                                  </p:stCondLst>
                                  <p:childTnLst>
                                    <p:set>
                                      <p:cBhvr>
                                        <p:cTn id="63" dur="1" fill="hold">
                                          <p:stCondLst>
                                            <p:cond delay="0"/>
                                          </p:stCondLst>
                                        </p:cTn>
                                        <p:tgtEl>
                                          <p:spTgt spid="55"/>
                                        </p:tgtEl>
                                        <p:attrNameLst>
                                          <p:attrName>style.visibility</p:attrName>
                                        </p:attrNameLst>
                                      </p:cBhvr>
                                      <p:to>
                                        <p:strVal val="visible"/>
                                      </p:to>
                                    </p:set>
                                    <p:animEffect transition="in" filter="fade">
                                      <p:cBhvr>
                                        <p:cTn id="64" dur="1000"/>
                                        <p:tgtEl>
                                          <p:spTgt spid="55"/>
                                        </p:tgtEl>
                                      </p:cBhvr>
                                    </p:animEffect>
                                  </p:childTnLst>
                                </p:cTn>
                              </p:par>
                              <p:par>
                                <p:cTn id="65" presetID="10" presetClass="entr" presetSubtype="0" fill="hold" grpId="0" nodeType="withEffect">
                                  <p:stCondLst>
                                    <p:cond delay="3500"/>
                                  </p:stCondLst>
                                  <p:childTnLst>
                                    <p:set>
                                      <p:cBhvr>
                                        <p:cTn id="66" dur="1" fill="hold">
                                          <p:stCondLst>
                                            <p:cond delay="0"/>
                                          </p:stCondLst>
                                        </p:cTn>
                                        <p:tgtEl>
                                          <p:spTgt spid="24"/>
                                        </p:tgtEl>
                                        <p:attrNameLst>
                                          <p:attrName>style.visibility</p:attrName>
                                        </p:attrNameLst>
                                      </p:cBhvr>
                                      <p:to>
                                        <p:strVal val="visible"/>
                                      </p:to>
                                    </p:set>
                                    <p:animEffect transition="in" filter="fade">
                                      <p:cBhvr>
                                        <p:cTn id="67" dur="1000"/>
                                        <p:tgtEl>
                                          <p:spTgt spid="24"/>
                                        </p:tgtEl>
                                      </p:cBhvr>
                                    </p:animEffect>
                                  </p:childTnLst>
                                </p:cTn>
                              </p:par>
                              <p:par>
                                <p:cTn id="68" presetID="10" presetClass="entr" presetSubtype="0" fill="hold" grpId="0" nodeType="withEffect">
                                  <p:stCondLst>
                                    <p:cond delay="3500"/>
                                  </p:stCondLst>
                                  <p:childTnLst>
                                    <p:set>
                                      <p:cBhvr>
                                        <p:cTn id="69" dur="1" fill="hold">
                                          <p:stCondLst>
                                            <p:cond delay="0"/>
                                          </p:stCondLst>
                                        </p:cTn>
                                        <p:tgtEl>
                                          <p:spTgt spid="22"/>
                                        </p:tgtEl>
                                        <p:attrNameLst>
                                          <p:attrName>style.visibility</p:attrName>
                                        </p:attrNameLst>
                                      </p:cBhvr>
                                      <p:to>
                                        <p:strVal val="visible"/>
                                      </p:to>
                                    </p:set>
                                    <p:animEffect transition="in" filter="fade">
                                      <p:cBhvr>
                                        <p:cTn id="70" dur="1000"/>
                                        <p:tgtEl>
                                          <p:spTgt spid="22"/>
                                        </p:tgtEl>
                                      </p:cBhvr>
                                    </p:animEffect>
                                  </p:childTnLst>
                                </p:cTn>
                              </p:par>
                              <p:par>
                                <p:cTn id="71" presetID="47" presetClass="entr" presetSubtype="0" fill="hold" grpId="0" nodeType="withEffect">
                                  <p:stCondLst>
                                    <p:cond delay="4000"/>
                                  </p:stCondLst>
                                  <p:childTnLst>
                                    <p:set>
                                      <p:cBhvr>
                                        <p:cTn id="72" dur="1" fill="hold">
                                          <p:stCondLst>
                                            <p:cond delay="0"/>
                                          </p:stCondLst>
                                        </p:cTn>
                                        <p:tgtEl>
                                          <p:spTgt spid="61"/>
                                        </p:tgtEl>
                                        <p:attrNameLst>
                                          <p:attrName>style.visibility</p:attrName>
                                        </p:attrNameLst>
                                      </p:cBhvr>
                                      <p:to>
                                        <p:strVal val="visible"/>
                                      </p:to>
                                    </p:set>
                                    <p:animEffect transition="in" filter="fade">
                                      <p:cBhvr>
                                        <p:cTn id="73" dur="1000"/>
                                        <p:tgtEl>
                                          <p:spTgt spid="61"/>
                                        </p:tgtEl>
                                      </p:cBhvr>
                                    </p:animEffect>
                                    <p:anim calcmode="lin" valueType="num">
                                      <p:cBhvr>
                                        <p:cTn id="74" dur="1000" fill="hold"/>
                                        <p:tgtEl>
                                          <p:spTgt spid="61"/>
                                        </p:tgtEl>
                                        <p:attrNameLst>
                                          <p:attrName>ppt_x</p:attrName>
                                        </p:attrNameLst>
                                      </p:cBhvr>
                                      <p:tavLst>
                                        <p:tav tm="0">
                                          <p:val>
                                            <p:strVal val="#ppt_x"/>
                                          </p:val>
                                        </p:tav>
                                        <p:tav tm="100000">
                                          <p:val>
                                            <p:strVal val="#ppt_x"/>
                                          </p:val>
                                        </p:tav>
                                      </p:tavLst>
                                    </p:anim>
                                    <p:anim calcmode="lin" valueType="num">
                                      <p:cBhvr>
                                        <p:cTn id="75" dur="1000" fill="hold"/>
                                        <p:tgtEl>
                                          <p:spTgt spid="61"/>
                                        </p:tgtEl>
                                        <p:attrNameLst>
                                          <p:attrName>ppt_y</p:attrName>
                                        </p:attrNameLst>
                                      </p:cBhvr>
                                      <p:tavLst>
                                        <p:tav tm="0">
                                          <p:val>
                                            <p:strVal val="#ppt_y-.1"/>
                                          </p:val>
                                        </p:tav>
                                        <p:tav tm="100000">
                                          <p:val>
                                            <p:strVal val="#ppt_y"/>
                                          </p:val>
                                        </p:tav>
                                      </p:tavLst>
                                    </p:anim>
                                  </p:childTnLst>
                                </p:cTn>
                              </p:par>
                              <p:par>
                                <p:cTn id="76" presetID="47" presetClass="entr" presetSubtype="0" fill="hold" grpId="0" nodeType="withEffect">
                                  <p:stCondLst>
                                    <p:cond delay="4000"/>
                                  </p:stCondLst>
                                  <p:childTnLst>
                                    <p:set>
                                      <p:cBhvr>
                                        <p:cTn id="77" dur="1" fill="hold">
                                          <p:stCondLst>
                                            <p:cond delay="0"/>
                                          </p:stCondLst>
                                        </p:cTn>
                                        <p:tgtEl>
                                          <p:spTgt spid="67"/>
                                        </p:tgtEl>
                                        <p:attrNameLst>
                                          <p:attrName>style.visibility</p:attrName>
                                        </p:attrNameLst>
                                      </p:cBhvr>
                                      <p:to>
                                        <p:strVal val="visible"/>
                                      </p:to>
                                    </p:set>
                                    <p:animEffect transition="in" filter="fade">
                                      <p:cBhvr>
                                        <p:cTn id="78" dur="1000"/>
                                        <p:tgtEl>
                                          <p:spTgt spid="67"/>
                                        </p:tgtEl>
                                      </p:cBhvr>
                                    </p:animEffect>
                                    <p:anim calcmode="lin" valueType="num">
                                      <p:cBhvr>
                                        <p:cTn id="79" dur="1000" fill="hold"/>
                                        <p:tgtEl>
                                          <p:spTgt spid="67"/>
                                        </p:tgtEl>
                                        <p:attrNameLst>
                                          <p:attrName>ppt_x</p:attrName>
                                        </p:attrNameLst>
                                      </p:cBhvr>
                                      <p:tavLst>
                                        <p:tav tm="0">
                                          <p:val>
                                            <p:strVal val="#ppt_x"/>
                                          </p:val>
                                        </p:tav>
                                        <p:tav tm="100000">
                                          <p:val>
                                            <p:strVal val="#ppt_x"/>
                                          </p:val>
                                        </p:tav>
                                      </p:tavLst>
                                    </p:anim>
                                    <p:anim calcmode="lin" valueType="num">
                                      <p:cBhvr>
                                        <p:cTn id="80" dur="1000" fill="hold"/>
                                        <p:tgtEl>
                                          <p:spTgt spid="67"/>
                                        </p:tgtEl>
                                        <p:attrNameLst>
                                          <p:attrName>ppt_y</p:attrName>
                                        </p:attrNameLst>
                                      </p:cBhvr>
                                      <p:tavLst>
                                        <p:tav tm="0">
                                          <p:val>
                                            <p:strVal val="#ppt_y-.1"/>
                                          </p:val>
                                        </p:tav>
                                        <p:tav tm="100000">
                                          <p:val>
                                            <p:strVal val="#ppt_y"/>
                                          </p:val>
                                        </p:tav>
                                      </p:tavLst>
                                    </p:anim>
                                  </p:childTnLst>
                                </p:cTn>
                              </p:par>
                              <p:par>
                                <p:cTn id="81" presetID="47" presetClass="entr" presetSubtype="0" fill="hold" grpId="0" nodeType="withEffect">
                                  <p:stCondLst>
                                    <p:cond delay="4000"/>
                                  </p:stCondLst>
                                  <p:childTnLst>
                                    <p:set>
                                      <p:cBhvr>
                                        <p:cTn id="82" dur="1" fill="hold">
                                          <p:stCondLst>
                                            <p:cond delay="0"/>
                                          </p:stCondLst>
                                        </p:cTn>
                                        <p:tgtEl>
                                          <p:spTgt spid="70"/>
                                        </p:tgtEl>
                                        <p:attrNameLst>
                                          <p:attrName>style.visibility</p:attrName>
                                        </p:attrNameLst>
                                      </p:cBhvr>
                                      <p:to>
                                        <p:strVal val="visible"/>
                                      </p:to>
                                    </p:set>
                                    <p:animEffect transition="in" filter="fade">
                                      <p:cBhvr>
                                        <p:cTn id="83" dur="1000"/>
                                        <p:tgtEl>
                                          <p:spTgt spid="70"/>
                                        </p:tgtEl>
                                      </p:cBhvr>
                                    </p:animEffect>
                                    <p:anim calcmode="lin" valueType="num">
                                      <p:cBhvr>
                                        <p:cTn id="84" dur="1000" fill="hold"/>
                                        <p:tgtEl>
                                          <p:spTgt spid="70"/>
                                        </p:tgtEl>
                                        <p:attrNameLst>
                                          <p:attrName>ppt_x</p:attrName>
                                        </p:attrNameLst>
                                      </p:cBhvr>
                                      <p:tavLst>
                                        <p:tav tm="0">
                                          <p:val>
                                            <p:strVal val="#ppt_x"/>
                                          </p:val>
                                        </p:tav>
                                        <p:tav tm="100000">
                                          <p:val>
                                            <p:strVal val="#ppt_x"/>
                                          </p:val>
                                        </p:tav>
                                      </p:tavLst>
                                    </p:anim>
                                    <p:anim calcmode="lin" valueType="num">
                                      <p:cBhvr>
                                        <p:cTn id="85" dur="1000" fill="hold"/>
                                        <p:tgtEl>
                                          <p:spTgt spid="70"/>
                                        </p:tgtEl>
                                        <p:attrNameLst>
                                          <p:attrName>ppt_y</p:attrName>
                                        </p:attrNameLst>
                                      </p:cBhvr>
                                      <p:tavLst>
                                        <p:tav tm="0">
                                          <p:val>
                                            <p:strVal val="#ppt_y-.1"/>
                                          </p:val>
                                        </p:tav>
                                        <p:tav tm="100000">
                                          <p:val>
                                            <p:strVal val="#ppt_y"/>
                                          </p:val>
                                        </p:tav>
                                      </p:tavLst>
                                    </p:anim>
                                  </p:childTnLst>
                                </p:cTn>
                              </p:par>
                              <p:par>
                                <p:cTn id="86" presetID="47" presetClass="entr" presetSubtype="0" fill="hold" grpId="0" nodeType="withEffect">
                                  <p:stCondLst>
                                    <p:cond delay="4000"/>
                                  </p:stCondLst>
                                  <p:childTnLst>
                                    <p:set>
                                      <p:cBhvr>
                                        <p:cTn id="87" dur="1" fill="hold">
                                          <p:stCondLst>
                                            <p:cond delay="0"/>
                                          </p:stCondLst>
                                        </p:cTn>
                                        <p:tgtEl>
                                          <p:spTgt spid="73"/>
                                        </p:tgtEl>
                                        <p:attrNameLst>
                                          <p:attrName>style.visibility</p:attrName>
                                        </p:attrNameLst>
                                      </p:cBhvr>
                                      <p:to>
                                        <p:strVal val="visible"/>
                                      </p:to>
                                    </p:set>
                                    <p:animEffect transition="in" filter="fade">
                                      <p:cBhvr>
                                        <p:cTn id="88" dur="1000"/>
                                        <p:tgtEl>
                                          <p:spTgt spid="73"/>
                                        </p:tgtEl>
                                      </p:cBhvr>
                                    </p:animEffect>
                                    <p:anim calcmode="lin" valueType="num">
                                      <p:cBhvr>
                                        <p:cTn id="89" dur="1000" fill="hold"/>
                                        <p:tgtEl>
                                          <p:spTgt spid="73"/>
                                        </p:tgtEl>
                                        <p:attrNameLst>
                                          <p:attrName>ppt_x</p:attrName>
                                        </p:attrNameLst>
                                      </p:cBhvr>
                                      <p:tavLst>
                                        <p:tav tm="0">
                                          <p:val>
                                            <p:strVal val="#ppt_x"/>
                                          </p:val>
                                        </p:tav>
                                        <p:tav tm="100000">
                                          <p:val>
                                            <p:strVal val="#ppt_x"/>
                                          </p:val>
                                        </p:tav>
                                      </p:tavLst>
                                    </p:anim>
                                    <p:anim calcmode="lin" valueType="num">
                                      <p:cBhvr>
                                        <p:cTn id="90" dur="1000" fill="hold"/>
                                        <p:tgtEl>
                                          <p:spTgt spid="73"/>
                                        </p:tgtEl>
                                        <p:attrNameLst>
                                          <p:attrName>ppt_y</p:attrName>
                                        </p:attrNameLst>
                                      </p:cBhvr>
                                      <p:tavLst>
                                        <p:tav tm="0">
                                          <p:val>
                                            <p:strVal val="#ppt_y-.1"/>
                                          </p:val>
                                        </p:tav>
                                        <p:tav tm="100000">
                                          <p:val>
                                            <p:strVal val="#ppt_y"/>
                                          </p:val>
                                        </p:tav>
                                      </p:tavLst>
                                    </p:anim>
                                  </p:childTnLst>
                                </p:cTn>
                              </p:par>
                              <p:par>
                                <p:cTn id="91" presetID="10" presetClass="entr" presetSubtype="0" fill="hold" grpId="0" nodeType="withEffect">
                                  <p:stCondLst>
                                    <p:cond delay="4000"/>
                                  </p:stCondLst>
                                  <p:childTnLst>
                                    <p:set>
                                      <p:cBhvr>
                                        <p:cTn id="92" dur="1" fill="hold">
                                          <p:stCondLst>
                                            <p:cond delay="0"/>
                                          </p:stCondLst>
                                        </p:cTn>
                                        <p:tgtEl>
                                          <p:spTgt spid="64"/>
                                        </p:tgtEl>
                                        <p:attrNameLst>
                                          <p:attrName>style.visibility</p:attrName>
                                        </p:attrNameLst>
                                      </p:cBhvr>
                                      <p:to>
                                        <p:strVal val="visible"/>
                                      </p:to>
                                    </p:set>
                                    <p:animEffect transition="in" filter="fade">
                                      <p:cBhvr>
                                        <p:cTn id="93" dur="1000"/>
                                        <p:tgtEl>
                                          <p:spTgt spid="64"/>
                                        </p:tgtEl>
                                      </p:cBhvr>
                                    </p:animEffect>
                                  </p:childTnLst>
                                </p:cTn>
                              </p:par>
                              <p:par>
                                <p:cTn id="94" presetID="10" presetClass="entr" presetSubtype="0" fill="hold" grpId="0" nodeType="withEffect">
                                  <p:stCondLst>
                                    <p:cond delay="4000"/>
                                  </p:stCondLst>
                                  <p:childTnLst>
                                    <p:set>
                                      <p:cBhvr>
                                        <p:cTn id="95" dur="1" fill="hold">
                                          <p:stCondLst>
                                            <p:cond delay="0"/>
                                          </p:stCondLst>
                                        </p:cTn>
                                        <p:tgtEl>
                                          <p:spTgt spid="68"/>
                                        </p:tgtEl>
                                        <p:attrNameLst>
                                          <p:attrName>style.visibility</p:attrName>
                                        </p:attrNameLst>
                                      </p:cBhvr>
                                      <p:to>
                                        <p:strVal val="visible"/>
                                      </p:to>
                                    </p:set>
                                    <p:animEffect transition="in" filter="fade">
                                      <p:cBhvr>
                                        <p:cTn id="96" dur="1000"/>
                                        <p:tgtEl>
                                          <p:spTgt spid="68"/>
                                        </p:tgtEl>
                                      </p:cBhvr>
                                    </p:animEffect>
                                  </p:childTnLst>
                                </p:cTn>
                              </p:par>
                              <p:par>
                                <p:cTn id="97" presetID="10" presetClass="entr" presetSubtype="0" fill="hold" grpId="0" nodeType="withEffect">
                                  <p:stCondLst>
                                    <p:cond delay="4000"/>
                                  </p:stCondLst>
                                  <p:childTnLst>
                                    <p:set>
                                      <p:cBhvr>
                                        <p:cTn id="98" dur="1" fill="hold">
                                          <p:stCondLst>
                                            <p:cond delay="0"/>
                                          </p:stCondLst>
                                        </p:cTn>
                                        <p:tgtEl>
                                          <p:spTgt spid="71"/>
                                        </p:tgtEl>
                                        <p:attrNameLst>
                                          <p:attrName>style.visibility</p:attrName>
                                        </p:attrNameLst>
                                      </p:cBhvr>
                                      <p:to>
                                        <p:strVal val="visible"/>
                                      </p:to>
                                    </p:set>
                                    <p:animEffect transition="in" filter="fade">
                                      <p:cBhvr>
                                        <p:cTn id="99" dur="1000"/>
                                        <p:tgtEl>
                                          <p:spTgt spid="71"/>
                                        </p:tgtEl>
                                      </p:cBhvr>
                                    </p:animEffect>
                                  </p:childTnLst>
                                </p:cTn>
                              </p:par>
                              <p:par>
                                <p:cTn id="100" presetID="10" presetClass="entr" presetSubtype="0" fill="hold" grpId="0" nodeType="withEffect">
                                  <p:stCondLst>
                                    <p:cond delay="4000"/>
                                  </p:stCondLst>
                                  <p:childTnLst>
                                    <p:set>
                                      <p:cBhvr>
                                        <p:cTn id="101" dur="1" fill="hold">
                                          <p:stCondLst>
                                            <p:cond delay="0"/>
                                          </p:stCondLst>
                                        </p:cTn>
                                        <p:tgtEl>
                                          <p:spTgt spid="74"/>
                                        </p:tgtEl>
                                        <p:attrNameLst>
                                          <p:attrName>style.visibility</p:attrName>
                                        </p:attrNameLst>
                                      </p:cBhvr>
                                      <p:to>
                                        <p:strVal val="visible"/>
                                      </p:to>
                                    </p:set>
                                    <p:animEffect transition="in" filter="fade">
                                      <p:cBhvr>
                                        <p:cTn id="102" dur="10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2" grpId="0" animBg="1"/>
      <p:bldP spid="2" grpId="1" animBg="1"/>
      <p:bldP spid="4" grpId="0" animBg="1"/>
      <p:bldP spid="4" grpId="1" animBg="1"/>
      <p:bldP spid="5" grpId="0" animBg="1"/>
      <p:bldP spid="7" grpId="0" animBg="1"/>
      <p:bldP spid="7" grpId="1" animBg="1"/>
      <p:bldP spid="24" grpId="0" animBg="1"/>
      <p:bldP spid="23" grpId="0" animBg="1"/>
      <p:bldP spid="22" grpId="0" animBg="1"/>
      <p:bldP spid="21" grpId="0" animBg="1"/>
      <p:bldP spid="54" grpId="0" animBg="1"/>
      <p:bldP spid="55" grpId="0" animBg="1"/>
      <p:bldP spid="56" grpId="0" animBg="1"/>
      <p:bldP spid="57" grpId="0" animBg="1"/>
      <p:bldP spid="58" grpId="0" animBg="1"/>
      <p:bldP spid="61" grpId="0" animBg="1"/>
      <p:bldP spid="64" grpId="0"/>
      <p:bldP spid="67" grpId="0" animBg="1"/>
      <p:bldP spid="68" grpId="0"/>
      <p:bldP spid="70" grpId="0" animBg="1"/>
      <p:bldP spid="71" grpId="0"/>
      <p:bldP spid="73" grpId="0" animBg="1"/>
      <p:bldP spid="74"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a:extLst>
              <a:ext uri="{FF2B5EF4-FFF2-40B4-BE49-F238E27FC236}">
                <a16:creationId xmlns:a16="http://schemas.microsoft.com/office/drawing/2014/main" id="{A677BB70-9954-4A30-B74F-F0D28B603F52}"/>
              </a:ext>
            </a:extLst>
          </p:cNvPr>
          <p:cNvGrpSpPr/>
          <p:nvPr/>
        </p:nvGrpSpPr>
        <p:grpSpPr>
          <a:xfrm>
            <a:off x="845803" y="701393"/>
            <a:ext cx="10500394" cy="5372487"/>
            <a:chOff x="845803" y="701393"/>
            <a:chExt cx="10500394" cy="5372487"/>
          </a:xfrm>
        </p:grpSpPr>
        <p:sp>
          <p:nvSpPr>
            <p:cNvPr id="2" name="TextBox 1">
              <a:extLst>
                <a:ext uri="{FF2B5EF4-FFF2-40B4-BE49-F238E27FC236}">
                  <a16:creationId xmlns:a16="http://schemas.microsoft.com/office/drawing/2014/main" id="{97DCE2CA-8221-31C4-B144-38CE7B85A8FE}"/>
                </a:ext>
              </a:extLst>
            </p:cNvPr>
            <p:cNvSpPr txBox="1"/>
            <p:nvPr/>
          </p:nvSpPr>
          <p:spPr>
            <a:xfrm>
              <a:off x="6910560" y="701393"/>
              <a:ext cx="4277015" cy="1015663"/>
            </a:xfrm>
            <a:prstGeom prst="rect">
              <a:avLst/>
            </a:prstGeom>
            <a:noFill/>
          </p:spPr>
          <p:txBody>
            <a:bodyPr wrap="square" lIns="0" rtlCol="0">
              <a:spAutoFit/>
            </a:bodyPr>
            <a:lstStyle>
              <a:defPPr>
                <a:defRPr lang="en-US"/>
              </a:defPPr>
              <a:lvl1pPr>
                <a:defRPr sz="3000" b="1">
                  <a:solidFill>
                    <a:schemeClr val="tx2">
                      <a:lumMod val="40000"/>
                      <a:lumOff val="60000"/>
                    </a:schemeClr>
                  </a:solidFill>
                  <a:latin typeface="Montserrat" panose="00000500000000000000" pitchFamily="50" charset="0"/>
                </a:defRPr>
              </a:lvl1pPr>
            </a:lstStyle>
            <a:p>
              <a:r>
                <a:rPr lang="en-US" dirty="0"/>
                <a:t>TARGET MARKET ANALYSIS</a:t>
              </a:r>
            </a:p>
          </p:txBody>
        </p:sp>
        <p:grpSp>
          <p:nvGrpSpPr>
            <p:cNvPr id="42" name="Group 41">
              <a:extLst>
                <a:ext uri="{FF2B5EF4-FFF2-40B4-BE49-F238E27FC236}">
                  <a16:creationId xmlns:a16="http://schemas.microsoft.com/office/drawing/2014/main" id="{B4E58A3F-8825-499E-9475-1AFD0BC4D577}"/>
                </a:ext>
              </a:extLst>
            </p:cNvPr>
            <p:cNvGrpSpPr/>
            <p:nvPr/>
          </p:nvGrpSpPr>
          <p:grpSpPr>
            <a:xfrm>
              <a:off x="845803" y="784120"/>
              <a:ext cx="10500394" cy="5289760"/>
              <a:chOff x="980405" y="837418"/>
              <a:chExt cx="10500394" cy="5289760"/>
            </a:xfrm>
          </p:grpSpPr>
          <p:grpSp>
            <p:nvGrpSpPr>
              <p:cNvPr id="18" name="Group 17">
                <a:extLst>
                  <a:ext uri="{FF2B5EF4-FFF2-40B4-BE49-F238E27FC236}">
                    <a16:creationId xmlns:a16="http://schemas.microsoft.com/office/drawing/2014/main" id="{CCA9F6F7-C51C-458D-9FFA-F4ADF998B0EB}"/>
                  </a:ext>
                </a:extLst>
              </p:cNvPr>
              <p:cNvGrpSpPr/>
              <p:nvPr/>
            </p:nvGrpSpPr>
            <p:grpSpPr>
              <a:xfrm>
                <a:off x="980405" y="837418"/>
                <a:ext cx="5289766" cy="5289760"/>
                <a:chOff x="980405" y="837418"/>
                <a:chExt cx="5289766" cy="5289760"/>
              </a:xfrm>
            </p:grpSpPr>
            <p:sp>
              <p:nvSpPr>
                <p:cNvPr id="7" name="Circle">
                  <a:extLst>
                    <a:ext uri="{FF2B5EF4-FFF2-40B4-BE49-F238E27FC236}">
                      <a16:creationId xmlns:a16="http://schemas.microsoft.com/office/drawing/2014/main" id="{B09958A1-D62D-4ABF-8EDA-F0E98C09CF06}"/>
                    </a:ext>
                  </a:extLst>
                </p:cNvPr>
                <p:cNvSpPr/>
                <p:nvPr/>
              </p:nvSpPr>
              <p:spPr>
                <a:xfrm>
                  <a:off x="980405" y="837418"/>
                  <a:ext cx="5289766" cy="5289760"/>
                </a:xfrm>
                <a:prstGeom prst="ellipse">
                  <a:avLst/>
                </a:prstGeom>
                <a:gradFill>
                  <a:gsLst>
                    <a:gs pos="0">
                      <a:schemeClr val="accent4"/>
                    </a:gs>
                    <a:gs pos="90000">
                      <a:schemeClr val="accent4">
                        <a:alpha val="0"/>
                      </a:schemeClr>
                    </a:gs>
                  </a:gsLst>
                  <a:lin ang="5400000" scaled="0"/>
                </a:gradFill>
                <a:ln w="6350" cap="flat">
                  <a:solidFill>
                    <a:schemeClr val="accent4">
                      <a:alpha val="10000"/>
                    </a:schemeClr>
                  </a:solidFill>
                  <a:prstDash val="solid"/>
                  <a:miter lim="400000"/>
                </a:ln>
                <a:effectLst/>
              </p:spPr>
              <p:txBody>
                <a:bodyPr wrap="square" lIns="0" tIns="0" rIns="0" bIns="0" numCol="1" anchor="ctr" anchorCtr="0">
                  <a:noAutofit/>
                </a:bodyPr>
                <a:lstStyle/>
                <a:p>
                  <a:pPr algn="ctr" defTabSz="412750" hangingPunct="0"/>
                  <a:endParaRPr sz="1600" kern="0">
                    <a:solidFill>
                      <a:srgbClr val="FFFFFF"/>
                    </a:solidFill>
                    <a:latin typeface="Montserrat" panose="00000500000000000000" pitchFamily="50" charset="0"/>
                    <a:sym typeface="Helvetica Neue Medium"/>
                  </a:endParaRPr>
                </a:p>
              </p:txBody>
            </p:sp>
            <p:sp>
              <p:nvSpPr>
                <p:cNvPr id="6" name="Circle">
                  <a:extLst>
                    <a:ext uri="{FF2B5EF4-FFF2-40B4-BE49-F238E27FC236}">
                      <a16:creationId xmlns:a16="http://schemas.microsoft.com/office/drawing/2014/main" id="{6558E2AF-B1E1-4F50-8529-52B449087439}"/>
                    </a:ext>
                  </a:extLst>
                </p:cNvPr>
                <p:cNvSpPr/>
                <p:nvPr/>
              </p:nvSpPr>
              <p:spPr>
                <a:xfrm>
                  <a:off x="1755399" y="2387403"/>
                  <a:ext cx="3739779" cy="3739775"/>
                </a:xfrm>
                <a:prstGeom prst="ellipse">
                  <a:avLst/>
                </a:prstGeom>
                <a:gradFill>
                  <a:gsLst>
                    <a:gs pos="0">
                      <a:schemeClr val="accent3"/>
                    </a:gs>
                    <a:gs pos="90000">
                      <a:schemeClr val="accent3">
                        <a:alpha val="0"/>
                      </a:schemeClr>
                    </a:gs>
                  </a:gsLst>
                  <a:lin ang="5400000" scaled="0"/>
                </a:gradFill>
                <a:ln w="6350" cap="flat">
                  <a:solidFill>
                    <a:schemeClr val="accent3">
                      <a:alpha val="10000"/>
                    </a:schemeClr>
                  </a:solidFill>
                  <a:prstDash val="solid"/>
                  <a:miter lim="400000"/>
                </a:ln>
                <a:effectLst/>
              </p:spPr>
              <p:txBody>
                <a:bodyPr wrap="square" lIns="0" tIns="0" rIns="0" bIns="0" numCol="1" anchor="ctr" anchorCtr="0">
                  <a:noAutofit/>
                </a:bodyPr>
                <a:lstStyle/>
                <a:p>
                  <a:pPr algn="ctr" defTabSz="412750" hangingPunct="0"/>
                  <a:endParaRPr sz="1600" kern="0">
                    <a:solidFill>
                      <a:srgbClr val="FFFFFF"/>
                    </a:solidFill>
                    <a:latin typeface="Montserrat" panose="00000500000000000000" pitchFamily="50" charset="0"/>
                    <a:sym typeface="Helvetica Neue Medium"/>
                  </a:endParaRPr>
                </a:p>
              </p:txBody>
            </p:sp>
            <p:sp>
              <p:nvSpPr>
                <p:cNvPr id="5" name="Circle">
                  <a:extLst>
                    <a:ext uri="{FF2B5EF4-FFF2-40B4-BE49-F238E27FC236}">
                      <a16:creationId xmlns:a16="http://schemas.microsoft.com/office/drawing/2014/main" id="{03E59363-07C8-4AB8-AEDB-73B38DB7E69D}"/>
                    </a:ext>
                  </a:extLst>
                </p:cNvPr>
                <p:cNvSpPr/>
                <p:nvPr/>
              </p:nvSpPr>
              <p:spPr>
                <a:xfrm>
                  <a:off x="2457841" y="3792285"/>
                  <a:ext cx="2334893" cy="2334893"/>
                </a:xfrm>
                <a:prstGeom prst="ellipse">
                  <a:avLst/>
                </a:prstGeom>
                <a:gradFill>
                  <a:gsLst>
                    <a:gs pos="0">
                      <a:schemeClr val="accent1"/>
                    </a:gs>
                    <a:gs pos="90000">
                      <a:schemeClr val="accent1">
                        <a:alpha val="0"/>
                      </a:schemeClr>
                    </a:gs>
                  </a:gsLst>
                  <a:lin ang="5400000" scaled="0"/>
                </a:gradFill>
                <a:ln w="6350" cap="flat">
                  <a:solidFill>
                    <a:schemeClr val="accent1">
                      <a:alpha val="10000"/>
                    </a:schemeClr>
                  </a:solidFill>
                  <a:prstDash val="solid"/>
                  <a:miter lim="400000"/>
                </a:ln>
                <a:effectLst/>
              </p:spPr>
              <p:txBody>
                <a:bodyPr wrap="square" lIns="0" tIns="0" rIns="0" bIns="0" numCol="1" anchor="ctr" anchorCtr="0">
                  <a:noAutofit/>
                </a:bodyPr>
                <a:lstStyle/>
                <a:p>
                  <a:pPr algn="ctr" defTabSz="412750" hangingPunct="0">
                    <a:defRPr sz="3200" b="0">
                      <a:solidFill>
                        <a:srgbClr val="FFFFFF"/>
                      </a:solidFill>
                      <a:latin typeface="+mn-lt"/>
                      <a:ea typeface="+mn-ea"/>
                      <a:cs typeface="+mn-cs"/>
                      <a:sym typeface="Helvetica Neue Medium"/>
                    </a:defRPr>
                  </a:pPr>
                  <a:endParaRPr sz="1600" kern="0">
                    <a:solidFill>
                      <a:srgbClr val="FFFFFF"/>
                    </a:solidFill>
                    <a:latin typeface="Montserrat" panose="00000500000000000000" pitchFamily="50" charset="0"/>
                    <a:ea typeface="Helvetica Neue Medium"/>
                    <a:cs typeface="Helvetica Neue Medium"/>
                    <a:sym typeface="Helvetica Neue Medium"/>
                  </a:endParaRPr>
                </a:p>
              </p:txBody>
            </p:sp>
            <p:sp>
              <p:nvSpPr>
                <p:cNvPr id="9" name="TextBox 8">
                  <a:extLst>
                    <a:ext uri="{FF2B5EF4-FFF2-40B4-BE49-F238E27FC236}">
                      <a16:creationId xmlns:a16="http://schemas.microsoft.com/office/drawing/2014/main" id="{33A1DDB1-6223-427D-A638-F18BE61AE175}"/>
                    </a:ext>
                  </a:extLst>
                </p:cNvPr>
                <p:cNvSpPr txBox="1"/>
                <p:nvPr/>
              </p:nvSpPr>
              <p:spPr>
                <a:xfrm>
                  <a:off x="2837073" y="1262523"/>
                  <a:ext cx="1576429" cy="836639"/>
                </a:xfrm>
                <a:prstGeom prst="rect">
                  <a:avLst/>
                </a:prstGeom>
                <a:noFill/>
              </p:spPr>
              <p:txBody>
                <a:bodyPr wrap="none" rtlCol="0" anchor="ctr" anchorCtr="0">
                  <a:spAutoFit/>
                </a:bodyPr>
                <a:lstStyle/>
                <a:p>
                  <a:pPr algn="ctr">
                    <a:spcAft>
                      <a:spcPts val="400"/>
                    </a:spcAft>
                  </a:pPr>
                  <a:r>
                    <a:rPr lang="en-US" sz="2200" b="1" dirty="0">
                      <a:solidFill>
                        <a:schemeClr val="bg1"/>
                      </a:solidFill>
                      <a:latin typeface="Montserrat" panose="00000500000000000000" pitchFamily="50" charset="0"/>
                    </a:rPr>
                    <a:t>$600BN</a:t>
                  </a:r>
                </a:p>
                <a:p>
                  <a:pPr algn="ctr">
                    <a:spcAft>
                      <a:spcPts val="400"/>
                    </a:spcAft>
                  </a:pPr>
                  <a:r>
                    <a:rPr lang="en-US" sz="1600" dirty="0">
                      <a:solidFill>
                        <a:schemeClr val="bg1"/>
                      </a:solidFill>
                      <a:latin typeface="Montserrat" panose="00000500000000000000" pitchFamily="50" charset="0"/>
                    </a:rPr>
                    <a:t>TAM</a:t>
                  </a:r>
                </a:p>
              </p:txBody>
            </p:sp>
            <p:sp>
              <p:nvSpPr>
                <p:cNvPr id="13" name="TextBox 12">
                  <a:extLst>
                    <a:ext uri="{FF2B5EF4-FFF2-40B4-BE49-F238E27FC236}">
                      <a16:creationId xmlns:a16="http://schemas.microsoft.com/office/drawing/2014/main" id="{4419E0A0-521B-4F06-89B1-464C5A6F1AE6}"/>
                    </a:ext>
                  </a:extLst>
                </p:cNvPr>
                <p:cNvSpPr txBox="1"/>
                <p:nvPr/>
              </p:nvSpPr>
              <p:spPr>
                <a:xfrm>
                  <a:off x="2947544" y="2754362"/>
                  <a:ext cx="1355486" cy="836639"/>
                </a:xfrm>
                <a:prstGeom prst="rect">
                  <a:avLst/>
                </a:prstGeom>
                <a:noFill/>
              </p:spPr>
              <p:txBody>
                <a:bodyPr wrap="none" rtlCol="0" anchor="ctr" anchorCtr="0">
                  <a:spAutoFit/>
                </a:bodyPr>
                <a:lstStyle/>
                <a:p>
                  <a:pPr algn="ctr">
                    <a:spcAft>
                      <a:spcPts val="400"/>
                    </a:spcAft>
                  </a:pPr>
                  <a:r>
                    <a:rPr lang="en-US" sz="2200" b="1" dirty="0">
                      <a:solidFill>
                        <a:schemeClr val="bg1"/>
                      </a:solidFill>
                      <a:latin typeface="Montserrat" panose="00000500000000000000" pitchFamily="50" charset="0"/>
                    </a:rPr>
                    <a:t>$60BN</a:t>
                  </a:r>
                </a:p>
                <a:p>
                  <a:pPr algn="ctr">
                    <a:spcAft>
                      <a:spcPts val="400"/>
                    </a:spcAft>
                  </a:pPr>
                  <a:r>
                    <a:rPr lang="en-US" sz="1600" dirty="0">
                      <a:solidFill>
                        <a:schemeClr val="bg1"/>
                      </a:solidFill>
                      <a:latin typeface="Montserrat" panose="00000500000000000000" pitchFamily="50" charset="0"/>
                    </a:rPr>
                    <a:t>SAM</a:t>
                  </a:r>
                </a:p>
              </p:txBody>
            </p:sp>
            <p:sp>
              <p:nvSpPr>
                <p:cNvPr id="14" name="TextBox 13">
                  <a:extLst>
                    <a:ext uri="{FF2B5EF4-FFF2-40B4-BE49-F238E27FC236}">
                      <a16:creationId xmlns:a16="http://schemas.microsoft.com/office/drawing/2014/main" id="{CFEDA114-38F1-4B8C-B309-616AE3C84B9C}"/>
                    </a:ext>
                  </a:extLst>
                </p:cNvPr>
                <p:cNvSpPr txBox="1"/>
                <p:nvPr/>
              </p:nvSpPr>
              <p:spPr>
                <a:xfrm>
                  <a:off x="2803011" y="4541412"/>
                  <a:ext cx="1644553" cy="836639"/>
                </a:xfrm>
                <a:prstGeom prst="rect">
                  <a:avLst/>
                </a:prstGeom>
                <a:noFill/>
              </p:spPr>
              <p:txBody>
                <a:bodyPr wrap="none" rtlCol="0" anchor="ctr" anchorCtr="0">
                  <a:spAutoFit/>
                </a:bodyPr>
                <a:lstStyle/>
                <a:p>
                  <a:pPr algn="ctr">
                    <a:spcAft>
                      <a:spcPts val="400"/>
                    </a:spcAft>
                  </a:pPr>
                  <a:r>
                    <a:rPr lang="en-US" sz="2200" b="1" dirty="0">
                      <a:solidFill>
                        <a:schemeClr val="bg1"/>
                      </a:solidFill>
                      <a:latin typeface="Montserrat" panose="00000500000000000000" pitchFamily="50" charset="0"/>
                    </a:rPr>
                    <a:t>$800MN</a:t>
                  </a:r>
                </a:p>
                <a:p>
                  <a:pPr algn="ctr">
                    <a:spcAft>
                      <a:spcPts val="400"/>
                    </a:spcAft>
                  </a:pPr>
                  <a:r>
                    <a:rPr lang="en-US" sz="1600" dirty="0">
                      <a:solidFill>
                        <a:schemeClr val="bg1"/>
                      </a:solidFill>
                      <a:latin typeface="Montserrat" panose="00000500000000000000" pitchFamily="50" charset="0"/>
                    </a:rPr>
                    <a:t>SOM</a:t>
                  </a:r>
                </a:p>
              </p:txBody>
            </p:sp>
          </p:grpSp>
          <p:grpSp>
            <p:nvGrpSpPr>
              <p:cNvPr id="23" name="Group 22">
                <a:extLst>
                  <a:ext uri="{FF2B5EF4-FFF2-40B4-BE49-F238E27FC236}">
                    <a16:creationId xmlns:a16="http://schemas.microsoft.com/office/drawing/2014/main" id="{FDC7CA85-ACF5-4568-ACC3-6B4BDA24A810}"/>
                  </a:ext>
                </a:extLst>
              </p:cNvPr>
              <p:cNvGrpSpPr/>
              <p:nvPr/>
            </p:nvGrpSpPr>
            <p:grpSpPr>
              <a:xfrm>
                <a:off x="7045164" y="2191969"/>
                <a:ext cx="3499465" cy="808114"/>
                <a:chOff x="7045164" y="2134453"/>
                <a:chExt cx="3499465" cy="808114"/>
              </a:xfrm>
            </p:grpSpPr>
            <p:sp>
              <p:nvSpPr>
                <p:cNvPr id="24" name="Rectangle 23">
                  <a:extLst>
                    <a:ext uri="{FF2B5EF4-FFF2-40B4-BE49-F238E27FC236}">
                      <a16:creationId xmlns:a16="http://schemas.microsoft.com/office/drawing/2014/main" id="{A0D245C0-6490-43B1-B259-13307C903FDE}"/>
                    </a:ext>
                  </a:extLst>
                </p:cNvPr>
                <p:cNvSpPr/>
                <p:nvPr/>
              </p:nvSpPr>
              <p:spPr>
                <a:xfrm flipH="1">
                  <a:off x="7045165" y="2134453"/>
                  <a:ext cx="3499464" cy="246221"/>
                </a:xfrm>
                <a:prstGeom prst="rect">
                  <a:avLst/>
                </a:prstGeom>
              </p:spPr>
              <p:txBody>
                <a:bodyPr wrap="square" lIns="0" tIns="0" rIns="0" bIns="0" anchor="ctr">
                  <a:spAutoFit/>
                </a:bodyPr>
                <a:lstStyle/>
                <a:p>
                  <a:r>
                    <a:rPr lang="en-US" sz="1600" b="1" dirty="0">
                      <a:solidFill>
                        <a:schemeClr val="accent4"/>
                      </a:solidFill>
                      <a:latin typeface="Montserrat" panose="00000500000000000000" pitchFamily="50" charset="0"/>
                    </a:rPr>
                    <a:t>TOTAL ADDRESSABLE MARKET</a:t>
                  </a:r>
                </a:p>
              </p:txBody>
            </p:sp>
            <p:sp>
              <p:nvSpPr>
                <p:cNvPr id="25" name="Rectangle 24">
                  <a:extLst>
                    <a:ext uri="{FF2B5EF4-FFF2-40B4-BE49-F238E27FC236}">
                      <a16:creationId xmlns:a16="http://schemas.microsoft.com/office/drawing/2014/main" id="{07E14922-901E-4443-8C02-221F66473003}"/>
                    </a:ext>
                  </a:extLst>
                </p:cNvPr>
                <p:cNvSpPr/>
                <p:nvPr/>
              </p:nvSpPr>
              <p:spPr>
                <a:xfrm flipH="1">
                  <a:off x="7045164" y="2502447"/>
                  <a:ext cx="3267235" cy="440120"/>
                </a:xfrm>
                <a:prstGeom prst="rect">
                  <a:avLst/>
                </a:prstGeom>
              </p:spPr>
              <p:txBody>
                <a:bodyPr wrap="square" lIns="0" tIns="0" rIns="0" bIns="0">
                  <a:spAutoFit/>
                </a:bodyPr>
                <a:lstStyle/>
                <a:p>
                  <a:pPr>
                    <a:lnSpc>
                      <a:spcPts val="1800"/>
                    </a:lnSpc>
                  </a:pPr>
                  <a:r>
                    <a:rPr lang="en-US" sz="1200" dirty="0">
                      <a:latin typeface="Montserrat" panose="00000500000000000000" pitchFamily="50" charset="0"/>
                    </a:rPr>
                    <a:t>The entire potential market independently from your ability to reach and serve it yet</a:t>
                  </a:r>
                </a:p>
              </p:txBody>
            </p:sp>
          </p:grpSp>
          <p:grpSp>
            <p:nvGrpSpPr>
              <p:cNvPr id="27" name="Group 26">
                <a:extLst>
                  <a:ext uri="{FF2B5EF4-FFF2-40B4-BE49-F238E27FC236}">
                    <a16:creationId xmlns:a16="http://schemas.microsoft.com/office/drawing/2014/main" id="{F456D073-DCB0-4717-9B4A-7DAD53F10A66}"/>
                  </a:ext>
                </a:extLst>
              </p:cNvPr>
              <p:cNvGrpSpPr/>
              <p:nvPr/>
            </p:nvGrpSpPr>
            <p:grpSpPr>
              <a:xfrm>
                <a:off x="7045163" y="3640690"/>
                <a:ext cx="4042228" cy="808114"/>
                <a:chOff x="7045163" y="2134453"/>
                <a:chExt cx="4042228" cy="808114"/>
              </a:xfrm>
            </p:grpSpPr>
            <p:sp>
              <p:nvSpPr>
                <p:cNvPr id="28" name="Rectangle 27">
                  <a:extLst>
                    <a:ext uri="{FF2B5EF4-FFF2-40B4-BE49-F238E27FC236}">
                      <a16:creationId xmlns:a16="http://schemas.microsoft.com/office/drawing/2014/main" id="{B907CF67-7BE9-45DC-BD3A-870B347F9A5B}"/>
                    </a:ext>
                  </a:extLst>
                </p:cNvPr>
                <p:cNvSpPr/>
                <p:nvPr/>
              </p:nvSpPr>
              <p:spPr>
                <a:xfrm flipH="1">
                  <a:off x="7045164" y="2134453"/>
                  <a:ext cx="4042227" cy="246221"/>
                </a:xfrm>
                <a:prstGeom prst="rect">
                  <a:avLst/>
                </a:prstGeom>
              </p:spPr>
              <p:txBody>
                <a:bodyPr wrap="square" lIns="0" tIns="0" rIns="0" bIns="0" anchor="ctr">
                  <a:spAutoFit/>
                </a:bodyPr>
                <a:lstStyle/>
                <a:p>
                  <a:r>
                    <a:rPr lang="en-US" sz="1600" b="1" dirty="0">
                      <a:solidFill>
                        <a:schemeClr val="accent3"/>
                      </a:solidFill>
                      <a:latin typeface="Montserrat" panose="00000500000000000000" pitchFamily="50" charset="0"/>
                    </a:rPr>
                    <a:t>SERVICABLE ADDRESSABLE MARKET</a:t>
                  </a:r>
                </a:p>
              </p:txBody>
            </p:sp>
            <p:sp>
              <p:nvSpPr>
                <p:cNvPr id="29" name="Rectangle 28">
                  <a:extLst>
                    <a:ext uri="{FF2B5EF4-FFF2-40B4-BE49-F238E27FC236}">
                      <a16:creationId xmlns:a16="http://schemas.microsoft.com/office/drawing/2014/main" id="{C4D707AE-E700-47D5-A2A7-8C2E4907D8E6}"/>
                    </a:ext>
                  </a:extLst>
                </p:cNvPr>
                <p:cNvSpPr/>
                <p:nvPr/>
              </p:nvSpPr>
              <p:spPr>
                <a:xfrm flipH="1">
                  <a:off x="7045163" y="2502447"/>
                  <a:ext cx="3687491" cy="440120"/>
                </a:xfrm>
                <a:prstGeom prst="rect">
                  <a:avLst/>
                </a:prstGeom>
              </p:spPr>
              <p:txBody>
                <a:bodyPr wrap="square" lIns="0" tIns="0" rIns="0" bIns="0">
                  <a:spAutoFit/>
                </a:bodyPr>
                <a:lstStyle/>
                <a:p>
                  <a:pPr>
                    <a:lnSpc>
                      <a:spcPts val="1800"/>
                    </a:lnSpc>
                  </a:pPr>
                  <a:r>
                    <a:rPr lang="en-US" sz="1200" dirty="0">
                      <a:latin typeface="Montserrat" panose="00000500000000000000" pitchFamily="50" charset="0"/>
                    </a:rPr>
                    <a:t>The people you can actually serve and reach with your business</a:t>
                  </a:r>
                </a:p>
              </p:txBody>
            </p:sp>
          </p:grpSp>
          <p:grpSp>
            <p:nvGrpSpPr>
              <p:cNvPr id="30" name="Group 29">
                <a:extLst>
                  <a:ext uri="{FF2B5EF4-FFF2-40B4-BE49-F238E27FC236}">
                    <a16:creationId xmlns:a16="http://schemas.microsoft.com/office/drawing/2014/main" id="{E829EE0C-CEFE-4137-8808-AABB11EC86DA}"/>
                  </a:ext>
                </a:extLst>
              </p:cNvPr>
              <p:cNvGrpSpPr/>
              <p:nvPr/>
            </p:nvGrpSpPr>
            <p:grpSpPr>
              <a:xfrm>
                <a:off x="7045162" y="5089410"/>
                <a:ext cx="4435637" cy="577282"/>
                <a:chOff x="7045162" y="2134453"/>
                <a:chExt cx="4435637" cy="577282"/>
              </a:xfrm>
            </p:grpSpPr>
            <p:sp>
              <p:nvSpPr>
                <p:cNvPr id="31" name="Rectangle 30">
                  <a:extLst>
                    <a:ext uri="{FF2B5EF4-FFF2-40B4-BE49-F238E27FC236}">
                      <a16:creationId xmlns:a16="http://schemas.microsoft.com/office/drawing/2014/main" id="{B43A2D66-AFB1-4E33-98D1-1F695CB87A98}"/>
                    </a:ext>
                  </a:extLst>
                </p:cNvPr>
                <p:cNvSpPr/>
                <p:nvPr/>
              </p:nvSpPr>
              <p:spPr>
                <a:xfrm flipH="1">
                  <a:off x="7045164" y="2134453"/>
                  <a:ext cx="4042227" cy="246221"/>
                </a:xfrm>
                <a:prstGeom prst="rect">
                  <a:avLst/>
                </a:prstGeom>
              </p:spPr>
              <p:txBody>
                <a:bodyPr wrap="square" lIns="0" tIns="0" rIns="0" bIns="0" anchor="ctr">
                  <a:spAutoFit/>
                </a:bodyPr>
                <a:lstStyle/>
                <a:p>
                  <a:r>
                    <a:rPr lang="en-US" sz="1600" b="1" dirty="0">
                      <a:solidFill>
                        <a:schemeClr val="accent1"/>
                      </a:solidFill>
                      <a:latin typeface="Montserrat" panose="00000500000000000000" pitchFamily="50" charset="0"/>
                    </a:rPr>
                    <a:t>SERVICABLE OBTAINABLE MARKET</a:t>
                  </a:r>
                </a:p>
              </p:txBody>
            </p:sp>
            <p:sp>
              <p:nvSpPr>
                <p:cNvPr id="32" name="Rectangle 31">
                  <a:extLst>
                    <a:ext uri="{FF2B5EF4-FFF2-40B4-BE49-F238E27FC236}">
                      <a16:creationId xmlns:a16="http://schemas.microsoft.com/office/drawing/2014/main" id="{DA985A6A-27F9-4257-8F90-5EF6B1EBB12F}"/>
                    </a:ext>
                  </a:extLst>
                </p:cNvPr>
                <p:cNvSpPr/>
                <p:nvPr/>
              </p:nvSpPr>
              <p:spPr>
                <a:xfrm flipH="1">
                  <a:off x="7045162" y="2502447"/>
                  <a:ext cx="4435637" cy="209288"/>
                </a:xfrm>
                <a:prstGeom prst="rect">
                  <a:avLst/>
                </a:prstGeom>
              </p:spPr>
              <p:txBody>
                <a:bodyPr wrap="square" lIns="0" tIns="0" rIns="0" bIns="0">
                  <a:spAutoFit/>
                </a:bodyPr>
                <a:lstStyle/>
                <a:p>
                  <a:pPr>
                    <a:lnSpc>
                      <a:spcPts val="1800"/>
                    </a:lnSpc>
                  </a:pPr>
                  <a:r>
                    <a:rPr lang="en-US" sz="1200" dirty="0">
                      <a:latin typeface="Montserrat" panose="00000500000000000000" pitchFamily="50" charset="0"/>
                    </a:rPr>
                    <a:t>The share and portion of the market that you can capture</a:t>
                  </a:r>
                </a:p>
              </p:txBody>
            </p:sp>
          </p:grpSp>
          <p:cxnSp>
            <p:nvCxnSpPr>
              <p:cNvPr id="33" name="Straight Connector 32">
                <a:extLst>
                  <a:ext uri="{FF2B5EF4-FFF2-40B4-BE49-F238E27FC236}">
                    <a16:creationId xmlns:a16="http://schemas.microsoft.com/office/drawing/2014/main" id="{CB3CF485-6AD2-469A-80EB-BFBB8D64EFE2}"/>
                  </a:ext>
                </a:extLst>
              </p:cNvPr>
              <p:cNvCxnSpPr>
                <a:cxnSpLocks/>
              </p:cNvCxnSpPr>
              <p:nvPr/>
            </p:nvCxnSpPr>
            <p:spPr>
              <a:xfrm flipH="1">
                <a:off x="4714875" y="5378051"/>
                <a:ext cx="20955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78F6223-4B65-4467-9E46-4CADE66DB7A8}"/>
                  </a:ext>
                </a:extLst>
              </p:cNvPr>
              <p:cNvCxnSpPr>
                <a:cxnSpLocks/>
              </p:cNvCxnSpPr>
              <p:nvPr/>
            </p:nvCxnSpPr>
            <p:spPr>
              <a:xfrm flipH="1">
                <a:off x="6096000" y="2596026"/>
                <a:ext cx="714376"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E34E7B6-3360-4258-AC3A-F51D745A8B57}"/>
                  </a:ext>
                </a:extLst>
              </p:cNvPr>
              <p:cNvCxnSpPr>
                <a:cxnSpLocks/>
              </p:cNvCxnSpPr>
              <p:nvPr/>
            </p:nvCxnSpPr>
            <p:spPr>
              <a:xfrm flipH="1">
                <a:off x="5495176" y="4044747"/>
                <a:ext cx="1315200"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8515839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a:extLst>
              <a:ext uri="{FF2B5EF4-FFF2-40B4-BE49-F238E27FC236}">
                <a16:creationId xmlns:a16="http://schemas.microsoft.com/office/drawing/2014/main" id="{354401E1-0E0E-49EB-82F5-67FADC9FDCDD}"/>
              </a:ext>
            </a:extLst>
          </p:cNvPr>
          <p:cNvSpPr txBox="1"/>
          <p:nvPr/>
        </p:nvSpPr>
        <p:spPr>
          <a:xfrm>
            <a:off x="4307858" y="680646"/>
            <a:ext cx="3576284" cy="553998"/>
          </a:xfrm>
          <a:prstGeom prst="rect">
            <a:avLst/>
          </a:prstGeom>
          <a:noFill/>
        </p:spPr>
        <p:txBody>
          <a:bodyPr wrap="square" rtlCol="0">
            <a:spAutoFit/>
          </a:bodyPr>
          <a:lstStyle/>
          <a:p>
            <a:pPr algn="ctr"/>
            <a:r>
              <a:rPr lang="en-US" sz="3000" b="1" dirty="0">
                <a:solidFill>
                  <a:schemeClr val="tx2">
                    <a:lumMod val="40000"/>
                    <a:lumOff val="60000"/>
                  </a:schemeClr>
                </a:solidFill>
                <a:latin typeface="Montserrat" panose="00000500000000000000" pitchFamily="50" charset="0"/>
              </a:rPr>
              <a:t>VENN DIAGRAM</a:t>
            </a:r>
          </a:p>
        </p:txBody>
      </p:sp>
      <p:sp>
        <p:nvSpPr>
          <p:cNvPr id="30" name="Freeform: Shape 29">
            <a:extLst>
              <a:ext uri="{FF2B5EF4-FFF2-40B4-BE49-F238E27FC236}">
                <a16:creationId xmlns:a16="http://schemas.microsoft.com/office/drawing/2014/main" id="{40A069FC-1638-443A-8608-EE7805DD3790}"/>
              </a:ext>
            </a:extLst>
          </p:cNvPr>
          <p:cNvSpPr/>
          <p:nvPr/>
        </p:nvSpPr>
        <p:spPr>
          <a:xfrm>
            <a:off x="3105666" y="1777231"/>
            <a:ext cx="5976338" cy="4038600"/>
          </a:xfrm>
          <a:custGeom>
            <a:avLst/>
            <a:gdLst>
              <a:gd name="connsiteX0" fmla="*/ 2019302 w 5976338"/>
              <a:gd name="connsiteY0" fmla="*/ 0 h 4038600"/>
              <a:gd name="connsiteX1" fmla="*/ 2981822 w 5976338"/>
              <a:gd name="connsiteY1" fmla="*/ 243719 h 4038600"/>
              <a:gd name="connsiteX2" fmla="*/ 2988169 w 5976338"/>
              <a:gd name="connsiteY2" fmla="*/ 247575 h 4038600"/>
              <a:gd name="connsiteX3" fmla="*/ 2994517 w 5976338"/>
              <a:gd name="connsiteY3" fmla="*/ 243719 h 4038600"/>
              <a:gd name="connsiteX4" fmla="*/ 3957036 w 5976338"/>
              <a:gd name="connsiteY4" fmla="*/ 0 h 4038600"/>
              <a:gd name="connsiteX5" fmla="*/ 5976338 w 5976338"/>
              <a:gd name="connsiteY5" fmla="*/ 2019300 h 4038600"/>
              <a:gd name="connsiteX6" fmla="*/ 3957036 w 5976338"/>
              <a:gd name="connsiteY6" fmla="*/ 4038600 h 4038600"/>
              <a:gd name="connsiteX7" fmla="*/ 2994517 w 5976338"/>
              <a:gd name="connsiteY7" fmla="*/ 3794882 h 4038600"/>
              <a:gd name="connsiteX8" fmla="*/ 2988169 w 5976338"/>
              <a:gd name="connsiteY8" fmla="*/ 3791025 h 4038600"/>
              <a:gd name="connsiteX9" fmla="*/ 2981822 w 5976338"/>
              <a:gd name="connsiteY9" fmla="*/ 3794882 h 4038600"/>
              <a:gd name="connsiteX10" fmla="*/ 2019302 w 5976338"/>
              <a:gd name="connsiteY10" fmla="*/ 4038600 h 4038600"/>
              <a:gd name="connsiteX11" fmla="*/ 0 w 5976338"/>
              <a:gd name="connsiteY11" fmla="*/ 2019300 h 4038600"/>
              <a:gd name="connsiteX12" fmla="*/ 2019302 w 5976338"/>
              <a:gd name="connsiteY12" fmla="*/ 0 h 403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76338" h="4038600">
                <a:moveTo>
                  <a:pt x="2019302" y="0"/>
                </a:moveTo>
                <a:cubicBezTo>
                  <a:pt x="2367812" y="0"/>
                  <a:pt x="2695700" y="88288"/>
                  <a:pt x="2981822" y="243719"/>
                </a:cubicBezTo>
                <a:lnTo>
                  <a:pt x="2988169" y="247575"/>
                </a:lnTo>
                <a:lnTo>
                  <a:pt x="2994517" y="243719"/>
                </a:lnTo>
                <a:cubicBezTo>
                  <a:pt x="3280638" y="88288"/>
                  <a:pt x="3608527" y="0"/>
                  <a:pt x="3957036" y="0"/>
                </a:cubicBezTo>
                <a:cubicBezTo>
                  <a:pt x="5072266" y="0"/>
                  <a:pt x="5976338" y="904071"/>
                  <a:pt x="5976338" y="2019300"/>
                </a:cubicBezTo>
                <a:cubicBezTo>
                  <a:pt x="5976338" y="3134529"/>
                  <a:pt x="5072266" y="4038600"/>
                  <a:pt x="3957036" y="4038600"/>
                </a:cubicBezTo>
                <a:cubicBezTo>
                  <a:pt x="3608527" y="4038600"/>
                  <a:pt x="3280638" y="3950312"/>
                  <a:pt x="2994517" y="3794882"/>
                </a:cubicBezTo>
                <a:lnTo>
                  <a:pt x="2988169" y="3791025"/>
                </a:lnTo>
                <a:lnTo>
                  <a:pt x="2981822" y="3794882"/>
                </a:lnTo>
                <a:cubicBezTo>
                  <a:pt x="2695700" y="3950312"/>
                  <a:pt x="2367812" y="4038600"/>
                  <a:pt x="2019302" y="4038600"/>
                </a:cubicBezTo>
                <a:cubicBezTo>
                  <a:pt x="904072" y="4038600"/>
                  <a:pt x="0" y="3134529"/>
                  <a:pt x="0" y="2019300"/>
                </a:cubicBezTo>
                <a:cubicBezTo>
                  <a:pt x="0" y="904071"/>
                  <a:pt x="904072" y="0"/>
                  <a:pt x="2019302" y="0"/>
                </a:cubicBezTo>
                <a:close/>
              </a:path>
            </a:pathLst>
          </a:custGeom>
          <a:gradFill flip="none" rotWithShape="1">
            <a:gsLst>
              <a:gs pos="100000">
                <a:schemeClr val="accent4">
                  <a:alpha val="25000"/>
                </a:schemeClr>
              </a:gs>
              <a:gs pos="0">
                <a:schemeClr val="accent1">
                  <a:alpha val="30000"/>
                </a:schemeClr>
              </a:gs>
            </a:gsLst>
            <a:lin ang="0" scaled="0"/>
            <a:tileRect/>
          </a:gradFill>
          <a:ln w="254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31" name="Circle">
            <a:extLst>
              <a:ext uri="{FF2B5EF4-FFF2-40B4-BE49-F238E27FC236}">
                <a16:creationId xmlns:a16="http://schemas.microsoft.com/office/drawing/2014/main" id="{48A56463-5743-4FA3-AD5C-30A16F5198DF}"/>
              </a:ext>
            </a:extLst>
          </p:cNvPr>
          <p:cNvSpPr/>
          <p:nvPr/>
        </p:nvSpPr>
        <p:spPr>
          <a:xfrm>
            <a:off x="3459034" y="2130599"/>
            <a:ext cx="3331866" cy="3331865"/>
          </a:xfrm>
          <a:prstGeom prst="ellipse">
            <a:avLst/>
          </a:prstGeom>
          <a:solidFill>
            <a:schemeClr val="bg1"/>
          </a:solidFill>
          <a:ln w="254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32" name="Circle">
            <a:extLst>
              <a:ext uri="{FF2B5EF4-FFF2-40B4-BE49-F238E27FC236}">
                <a16:creationId xmlns:a16="http://schemas.microsoft.com/office/drawing/2014/main" id="{65E7716C-3E06-403A-A830-BA3F32DDECD9}"/>
              </a:ext>
            </a:extLst>
          </p:cNvPr>
          <p:cNvSpPr/>
          <p:nvPr/>
        </p:nvSpPr>
        <p:spPr>
          <a:xfrm>
            <a:off x="5396769" y="2130599"/>
            <a:ext cx="3331866" cy="3331865"/>
          </a:xfrm>
          <a:prstGeom prst="ellipse">
            <a:avLst/>
          </a:prstGeom>
          <a:solidFill>
            <a:schemeClr val="bg1"/>
          </a:solidFill>
          <a:ln w="254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33" name="Freeform: Shape 32">
            <a:extLst>
              <a:ext uri="{FF2B5EF4-FFF2-40B4-BE49-F238E27FC236}">
                <a16:creationId xmlns:a16="http://schemas.microsoft.com/office/drawing/2014/main" id="{8C550705-CB7A-46DC-B76A-7FE91B128687}"/>
              </a:ext>
            </a:extLst>
          </p:cNvPr>
          <p:cNvSpPr/>
          <p:nvPr/>
        </p:nvSpPr>
        <p:spPr>
          <a:xfrm>
            <a:off x="5396769" y="2443100"/>
            <a:ext cx="1394133" cy="2706862"/>
          </a:xfrm>
          <a:custGeom>
            <a:avLst/>
            <a:gdLst>
              <a:gd name="connsiteX0" fmla="*/ 514882 w 1029763"/>
              <a:gd name="connsiteY0" fmla="*/ 0 h 1999398"/>
              <a:gd name="connsiteX1" fmla="*/ 581966 w 1029763"/>
              <a:gd name="connsiteY1" fmla="*/ 50165 h 1999398"/>
              <a:gd name="connsiteX2" fmla="*/ 1029763 w 1029763"/>
              <a:gd name="connsiteY2" fmla="*/ 999699 h 1999398"/>
              <a:gd name="connsiteX3" fmla="*/ 581966 w 1029763"/>
              <a:gd name="connsiteY3" fmla="*/ 1949233 h 1999398"/>
              <a:gd name="connsiteX4" fmla="*/ 514882 w 1029763"/>
              <a:gd name="connsiteY4" fmla="*/ 1999398 h 1999398"/>
              <a:gd name="connsiteX5" fmla="*/ 447797 w 1029763"/>
              <a:gd name="connsiteY5" fmla="*/ 1949233 h 1999398"/>
              <a:gd name="connsiteX6" fmla="*/ 0 w 1029763"/>
              <a:gd name="connsiteY6" fmla="*/ 999699 h 1999398"/>
              <a:gd name="connsiteX7" fmla="*/ 447797 w 1029763"/>
              <a:gd name="connsiteY7" fmla="*/ 50165 h 1999398"/>
              <a:gd name="connsiteX8" fmla="*/ 514882 w 1029763"/>
              <a:gd name="connsiteY8" fmla="*/ 0 h 1999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9763" h="1999398">
                <a:moveTo>
                  <a:pt x="514882" y="0"/>
                </a:moveTo>
                <a:lnTo>
                  <a:pt x="581966" y="50165"/>
                </a:lnTo>
                <a:cubicBezTo>
                  <a:pt x="855447" y="275862"/>
                  <a:pt x="1029763" y="617424"/>
                  <a:pt x="1029763" y="999699"/>
                </a:cubicBezTo>
                <a:cubicBezTo>
                  <a:pt x="1029763" y="1381975"/>
                  <a:pt x="855447" y="1723536"/>
                  <a:pt x="581966" y="1949233"/>
                </a:cubicBezTo>
                <a:lnTo>
                  <a:pt x="514882" y="1999398"/>
                </a:lnTo>
                <a:lnTo>
                  <a:pt x="447797" y="1949233"/>
                </a:lnTo>
                <a:cubicBezTo>
                  <a:pt x="174316" y="1723536"/>
                  <a:pt x="0" y="1381975"/>
                  <a:pt x="0" y="999699"/>
                </a:cubicBezTo>
                <a:cubicBezTo>
                  <a:pt x="0" y="617424"/>
                  <a:pt x="174316" y="275862"/>
                  <a:pt x="447797" y="50165"/>
                </a:cubicBezTo>
                <a:lnTo>
                  <a:pt x="514882" y="0"/>
                </a:lnTo>
                <a:close/>
              </a:path>
            </a:pathLst>
          </a:custGeom>
          <a:gradFill flip="none" rotWithShape="1">
            <a:gsLst>
              <a:gs pos="100000">
                <a:schemeClr val="accent4"/>
              </a:gs>
              <a:gs pos="0">
                <a:schemeClr val="accent1"/>
              </a:gs>
            </a:gsLst>
            <a:path path="circle">
              <a:fillToRect r="100000" b="100000"/>
            </a:path>
            <a:tileRect l="-100000" t="-100000"/>
          </a:gradFill>
          <a:ln w="254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34" name="Rectangle 32">
            <a:extLst>
              <a:ext uri="{FF2B5EF4-FFF2-40B4-BE49-F238E27FC236}">
                <a16:creationId xmlns:a16="http://schemas.microsoft.com/office/drawing/2014/main" id="{06D27E1F-0791-4D24-B66B-BBC9106966CF}"/>
              </a:ext>
            </a:extLst>
          </p:cNvPr>
          <p:cNvSpPr>
            <a:spLocks noChangeArrowheads="1"/>
          </p:cNvSpPr>
          <p:nvPr/>
        </p:nvSpPr>
        <p:spPr bwMode="auto">
          <a:xfrm>
            <a:off x="3705009" y="3527066"/>
            <a:ext cx="1445782" cy="5389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172" rtl="0" eaLnBrk="0" fontAlgn="base" latinLnBrk="0" hangingPunct="0">
              <a:lnSpc>
                <a:spcPts val="2200"/>
              </a:lnSpc>
              <a:spcBef>
                <a:spcPct val="0"/>
              </a:spcBef>
              <a:spcAft>
                <a:spcPct val="0"/>
              </a:spcAft>
              <a:buClrTx/>
              <a:buSzTx/>
              <a:buFontTx/>
              <a:buNone/>
              <a:tabLst/>
              <a:defRPr/>
            </a:pPr>
            <a:r>
              <a:rPr kumimoji="0" lang="en-US" altLang="en-US" sz="1500" b="1" i="0" u="none" strike="noStrike" kern="1200" cap="none" spc="-60" normalizeH="0" baseline="0" noProof="0" dirty="0">
                <a:ln>
                  <a:noFill/>
                </a:ln>
                <a:solidFill>
                  <a:schemeClr val="accent1"/>
                </a:solidFill>
                <a:uLnTx/>
                <a:uFillTx/>
                <a:latin typeface="Montserrat" panose="00000500000000000000" pitchFamily="50" charset="0"/>
              </a:rPr>
              <a:t>People who only work hard</a:t>
            </a:r>
          </a:p>
        </p:txBody>
      </p:sp>
      <p:sp>
        <p:nvSpPr>
          <p:cNvPr id="35" name="Rectangle 32">
            <a:extLst>
              <a:ext uri="{FF2B5EF4-FFF2-40B4-BE49-F238E27FC236}">
                <a16:creationId xmlns:a16="http://schemas.microsoft.com/office/drawing/2014/main" id="{92823D5A-4AB7-4FE4-8482-2D8F1AE4B262}"/>
              </a:ext>
            </a:extLst>
          </p:cNvPr>
          <p:cNvSpPr>
            <a:spLocks noChangeArrowheads="1"/>
          </p:cNvSpPr>
          <p:nvPr/>
        </p:nvSpPr>
        <p:spPr bwMode="auto">
          <a:xfrm>
            <a:off x="6962982" y="3527066"/>
            <a:ext cx="1593572" cy="5389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172" rtl="0" eaLnBrk="0" fontAlgn="base" latinLnBrk="0" hangingPunct="0">
              <a:lnSpc>
                <a:spcPts val="2200"/>
              </a:lnSpc>
              <a:spcBef>
                <a:spcPct val="0"/>
              </a:spcBef>
              <a:spcAft>
                <a:spcPct val="0"/>
              </a:spcAft>
              <a:buClrTx/>
              <a:buSzTx/>
              <a:buFontTx/>
              <a:buNone/>
              <a:tabLst/>
              <a:defRPr/>
            </a:pPr>
            <a:r>
              <a:rPr kumimoji="0" lang="en-US" altLang="en-US" sz="1500" b="1" i="0" u="none" strike="noStrike" kern="1200" cap="none" spc="-60" normalizeH="0" baseline="0" noProof="0" dirty="0">
                <a:ln>
                  <a:noFill/>
                </a:ln>
                <a:solidFill>
                  <a:schemeClr val="accent4"/>
                </a:solidFill>
                <a:uLnTx/>
                <a:uFillTx/>
                <a:latin typeface="Montserrat" panose="00000500000000000000" pitchFamily="50" charset="0"/>
              </a:rPr>
              <a:t>People who</a:t>
            </a:r>
          </a:p>
          <a:p>
            <a:pPr marL="0" marR="0" lvl="0" indent="0" algn="ctr" defTabSz="914172" rtl="0" eaLnBrk="0" fontAlgn="base" latinLnBrk="0" hangingPunct="0">
              <a:lnSpc>
                <a:spcPts val="2200"/>
              </a:lnSpc>
              <a:spcBef>
                <a:spcPct val="0"/>
              </a:spcBef>
              <a:spcAft>
                <a:spcPct val="0"/>
              </a:spcAft>
              <a:buClrTx/>
              <a:buSzTx/>
              <a:buFontTx/>
              <a:buNone/>
              <a:tabLst/>
              <a:defRPr/>
            </a:pPr>
            <a:r>
              <a:rPr kumimoji="0" lang="en-US" altLang="en-US" sz="1500" b="1" i="0" u="none" strike="noStrike" kern="1200" cap="none" spc="-60" normalizeH="0" baseline="0" noProof="0" dirty="0">
                <a:ln>
                  <a:noFill/>
                </a:ln>
                <a:solidFill>
                  <a:schemeClr val="accent4"/>
                </a:solidFill>
                <a:uLnTx/>
                <a:uFillTx/>
                <a:latin typeface="Montserrat" panose="00000500000000000000" pitchFamily="50" charset="0"/>
              </a:rPr>
              <a:t>only work smart</a:t>
            </a:r>
          </a:p>
        </p:txBody>
      </p:sp>
      <p:sp>
        <p:nvSpPr>
          <p:cNvPr id="36" name="Rectangle 32">
            <a:extLst>
              <a:ext uri="{FF2B5EF4-FFF2-40B4-BE49-F238E27FC236}">
                <a16:creationId xmlns:a16="http://schemas.microsoft.com/office/drawing/2014/main" id="{9B24BE8C-EBEB-44FB-93AA-1EDDE0A3F264}"/>
              </a:ext>
            </a:extLst>
          </p:cNvPr>
          <p:cNvSpPr>
            <a:spLocks noChangeArrowheads="1"/>
          </p:cNvSpPr>
          <p:nvPr/>
        </p:nvSpPr>
        <p:spPr bwMode="auto">
          <a:xfrm>
            <a:off x="5651247" y="3525912"/>
            <a:ext cx="885179" cy="541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172" rtl="0" eaLnBrk="0" fontAlgn="base" latinLnBrk="0" hangingPunct="0">
              <a:lnSpc>
                <a:spcPts val="2200"/>
              </a:lnSpc>
              <a:spcBef>
                <a:spcPct val="0"/>
              </a:spcBef>
              <a:spcAft>
                <a:spcPct val="0"/>
              </a:spcAft>
              <a:buClrTx/>
              <a:buSzTx/>
              <a:buFontTx/>
              <a:buNone/>
              <a:tabLst/>
              <a:defRPr/>
            </a:pPr>
            <a:r>
              <a:rPr kumimoji="0" lang="en-US" altLang="en-US" sz="1500" b="1" i="0" u="none" strike="noStrike" kern="1200" cap="none" spc="-60" normalizeH="0" baseline="0" noProof="0" dirty="0">
                <a:ln>
                  <a:noFill/>
                </a:ln>
                <a:solidFill>
                  <a:schemeClr val="bg1"/>
                </a:solidFill>
                <a:uLnTx/>
                <a:uFillTx/>
                <a:latin typeface="Montserrat" panose="00000500000000000000" pitchFamily="50" charset="0"/>
              </a:rPr>
              <a:t>Common</a:t>
            </a:r>
          </a:p>
          <a:p>
            <a:pPr marL="0" marR="0" lvl="0" indent="0" algn="ctr" defTabSz="914172" rtl="0" eaLnBrk="0" fontAlgn="base" latinLnBrk="0" hangingPunct="0">
              <a:lnSpc>
                <a:spcPts val="2200"/>
              </a:lnSpc>
              <a:spcBef>
                <a:spcPct val="0"/>
              </a:spcBef>
              <a:spcAft>
                <a:spcPct val="0"/>
              </a:spcAft>
              <a:buClrTx/>
              <a:buSzTx/>
              <a:buFontTx/>
              <a:buNone/>
              <a:tabLst/>
              <a:defRPr/>
            </a:pPr>
            <a:r>
              <a:rPr lang="en-US" altLang="en-US" sz="1500" b="1" spc="-60" dirty="0">
                <a:solidFill>
                  <a:schemeClr val="bg1"/>
                </a:solidFill>
                <a:latin typeface="Montserrat" panose="00000500000000000000" pitchFamily="50" charset="0"/>
              </a:rPr>
              <a:t>ground</a:t>
            </a:r>
            <a:endParaRPr kumimoji="0" lang="en-US" altLang="en-US" sz="1500" b="1" i="0" u="none" strike="noStrike" kern="1200" cap="none" spc="-60" normalizeH="0" baseline="0" noProof="0" dirty="0">
              <a:ln>
                <a:noFill/>
              </a:ln>
              <a:solidFill>
                <a:schemeClr val="bg1"/>
              </a:solidFill>
              <a:uLnTx/>
              <a:uFillTx/>
              <a:latin typeface="Montserrat" panose="00000500000000000000" pitchFamily="50" charset="0"/>
            </a:endParaRPr>
          </a:p>
        </p:txBody>
      </p:sp>
      <p:sp>
        <p:nvSpPr>
          <p:cNvPr id="43" name="Oval 42">
            <a:extLst>
              <a:ext uri="{FF2B5EF4-FFF2-40B4-BE49-F238E27FC236}">
                <a16:creationId xmlns:a16="http://schemas.microsoft.com/office/drawing/2014/main" id="{0E930101-75CA-423B-8CE3-FD2C4F26D18E}"/>
              </a:ext>
            </a:extLst>
          </p:cNvPr>
          <p:cNvSpPr/>
          <p:nvPr/>
        </p:nvSpPr>
        <p:spPr>
          <a:xfrm flipH="1">
            <a:off x="8506526" y="2819630"/>
            <a:ext cx="490466" cy="490466"/>
          </a:xfrm>
          <a:prstGeom prst="ellipse">
            <a:avLst/>
          </a:prstGeom>
          <a:noFill/>
          <a:ln w="139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Montserrat" panose="00000500000000000000" pitchFamily="50" charset="0"/>
              </a:rPr>
              <a:t>2</a:t>
            </a:r>
          </a:p>
        </p:txBody>
      </p:sp>
      <p:sp>
        <p:nvSpPr>
          <p:cNvPr id="53" name="Oval 52">
            <a:extLst>
              <a:ext uri="{FF2B5EF4-FFF2-40B4-BE49-F238E27FC236}">
                <a16:creationId xmlns:a16="http://schemas.microsoft.com/office/drawing/2014/main" id="{A203B724-605F-4173-9321-B14F1DB9B4DB}"/>
              </a:ext>
            </a:extLst>
          </p:cNvPr>
          <p:cNvSpPr/>
          <p:nvPr/>
        </p:nvSpPr>
        <p:spPr>
          <a:xfrm flipH="1">
            <a:off x="8506526" y="4282966"/>
            <a:ext cx="490466" cy="490466"/>
          </a:xfrm>
          <a:prstGeom prst="ellipse">
            <a:avLst/>
          </a:prstGeom>
          <a:noFill/>
          <a:ln w="139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Montserrat" panose="00000500000000000000" pitchFamily="50" charset="0"/>
              </a:rPr>
              <a:t>3</a:t>
            </a:r>
          </a:p>
        </p:txBody>
      </p:sp>
      <p:sp>
        <p:nvSpPr>
          <p:cNvPr id="42" name="Oval 41">
            <a:extLst>
              <a:ext uri="{FF2B5EF4-FFF2-40B4-BE49-F238E27FC236}">
                <a16:creationId xmlns:a16="http://schemas.microsoft.com/office/drawing/2014/main" id="{11F94E98-A261-436B-A5B0-7F9C3D0B78F4}"/>
              </a:ext>
            </a:extLst>
          </p:cNvPr>
          <p:cNvSpPr/>
          <p:nvPr/>
        </p:nvSpPr>
        <p:spPr>
          <a:xfrm flipH="1">
            <a:off x="7636744" y="1900546"/>
            <a:ext cx="490466" cy="490466"/>
          </a:xfrm>
          <a:prstGeom prst="ellipse">
            <a:avLst/>
          </a:prstGeom>
          <a:noFill/>
          <a:ln w="139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Montserrat" panose="00000500000000000000" pitchFamily="50" charset="0"/>
              </a:rPr>
              <a:t>1</a:t>
            </a:r>
          </a:p>
        </p:txBody>
      </p:sp>
      <p:sp>
        <p:nvSpPr>
          <p:cNvPr id="54" name="Oval 53">
            <a:extLst>
              <a:ext uri="{FF2B5EF4-FFF2-40B4-BE49-F238E27FC236}">
                <a16:creationId xmlns:a16="http://schemas.microsoft.com/office/drawing/2014/main" id="{00996010-C694-4867-BF9C-0569F1F96ECB}"/>
              </a:ext>
            </a:extLst>
          </p:cNvPr>
          <p:cNvSpPr/>
          <p:nvPr/>
        </p:nvSpPr>
        <p:spPr>
          <a:xfrm flipH="1">
            <a:off x="7636744" y="5202050"/>
            <a:ext cx="490466" cy="490466"/>
          </a:xfrm>
          <a:prstGeom prst="ellipse">
            <a:avLst/>
          </a:prstGeom>
          <a:noFill/>
          <a:ln w="139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Montserrat" panose="00000500000000000000" pitchFamily="50" charset="0"/>
              </a:rPr>
              <a:t>4</a:t>
            </a:r>
          </a:p>
        </p:txBody>
      </p:sp>
      <p:sp>
        <p:nvSpPr>
          <p:cNvPr id="55" name="Lorem Ipsum is simply dummy text of the printing typesetting">
            <a:extLst>
              <a:ext uri="{FF2B5EF4-FFF2-40B4-BE49-F238E27FC236}">
                <a16:creationId xmlns:a16="http://schemas.microsoft.com/office/drawing/2014/main" id="{B6563643-6D8A-40E3-A336-78169C384D4B}"/>
              </a:ext>
            </a:extLst>
          </p:cNvPr>
          <p:cNvSpPr txBox="1"/>
          <p:nvPr/>
        </p:nvSpPr>
        <p:spPr>
          <a:xfrm flipH="1">
            <a:off x="9072819" y="1544250"/>
            <a:ext cx="226740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algn="l" defTabSz="412750" hangingPunct="0">
              <a:lnSpc>
                <a:spcPts val="1700"/>
              </a:lnSpc>
            </a:pPr>
            <a:r>
              <a:rPr sz="1000" kern="0" dirty="0">
                <a:solidFill>
                  <a:schemeClr val="tx1"/>
                </a:solidFill>
                <a:latin typeface="Montserrat" panose="00000500000000000000" pitchFamily="50" charset="0"/>
              </a:rPr>
              <a:t>Lorem Ipsum is simply dummy text of the printing typesetting</a:t>
            </a:r>
          </a:p>
        </p:txBody>
      </p:sp>
      <p:sp>
        <p:nvSpPr>
          <p:cNvPr id="56" name="Lorem Ipsum is simply dummy text of the printing typesetting">
            <a:extLst>
              <a:ext uri="{FF2B5EF4-FFF2-40B4-BE49-F238E27FC236}">
                <a16:creationId xmlns:a16="http://schemas.microsoft.com/office/drawing/2014/main" id="{88EB14BD-B8F0-4213-91F8-EBFE36AEC5E8}"/>
              </a:ext>
            </a:extLst>
          </p:cNvPr>
          <p:cNvSpPr txBox="1"/>
          <p:nvPr/>
        </p:nvSpPr>
        <p:spPr>
          <a:xfrm flipH="1">
            <a:off x="9072819" y="5582850"/>
            <a:ext cx="226740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algn="l" defTabSz="412750" hangingPunct="0">
              <a:lnSpc>
                <a:spcPts val="1700"/>
              </a:lnSpc>
            </a:pPr>
            <a:r>
              <a:rPr sz="1000" kern="0" dirty="0">
                <a:solidFill>
                  <a:schemeClr val="tx1"/>
                </a:solidFill>
                <a:latin typeface="Montserrat" panose="00000500000000000000" pitchFamily="50" charset="0"/>
              </a:rPr>
              <a:t>Lorem Ipsum is simply dummy text of the printing typesetting</a:t>
            </a:r>
          </a:p>
        </p:txBody>
      </p:sp>
      <p:sp>
        <p:nvSpPr>
          <p:cNvPr id="57" name="Lorem Ipsum is simply dummy text of the printing typesetting">
            <a:extLst>
              <a:ext uri="{FF2B5EF4-FFF2-40B4-BE49-F238E27FC236}">
                <a16:creationId xmlns:a16="http://schemas.microsoft.com/office/drawing/2014/main" id="{14589E43-2158-4175-8B08-5BEC8A7A5D26}"/>
              </a:ext>
            </a:extLst>
          </p:cNvPr>
          <p:cNvSpPr txBox="1"/>
          <p:nvPr/>
        </p:nvSpPr>
        <p:spPr>
          <a:xfrm flipH="1">
            <a:off x="9532667" y="4236650"/>
            <a:ext cx="226740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algn="l" defTabSz="412750" hangingPunct="0">
              <a:lnSpc>
                <a:spcPts val="1700"/>
              </a:lnSpc>
            </a:pPr>
            <a:r>
              <a:rPr sz="1000" kern="0" dirty="0">
                <a:solidFill>
                  <a:schemeClr val="tx1"/>
                </a:solidFill>
                <a:latin typeface="Montserrat" panose="00000500000000000000" pitchFamily="50" charset="0"/>
              </a:rPr>
              <a:t>Lorem Ipsum is simply dummy text of the printing typesetting</a:t>
            </a:r>
          </a:p>
        </p:txBody>
      </p:sp>
      <p:sp>
        <p:nvSpPr>
          <p:cNvPr id="58" name="Lorem Ipsum is simply dummy text of the printing typesetting">
            <a:extLst>
              <a:ext uri="{FF2B5EF4-FFF2-40B4-BE49-F238E27FC236}">
                <a16:creationId xmlns:a16="http://schemas.microsoft.com/office/drawing/2014/main" id="{A999AB07-4376-41C9-B407-C8C6F294798D}"/>
              </a:ext>
            </a:extLst>
          </p:cNvPr>
          <p:cNvSpPr txBox="1"/>
          <p:nvPr/>
        </p:nvSpPr>
        <p:spPr>
          <a:xfrm flipH="1">
            <a:off x="9467671" y="2890450"/>
            <a:ext cx="226740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algn="l" defTabSz="412750" hangingPunct="0">
              <a:lnSpc>
                <a:spcPts val="1700"/>
              </a:lnSpc>
            </a:pPr>
            <a:r>
              <a:rPr sz="1000" kern="0" dirty="0">
                <a:solidFill>
                  <a:schemeClr val="tx1"/>
                </a:solidFill>
                <a:latin typeface="Montserrat" panose="00000500000000000000" pitchFamily="50" charset="0"/>
              </a:rPr>
              <a:t>Lorem Ipsum is simply dummy text of the printing typesetting</a:t>
            </a:r>
          </a:p>
        </p:txBody>
      </p:sp>
      <p:sp>
        <p:nvSpPr>
          <p:cNvPr id="60" name="Oval 59">
            <a:extLst>
              <a:ext uri="{FF2B5EF4-FFF2-40B4-BE49-F238E27FC236}">
                <a16:creationId xmlns:a16="http://schemas.microsoft.com/office/drawing/2014/main" id="{9E38DE4A-9C09-4069-BDB7-E705454A8A04}"/>
              </a:ext>
            </a:extLst>
          </p:cNvPr>
          <p:cNvSpPr/>
          <p:nvPr/>
        </p:nvSpPr>
        <p:spPr>
          <a:xfrm>
            <a:off x="3188658" y="2819630"/>
            <a:ext cx="490466" cy="490466"/>
          </a:xfrm>
          <a:prstGeom prst="ellipse">
            <a:avLst/>
          </a:prstGeom>
          <a:noFill/>
          <a:ln w="139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Montserrat" panose="00000500000000000000" pitchFamily="50" charset="0"/>
              </a:rPr>
              <a:t>2</a:t>
            </a:r>
          </a:p>
        </p:txBody>
      </p:sp>
      <p:sp>
        <p:nvSpPr>
          <p:cNvPr id="61" name="Oval 60">
            <a:extLst>
              <a:ext uri="{FF2B5EF4-FFF2-40B4-BE49-F238E27FC236}">
                <a16:creationId xmlns:a16="http://schemas.microsoft.com/office/drawing/2014/main" id="{34306673-74E4-4ACC-8156-FB294E84CE6C}"/>
              </a:ext>
            </a:extLst>
          </p:cNvPr>
          <p:cNvSpPr/>
          <p:nvPr/>
        </p:nvSpPr>
        <p:spPr>
          <a:xfrm>
            <a:off x="3188658" y="4282966"/>
            <a:ext cx="490466" cy="490466"/>
          </a:xfrm>
          <a:prstGeom prst="ellipse">
            <a:avLst/>
          </a:prstGeom>
          <a:noFill/>
          <a:ln w="139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Montserrat" panose="00000500000000000000" pitchFamily="50" charset="0"/>
              </a:rPr>
              <a:t>3</a:t>
            </a:r>
          </a:p>
        </p:txBody>
      </p:sp>
      <p:sp>
        <p:nvSpPr>
          <p:cNvPr id="62" name="Oval 61">
            <a:extLst>
              <a:ext uri="{FF2B5EF4-FFF2-40B4-BE49-F238E27FC236}">
                <a16:creationId xmlns:a16="http://schemas.microsoft.com/office/drawing/2014/main" id="{A57EE7D5-E419-4958-BC17-6DBD9133FDF0}"/>
              </a:ext>
            </a:extLst>
          </p:cNvPr>
          <p:cNvSpPr/>
          <p:nvPr/>
        </p:nvSpPr>
        <p:spPr>
          <a:xfrm>
            <a:off x="4064790" y="1900546"/>
            <a:ext cx="490466" cy="490466"/>
          </a:xfrm>
          <a:prstGeom prst="ellipse">
            <a:avLst/>
          </a:prstGeom>
          <a:noFill/>
          <a:ln w="139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Montserrat" panose="00000500000000000000" pitchFamily="50" charset="0"/>
              </a:rPr>
              <a:t>1</a:t>
            </a:r>
          </a:p>
        </p:txBody>
      </p:sp>
      <p:sp>
        <p:nvSpPr>
          <p:cNvPr id="63" name="Oval 62">
            <a:extLst>
              <a:ext uri="{FF2B5EF4-FFF2-40B4-BE49-F238E27FC236}">
                <a16:creationId xmlns:a16="http://schemas.microsoft.com/office/drawing/2014/main" id="{CD8A57E6-66C6-441A-9632-351ED7D1CC98}"/>
              </a:ext>
            </a:extLst>
          </p:cNvPr>
          <p:cNvSpPr/>
          <p:nvPr/>
        </p:nvSpPr>
        <p:spPr>
          <a:xfrm>
            <a:off x="4064790" y="5202050"/>
            <a:ext cx="490466" cy="490466"/>
          </a:xfrm>
          <a:prstGeom prst="ellipse">
            <a:avLst/>
          </a:prstGeom>
          <a:noFill/>
          <a:ln w="139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Montserrat" panose="00000500000000000000" pitchFamily="50" charset="0"/>
              </a:rPr>
              <a:t>4</a:t>
            </a:r>
          </a:p>
        </p:txBody>
      </p:sp>
      <p:sp>
        <p:nvSpPr>
          <p:cNvPr id="64" name="Lorem Ipsum is simply dummy text of the printing typesetting">
            <a:extLst>
              <a:ext uri="{FF2B5EF4-FFF2-40B4-BE49-F238E27FC236}">
                <a16:creationId xmlns:a16="http://schemas.microsoft.com/office/drawing/2014/main" id="{AD170FFC-EA7D-4CAD-B092-D520E62CF6AC}"/>
              </a:ext>
            </a:extLst>
          </p:cNvPr>
          <p:cNvSpPr txBox="1"/>
          <p:nvPr/>
        </p:nvSpPr>
        <p:spPr>
          <a:xfrm>
            <a:off x="851775" y="1544250"/>
            <a:ext cx="226740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defTabSz="412750" hangingPunct="0">
              <a:lnSpc>
                <a:spcPts val="1700"/>
              </a:lnSpc>
            </a:pPr>
            <a:r>
              <a:rPr sz="1000" kern="0" dirty="0">
                <a:solidFill>
                  <a:schemeClr val="tx1"/>
                </a:solidFill>
                <a:latin typeface="Montserrat" panose="00000500000000000000" pitchFamily="50" charset="0"/>
              </a:rPr>
              <a:t>Lorem Ipsum is simply dummy text of the printing typesetting</a:t>
            </a:r>
          </a:p>
        </p:txBody>
      </p:sp>
      <p:sp>
        <p:nvSpPr>
          <p:cNvPr id="65" name="Lorem Ipsum is simply dummy text of the printing typesetting">
            <a:extLst>
              <a:ext uri="{FF2B5EF4-FFF2-40B4-BE49-F238E27FC236}">
                <a16:creationId xmlns:a16="http://schemas.microsoft.com/office/drawing/2014/main" id="{08FD0EFC-CB88-4DC5-89ED-F615286D6FA8}"/>
              </a:ext>
            </a:extLst>
          </p:cNvPr>
          <p:cNvSpPr txBox="1"/>
          <p:nvPr/>
        </p:nvSpPr>
        <p:spPr>
          <a:xfrm>
            <a:off x="851775" y="5582850"/>
            <a:ext cx="226740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defTabSz="412750" hangingPunct="0">
              <a:lnSpc>
                <a:spcPts val="1700"/>
              </a:lnSpc>
            </a:pPr>
            <a:r>
              <a:rPr sz="1000" kern="0" dirty="0">
                <a:solidFill>
                  <a:schemeClr val="tx1"/>
                </a:solidFill>
                <a:latin typeface="Montserrat" panose="00000500000000000000" pitchFamily="50" charset="0"/>
              </a:rPr>
              <a:t>Lorem Ipsum is simply dummy text of the printing typesetting</a:t>
            </a:r>
          </a:p>
        </p:txBody>
      </p:sp>
      <p:sp>
        <p:nvSpPr>
          <p:cNvPr id="66" name="Lorem Ipsum is simply dummy text of the printing typesetting">
            <a:extLst>
              <a:ext uri="{FF2B5EF4-FFF2-40B4-BE49-F238E27FC236}">
                <a16:creationId xmlns:a16="http://schemas.microsoft.com/office/drawing/2014/main" id="{4B000AA1-07B6-41A6-9D0E-94F398A3426E}"/>
              </a:ext>
            </a:extLst>
          </p:cNvPr>
          <p:cNvSpPr txBox="1"/>
          <p:nvPr/>
        </p:nvSpPr>
        <p:spPr>
          <a:xfrm>
            <a:off x="391927" y="4236650"/>
            <a:ext cx="226740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defTabSz="412750" hangingPunct="0">
              <a:lnSpc>
                <a:spcPts val="1700"/>
              </a:lnSpc>
            </a:pPr>
            <a:r>
              <a:rPr sz="1000" kern="0" dirty="0">
                <a:solidFill>
                  <a:schemeClr val="tx1"/>
                </a:solidFill>
                <a:latin typeface="Montserrat" panose="00000500000000000000" pitchFamily="50" charset="0"/>
              </a:rPr>
              <a:t>Lorem Ipsum is simply dummy text of the printing typesetting</a:t>
            </a:r>
          </a:p>
        </p:txBody>
      </p:sp>
      <p:sp>
        <p:nvSpPr>
          <p:cNvPr id="67" name="Lorem Ipsum is simply dummy text of the printing typesetting">
            <a:extLst>
              <a:ext uri="{FF2B5EF4-FFF2-40B4-BE49-F238E27FC236}">
                <a16:creationId xmlns:a16="http://schemas.microsoft.com/office/drawing/2014/main" id="{019BBFB3-46A4-40C8-9CD2-19900AC0017C}"/>
              </a:ext>
            </a:extLst>
          </p:cNvPr>
          <p:cNvSpPr txBox="1"/>
          <p:nvPr/>
        </p:nvSpPr>
        <p:spPr>
          <a:xfrm>
            <a:off x="456923" y="2890450"/>
            <a:ext cx="226740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defTabSz="412750" hangingPunct="0">
              <a:lnSpc>
                <a:spcPts val="1700"/>
              </a:lnSpc>
            </a:pPr>
            <a:r>
              <a:rPr sz="1000" kern="0" dirty="0">
                <a:solidFill>
                  <a:schemeClr val="tx1"/>
                </a:solidFill>
                <a:latin typeface="Montserrat" panose="00000500000000000000" pitchFamily="50" charset="0"/>
              </a:rPr>
              <a:t>Lorem Ipsum is simply dummy text of the printing typesetting</a:t>
            </a:r>
          </a:p>
        </p:txBody>
      </p:sp>
    </p:spTree>
    <p:extLst>
      <p:ext uri="{BB962C8B-B14F-4D97-AF65-F5344CB8AC3E}">
        <p14:creationId xmlns:p14="http://schemas.microsoft.com/office/powerpoint/2010/main" val="3500430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p:cTn id="7" dur="1250" fill="hold"/>
                                        <p:tgtEl>
                                          <p:spTgt spid="30"/>
                                        </p:tgtEl>
                                        <p:attrNameLst>
                                          <p:attrName>ppt_w</p:attrName>
                                        </p:attrNameLst>
                                      </p:cBhvr>
                                      <p:tavLst>
                                        <p:tav tm="0">
                                          <p:val>
                                            <p:strVal val="#ppt_w*0.70"/>
                                          </p:val>
                                        </p:tav>
                                        <p:tav tm="100000">
                                          <p:val>
                                            <p:strVal val="#ppt_w"/>
                                          </p:val>
                                        </p:tav>
                                      </p:tavLst>
                                    </p:anim>
                                    <p:anim calcmode="lin" valueType="num">
                                      <p:cBhvr>
                                        <p:cTn id="8" dur="1250" fill="hold"/>
                                        <p:tgtEl>
                                          <p:spTgt spid="30"/>
                                        </p:tgtEl>
                                        <p:attrNameLst>
                                          <p:attrName>ppt_h</p:attrName>
                                        </p:attrNameLst>
                                      </p:cBhvr>
                                      <p:tavLst>
                                        <p:tav tm="0">
                                          <p:val>
                                            <p:strVal val="#ppt_h"/>
                                          </p:val>
                                        </p:tav>
                                        <p:tav tm="100000">
                                          <p:val>
                                            <p:strVal val="#ppt_h"/>
                                          </p:val>
                                        </p:tav>
                                      </p:tavLst>
                                    </p:anim>
                                    <p:animEffect transition="in" filter="fade">
                                      <p:cBhvr>
                                        <p:cTn id="9" dur="1250"/>
                                        <p:tgtEl>
                                          <p:spTgt spid="30"/>
                                        </p:tgtEl>
                                      </p:cBhvr>
                                    </p:animEffect>
                                  </p:childTnLst>
                                </p:cTn>
                              </p:par>
                              <p:par>
                                <p:cTn id="10" presetID="55" presetClass="entr" presetSubtype="0" fill="hold" grpId="0" nodeType="withEffect">
                                  <p:stCondLst>
                                    <p:cond delay="0"/>
                                  </p:stCondLst>
                                  <p:childTnLst>
                                    <p:set>
                                      <p:cBhvr>
                                        <p:cTn id="11" dur="1" fill="hold">
                                          <p:stCondLst>
                                            <p:cond delay="0"/>
                                          </p:stCondLst>
                                        </p:cTn>
                                        <p:tgtEl>
                                          <p:spTgt spid="32"/>
                                        </p:tgtEl>
                                        <p:attrNameLst>
                                          <p:attrName>style.visibility</p:attrName>
                                        </p:attrNameLst>
                                      </p:cBhvr>
                                      <p:to>
                                        <p:strVal val="visible"/>
                                      </p:to>
                                    </p:set>
                                    <p:anim calcmode="lin" valueType="num">
                                      <p:cBhvr>
                                        <p:cTn id="12" dur="1250" fill="hold"/>
                                        <p:tgtEl>
                                          <p:spTgt spid="32"/>
                                        </p:tgtEl>
                                        <p:attrNameLst>
                                          <p:attrName>ppt_w</p:attrName>
                                        </p:attrNameLst>
                                      </p:cBhvr>
                                      <p:tavLst>
                                        <p:tav tm="0">
                                          <p:val>
                                            <p:strVal val="#ppt_w*0.70"/>
                                          </p:val>
                                        </p:tav>
                                        <p:tav tm="100000">
                                          <p:val>
                                            <p:strVal val="#ppt_w"/>
                                          </p:val>
                                        </p:tav>
                                      </p:tavLst>
                                    </p:anim>
                                    <p:anim calcmode="lin" valueType="num">
                                      <p:cBhvr>
                                        <p:cTn id="13" dur="1250" fill="hold"/>
                                        <p:tgtEl>
                                          <p:spTgt spid="32"/>
                                        </p:tgtEl>
                                        <p:attrNameLst>
                                          <p:attrName>ppt_h</p:attrName>
                                        </p:attrNameLst>
                                      </p:cBhvr>
                                      <p:tavLst>
                                        <p:tav tm="0">
                                          <p:val>
                                            <p:strVal val="#ppt_h"/>
                                          </p:val>
                                        </p:tav>
                                        <p:tav tm="100000">
                                          <p:val>
                                            <p:strVal val="#ppt_h"/>
                                          </p:val>
                                        </p:tav>
                                      </p:tavLst>
                                    </p:anim>
                                    <p:animEffect transition="in" filter="fade">
                                      <p:cBhvr>
                                        <p:cTn id="14" dur="1250"/>
                                        <p:tgtEl>
                                          <p:spTgt spid="32"/>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anim calcmode="lin" valueType="num">
                                      <p:cBhvr>
                                        <p:cTn id="17" dur="1250" fill="hold"/>
                                        <p:tgtEl>
                                          <p:spTgt spid="31"/>
                                        </p:tgtEl>
                                        <p:attrNameLst>
                                          <p:attrName>ppt_w</p:attrName>
                                        </p:attrNameLst>
                                      </p:cBhvr>
                                      <p:tavLst>
                                        <p:tav tm="0">
                                          <p:val>
                                            <p:strVal val="#ppt_w*0.70"/>
                                          </p:val>
                                        </p:tav>
                                        <p:tav tm="100000">
                                          <p:val>
                                            <p:strVal val="#ppt_w"/>
                                          </p:val>
                                        </p:tav>
                                      </p:tavLst>
                                    </p:anim>
                                    <p:anim calcmode="lin" valueType="num">
                                      <p:cBhvr>
                                        <p:cTn id="18" dur="1250" fill="hold"/>
                                        <p:tgtEl>
                                          <p:spTgt spid="31"/>
                                        </p:tgtEl>
                                        <p:attrNameLst>
                                          <p:attrName>ppt_h</p:attrName>
                                        </p:attrNameLst>
                                      </p:cBhvr>
                                      <p:tavLst>
                                        <p:tav tm="0">
                                          <p:val>
                                            <p:strVal val="#ppt_h"/>
                                          </p:val>
                                        </p:tav>
                                        <p:tav tm="100000">
                                          <p:val>
                                            <p:strVal val="#ppt_h"/>
                                          </p:val>
                                        </p:tav>
                                      </p:tavLst>
                                    </p:anim>
                                    <p:animEffect transition="in" filter="fade">
                                      <p:cBhvr>
                                        <p:cTn id="19" dur="1250"/>
                                        <p:tgtEl>
                                          <p:spTgt spid="31"/>
                                        </p:tgtEl>
                                      </p:cBhvr>
                                    </p:animEffect>
                                  </p:childTnLst>
                                </p:cTn>
                              </p:par>
                              <p:par>
                                <p:cTn id="20" presetID="55" presetClass="entr" presetSubtype="0" fill="hold" grpId="0" nodeType="withEffect">
                                  <p:stCondLst>
                                    <p:cond delay="0"/>
                                  </p:stCondLst>
                                  <p:childTnLst>
                                    <p:set>
                                      <p:cBhvr>
                                        <p:cTn id="21" dur="1" fill="hold">
                                          <p:stCondLst>
                                            <p:cond delay="0"/>
                                          </p:stCondLst>
                                        </p:cTn>
                                        <p:tgtEl>
                                          <p:spTgt spid="33"/>
                                        </p:tgtEl>
                                        <p:attrNameLst>
                                          <p:attrName>style.visibility</p:attrName>
                                        </p:attrNameLst>
                                      </p:cBhvr>
                                      <p:to>
                                        <p:strVal val="visible"/>
                                      </p:to>
                                    </p:set>
                                    <p:anim calcmode="lin" valueType="num">
                                      <p:cBhvr>
                                        <p:cTn id="22" dur="1250" fill="hold"/>
                                        <p:tgtEl>
                                          <p:spTgt spid="33"/>
                                        </p:tgtEl>
                                        <p:attrNameLst>
                                          <p:attrName>ppt_w</p:attrName>
                                        </p:attrNameLst>
                                      </p:cBhvr>
                                      <p:tavLst>
                                        <p:tav tm="0">
                                          <p:val>
                                            <p:strVal val="#ppt_w*0.70"/>
                                          </p:val>
                                        </p:tav>
                                        <p:tav tm="100000">
                                          <p:val>
                                            <p:strVal val="#ppt_w"/>
                                          </p:val>
                                        </p:tav>
                                      </p:tavLst>
                                    </p:anim>
                                    <p:anim calcmode="lin" valueType="num">
                                      <p:cBhvr>
                                        <p:cTn id="23" dur="1250" fill="hold"/>
                                        <p:tgtEl>
                                          <p:spTgt spid="33"/>
                                        </p:tgtEl>
                                        <p:attrNameLst>
                                          <p:attrName>ppt_h</p:attrName>
                                        </p:attrNameLst>
                                      </p:cBhvr>
                                      <p:tavLst>
                                        <p:tav tm="0">
                                          <p:val>
                                            <p:strVal val="#ppt_h"/>
                                          </p:val>
                                        </p:tav>
                                        <p:tav tm="100000">
                                          <p:val>
                                            <p:strVal val="#ppt_h"/>
                                          </p:val>
                                        </p:tav>
                                      </p:tavLst>
                                    </p:anim>
                                    <p:animEffect transition="in" filter="fade">
                                      <p:cBhvr>
                                        <p:cTn id="24" dur="1250"/>
                                        <p:tgtEl>
                                          <p:spTgt spid="33"/>
                                        </p:tgtEl>
                                      </p:cBhvr>
                                    </p:animEffect>
                                  </p:childTnLst>
                                </p:cTn>
                              </p:par>
                              <p:par>
                                <p:cTn id="25" presetID="12" presetClass="entr" presetSubtype="2" fill="hold" grpId="0" nodeType="withEffect">
                                  <p:stCondLst>
                                    <p:cond delay="1000"/>
                                  </p:stCondLst>
                                  <p:childTnLst>
                                    <p:set>
                                      <p:cBhvr>
                                        <p:cTn id="26" dur="1" fill="hold">
                                          <p:stCondLst>
                                            <p:cond delay="0"/>
                                          </p:stCondLst>
                                        </p:cTn>
                                        <p:tgtEl>
                                          <p:spTgt spid="34"/>
                                        </p:tgtEl>
                                        <p:attrNameLst>
                                          <p:attrName>style.visibility</p:attrName>
                                        </p:attrNameLst>
                                      </p:cBhvr>
                                      <p:to>
                                        <p:strVal val="visible"/>
                                      </p:to>
                                    </p:set>
                                    <p:anim calcmode="lin" valueType="num">
                                      <p:cBhvr additive="base">
                                        <p:cTn id="27" dur="1000"/>
                                        <p:tgtEl>
                                          <p:spTgt spid="34"/>
                                        </p:tgtEl>
                                        <p:attrNameLst>
                                          <p:attrName>ppt_x</p:attrName>
                                        </p:attrNameLst>
                                      </p:cBhvr>
                                      <p:tavLst>
                                        <p:tav tm="0">
                                          <p:val>
                                            <p:strVal val="#ppt_x+#ppt_w*1.125000"/>
                                          </p:val>
                                        </p:tav>
                                        <p:tav tm="100000">
                                          <p:val>
                                            <p:strVal val="#ppt_x"/>
                                          </p:val>
                                        </p:tav>
                                      </p:tavLst>
                                    </p:anim>
                                    <p:animEffect transition="in" filter="wipe(left)">
                                      <p:cBhvr>
                                        <p:cTn id="28" dur="1000"/>
                                        <p:tgtEl>
                                          <p:spTgt spid="34"/>
                                        </p:tgtEl>
                                      </p:cBhvr>
                                    </p:animEffect>
                                  </p:childTnLst>
                                </p:cTn>
                              </p:par>
                              <p:par>
                                <p:cTn id="29" presetID="12" presetClass="entr" presetSubtype="4" fill="hold" grpId="0" nodeType="withEffect">
                                  <p:stCondLst>
                                    <p:cond delay="1000"/>
                                  </p:stCondLst>
                                  <p:childTnLst>
                                    <p:set>
                                      <p:cBhvr>
                                        <p:cTn id="30" dur="1" fill="hold">
                                          <p:stCondLst>
                                            <p:cond delay="0"/>
                                          </p:stCondLst>
                                        </p:cTn>
                                        <p:tgtEl>
                                          <p:spTgt spid="36"/>
                                        </p:tgtEl>
                                        <p:attrNameLst>
                                          <p:attrName>style.visibility</p:attrName>
                                        </p:attrNameLst>
                                      </p:cBhvr>
                                      <p:to>
                                        <p:strVal val="visible"/>
                                      </p:to>
                                    </p:set>
                                    <p:anim calcmode="lin" valueType="num">
                                      <p:cBhvr additive="base">
                                        <p:cTn id="31" dur="1000"/>
                                        <p:tgtEl>
                                          <p:spTgt spid="36"/>
                                        </p:tgtEl>
                                        <p:attrNameLst>
                                          <p:attrName>ppt_y</p:attrName>
                                        </p:attrNameLst>
                                      </p:cBhvr>
                                      <p:tavLst>
                                        <p:tav tm="0">
                                          <p:val>
                                            <p:strVal val="#ppt_y+#ppt_h*1.125000"/>
                                          </p:val>
                                        </p:tav>
                                        <p:tav tm="100000">
                                          <p:val>
                                            <p:strVal val="#ppt_y"/>
                                          </p:val>
                                        </p:tav>
                                      </p:tavLst>
                                    </p:anim>
                                    <p:animEffect transition="in" filter="wipe(up)">
                                      <p:cBhvr>
                                        <p:cTn id="32" dur="1000"/>
                                        <p:tgtEl>
                                          <p:spTgt spid="36"/>
                                        </p:tgtEl>
                                      </p:cBhvr>
                                    </p:animEffect>
                                  </p:childTnLst>
                                </p:cTn>
                              </p:par>
                              <p:par>
                                <p:cTn id="33" presetID="12" presetClass="entr" presetSubtype="8" fill="hold" grpId="0" nodeType="withEffect">
                                  <p:stCondLst>
                                    <p:cond delay="1000"/>
                                  </p:stCondLst>
                                  <p:childTnLst>
                                    <p:set>
                                      <p:cBhvr>
                                        <p:cTn id="34" dur="1" fill="hold">
                                          <p:stCondLst>
                                            <p:cond delay="0"/>
                                          </p:stCondLst>
                                        </p:cTn>
                                        <p:tgtEl>
                                          <p:spTgt spid="35"/>
                                        </p:tgtEl>
                                        <p:attrNameLst>
                                          <p:attrName>style.visibility</p:attrName>
                                        </p:attrNameLst>
                                      </p:cBhvr>
                                      <p:to>
                                        <p:strVal val="visible"/>
                                      </p:to>
                                    </p:set>
                                    <p:anim calcmode="lin" valueType="num">
                                      <p:cBhvr additive="base">
                                        <p:cTn id="35" dur="1000"/>
                                        <p:tgtEl>
                                          <p:spTgt spid="35"/>
                                        </p:tgtEl>
                                        <p:attrNameLst>
                                          <p:attrName>ppt_x</p:attrName>
                                        </p:attrNameLst>
                                      </p:cBhvr>
                                      <p:tavLst>
                                        <p:tav tm="0">
                                          <p:val>
                                            <p:strVal val="#ppt_x-#ppt_w*1.125000"/>
                                          </p:val>
                                        </p:tav>
                                        <p:tav tm="100000">
                                          <p:val>
                                            <p:strVal val="#ppt_x"/>
                                          </p:val>
                                        </p:tav>
                                      </p:tavLst>
                                    </p:anim>
                                    <p:animEffect transition="in" filter="wipe(right)">
                                      <p:cBhvr>
                                        <p:cTn id="36" dur="1000"/>
                                        <p:tgtEl>
                                          <p:spTgt spid="35"/>
                                        </p:tgtEl>
                                      </p:cBhvr>
                                    </p:animEffect>
                                  </p:childTnLst>
                                </p:cTn>
                              </p:par>
                              <p:par>
                                <p:cTn id="37" presetID="53" presetClass="entr" presetSubtype="16" fill="hold" grpId="0" nodeType="withEffect">
                                  <p:stCondLst>
                                    <p:cond delay="1500"/>
                                  </p:stCondLst>
                                  <p:childTnLst>
                                    <p:set>
                                      <p:cBhvr>
                                        <p:cTn id="38" dur="1" fill="hold">
                                          <p:stCondLst>
                                            <p:cond delay="0"/>
                                          </p:stCondLst>
                                        </p:cTn>
                                        <p:tgtEl>
                                          <p:spTgt spid="62"/>
                                        </p:tgtEl>
                                        <p:attrNameLst>
                                          <p:attrName>style.visibility</p:attrName>
                                        </p:attrNameLst>
                                      </p:cBhvr>
                                      <p:to>
                                        <p:strVal val="visible"/>
                                      </p:to>
                                    </p:set>
                                    <p:anim calcmode="lin" valueType="num">
                                      <p:cBhvr>
                                        <p:cTn id="39" dur="1000" fill="hold"/>
                                        <p:tgtEl>
                                          <p:spTgt spid="62"/>
                                        </p:tgtEl>
                                        <p:attrNameLst>
                                          <p:attrName>ppt_w</p:attrName>
                                        </p:attrNameLst>
                                      </p:cBhvr>
                                      <p:tavLst>
                                        <p:tav tm="0">
                                          <p:val>
                                            <p:fltVal val="0"/>
                                          </p:val>
                                        </p:tav>
                                        <p:tav tm="100000">
                                          <p:val>
                                            <p:strVal val="#ppt_w"/>
                                          </p:val>
                                        </p:tav>
                                      </p:tavLst>
                                    </p:anim>
                                    <p:anim calcmode="lin" valueType="num">
                                      <p:cBhvr>
                                        <p:cTn id="40" dur="1000" fill="hold"/>
                                        <p:tgtEl>
                                          <p:spTgt spid="62"/>
                                        </p:tgtEl>
                                        <p:attrNameLst>
                                          <p:attrName>ppt_h</p:attrName>
                                        </p:attrNameLst>
                                      </p:cBhvr>
                                      <p:tavLst>
                                        <p:tav tm="0">
                                          <p:val>
                                            <p:fltVal val="0"/>
                                          </p:val>
                                        </p:tav>
                                        <p:tav tm="100000">
                                          <p:val>
                                            <p:strVal val="#ppt_h"/>
                                          </p:val>
                                        </p:tav>
                                      </p:tavLst>
                                    </p:anim>
                                    <p:animEffect transition="in" filter="fade">
                                      <p:cBhvr>
                                        <p:cTn id="41" dur="1000"/>
                                        <p:tgtEl>
                                          <p:spTgt spid="62"/>
                                        </p:tgtEl>
                                      </p:cBhvr>
                                    </p:animEffect>
                                  </p:childTnLst>
                                </p:cTn>
                              </p:par>
                              <p:par>
                                <p:cTn id="42" presetID="53" presetClass="entr" presetSubtype="16" fill="hold" grpId="0" nodeType="withEffect">
                                  <p:stCondLst>
                                    <p:cond delay="1500"/>
                                  </p:stCondLst>
                                  <p:childTnLst>
                                    <p:set>
                                      <p:cBhvr>
                                        <p:cTn id="43" dur="1" fill="hold">
                                          <p:stCondLst>
                                            <p:cond delay="0"/>
                                          </p:stCondLst>
                                        </p:cTn>
                                        <p:tgtEl>
                                          <p:spTgt spid="42"/>
                                        </p:tgtEl>
                                        <p:attrNameLst>
                                          <p:attrName>style.visibility</p:attrName>
                                        </p:attrNameLst>
                                      </p:cBhvr>
                                      <p:to>
                                        <p:strVal val="visible"/>
                                      </p:to>
                                    </p:set>
                                    <p:anim calcmode="lin" valueType="num">
                                      <p:cBhvr>
                                        <p:cTn id="44" dur="1000" fill="hold"/>
                                        <p:tgtEl>
                                          <p:spTgt spid="42"/>
                                        </p:tgtEl>
                                        <p:attrNameLst>
                                          <p:attrName>ppt_w</p:attrName>
                                        </p:attrNameLst>
                                      </p:cBhvr>
                                      <p:tavLst>
                                        <p:tav tm="0">
                                          <p:val>
                                            <p:fltVal val="0"/>
                                          </p:val>
                                        </p:tav>
                                        <p:tav tm="100000">
                                          <p:val>
                                            <p:strVal val="#ppt_w"/>
                                          </p:val>
                                        </p:tav>
                                      </p:tavLst>
                                    </p:anim>
                                    <p:anim calcmode="lin" valueType="num">
                                      <p:cBhvr>
                                        <p:cTn id="45" dur="1000" fill="hold"/>
                                        <p:tgtEl>
                                          <p:spTgt spid="42"/>
                                        </p:tgtEl>
                                        <p:attrNameLst>
                                          <p:attrName>ppt_h</p:attrName>
                                        </p:attrNameLst>
                                      </p:cBhvr>
                                      <p:tavLst>
                                        <p:tav tm="0">
                                          <p:val>
                                            <p:fltVal val="0"/>
                                          </p:val>
                                        </p:tav>
                                        <p:tav tm="100000">
                                          <p:val>
                                            <p:strVal val="#ppt_h"/>
                                          </p:val>
                                        </p:tav>
                                      </p:tavLst>
                                    </p:anim>
                                    <p:animEffect transition="in" filter="fade">
                                      <p:cBhvr>
                                        <p:cTn id="46" dur="1000"/>
                                        <p:tgtEl>
                                          <p:spTgt spid="42"/>
                                        </p:tgtEl>
                                      </p:cBhvr>
                                    </p:animEffect>
                                  </p:childTnLst>
                                </p:cTn>
                              </p:par>
                              <p:par>
                                <p:cTn id="47" presetID="53" presetClass="entr" presetSubtype="16" fill="hold" grpId="0" nodeType="withEffect">
                                  <p:stCondLst>
                                    <p:cond delay="1750"/>
                                  </p:stCondLst>
                                  <p:childTnLst>
                                    <p:set>
                                      <p:cBhvr>
                                        <p:cTn id="48" dur="1" fill="hold">
                                          <p:stCondLst>
                                            <p:cond delay="0"/>
                                          </p:stCondLst>
                                        </p:cTn>
                                        <p:tgtEl>
                                          <p:spTgt spid="60"/>
                                        </p:tgtEl>
                                        <p:attrNameLst>
                                          <p:attrName>style.visibility</p:attrName>
                                        </p:attrNameLst>
                                      </p:cBhvr>
                                      <p:to>
                                        <p:strVal val="visible"/>
                                      </p:to>
                                    </p:set>
                                    <p:anim calcmode="lin" valueType="num">
                                      <p:cBhvr>
                                        <p:cTn id="49" dur="1000" fill="hold"/>
                                        <p:tgtEl>
                                          <p:spTgt spid="60"/>
                                        </p:tgtEl>
                                        <p:attrNameLst>
                                          <p:attrName>ppt_w</p:attrName>
                                        </p:attrNameLst>
                                      </p:cBhvr>
                                      <p:tavLst>
                                        <p:tav tm="0">
                                          <p:val>
                                            <p:fltVal val="0"/>
                                          </p:val>
                                        </p:tav>
                                        <p:tav tm="100000">
                                          <p:val>
                                            <p:strVal val="#ppt_w"/>
                                          </p:val>
                                        </p:tav>
                                      </p:tavLst>
                                    </p:anim>
                                    <p:anim calcmode="lin" valueType="num">
                                      <p:cBhvr>
                                        <p:cTn id="50" dur="1000" fill="hold"/>
                                        <p:tgtEl>
                                          <p:spTgt spid="60"/>
                                        </p:tgtEl>
                                        <p:attrNameLst>
                                          <p:attrName>ppt_h</p:attrName>
                                        </p:attrNameLst>
                                      </p:cBhvr>
                                      <p:tavLst>
                                        <p:tav tm="0">
                                          <p:val>
                                            <p:fltVal val="0"/>
                                          </p:val>
                                        </p:tav>
                                        <p:tav tm="100000">
                                          <p:val>
                                            <p:strVal val="#ppt_h"/>
                                          </p:val>
                                        </p:tav>
                                      </p:tavLst>
                                    </p:anim>
                                    <p:animEffect transition="in" filter="fade">
                                      <p:cBhvr>
                                        <p:cTn id="51" dur="1000"/>
                                        <p:tgtEl>
                                          <p:spTgt spid="60"/>
                                        </p:tgtEl>
                                      </p:cBhvr>
                                    </p:animEffect>
                                  </p:childTnLst>
                                </p:cTn>
                              </p:par>
                              <p:par>
                                <p:cTn id="52" presetID="53" presetClass="entr" presetSubtype="16" fill="hold" grpId="0" nodeType="withEffect">
                                  <p:stCondLst>
                                    <p:cond delay="1750"/>
                                  </p:stCondLst>
                                  <p:childTnLst>
                                    <p:set>
                                      <p:cBhvr>
                                        <p:cTn id="53" dur="1" fill="hold">
                                          <p:stCondLst>
                                            <p:cond delay="0"/>
                                          </p:stCondLst>
                                        </p:cTn>
                                        <p:tgtEl>
                                          <p:spTgt spid="43"/>
                                        </p:tgtEl>
                                        <p:attrNameLst>
                                          <p:attrName>style.visibility</p:attrName>
                                        </p:attrNameLst>
                                      </p:cBhvr>
                                      <p:to>
                                        <p:strVal val="visible"/>
                                      </p:to>
                                    </p:set>
                                    <p:anim calcmode="lin" valueType="num">
                                      <p:cBhvr>
                                        <p:cTn id="54" dur="1000" fill="hold"/>
                                        <p:tgtEl>
                                          <p:spTgt spid="43"/>
                                        </p:tgtEl>
                                        <p:attrNameLst>
                                          <p:attrName>ppt_w</p:attrName>
                                        </p:attrNameLst>
                                      </p:cBhvr>
                                      <p:tavLst>
                                        <p:tav tm="0">
                                          <p:val>
                                            <p:fltVal val="0"/>
                                          </p:val>
                                        </p:tav>
                                        <p:tav tm="100000">
                                          <p:val>
                                            <p:strVal val="#ppt_w"/>
                                          </p:val>
                                        </p:tav>
                                      </p:tavLst>
                                    </p:anim>
                                    <p:anim calcmode="lin" valueType="num">
                                      <p:cBhvr>
                                        <p:cTn id="55" dur="1000" fill="hold"/>
                                        <p:tgtEl>
                                          <p:spTgt spid="43"/>
                                        </p:tgtEl>
                                        <p:attrNameLst>
                                          <p:attrName>ppt_h</p:attrName>
                                        </p:attrNameLst>
                                      </p:cBhvr>
                                      <p:tavLst>
                                        <p:tav tm="0">
                                          <p:val>
                                            <p:fltVal val="0"/>
                                          </p:val>
                                        </p:tav>
                                        <p:tav tm="100000">
                                          <p:val>
                                            <p:strVal val="#ppt_h"/>
                                          </p:val>
                                        </p:tav>
                                      </p:tavLst>
                                    </p:anim>
                                    <p:animEffect transition="in" filter="fade">
                                      <p:cBhvr>
                                        <p:cTn id="56" dur="1000"/>
                                        <p:tgtEl>
                                          <p:spTgt spid="43"/>
                                        </p:tgtEl>
                                      </p:cBhvr>
                                    </p:animEffect>
                                  </p:childTnLst>
                                </p:cTn>
                              </p:par>
                              <p:par>
                                <p:cTn id="57" presetID="53" presetClass="entr" presetSubtype="16" fill="hold" grpId="0" nodeType="withEffect">
                                  <p:stCondLst>
                                    <p:cond delay="2000"/>
                                  </p:stCondLst>
                                  <p:childTnLst>
                                    <p:set>
                                      <p:cBhvr>
                                        <p:cTn id="58" dur="1" fill="hold">
                                          <p:stCondLst>
                                            <p:cond delay="0"/>
                                          </p:stCondLst>
                                        </p:cTn>
                                        <p:tgtEl>
                                          <p:spTgt spid="61"/>
                                        </p:tgtEl>
                                        <p:attrNameLst>
                                          <p:attrName>style.visibility</p:attrName>
                                        </p:attrNameLst>
                                      </p:cBhvr>
                                      <p:to>
                                        <p:strVal val="visible"/>
                                      </p:to>
                                    </p:set>
                                    <p:anim calcmode="lin" valueType="num">
                                      <p:cBhvr>
                                        <p:cTn id="59" dur="1000" fill="hold"/>
                                        <p:tgtEl>
                                          <p:spTgt spid="61"/>
                                        </p:tgtEl>
                                        <p:attrNameLst>
                                          <p:attrName>ppt_w</p:attrName>
                                        </p:attrNameLst>
                                      </p:cBhvr>
                                      <p:tavLst>
                                        <p:tav tm="0">
                                          <p:val>
                                            <p:fltVal val="0"/>
                                          </p:val>
                                        </p:tav>
                                        <p:tav tm="100000">
                                          <p:val>
                                            <p:strVal val="#ppt_w"/>
                                          </p:val>
                                        </p:tav>
                                      </p:tavLst>
                                    </p:anim>
                                    <p:anim calcmode="lin" valueType="num">
                                      <p:cBhvr>
                                        <p:cTn id="60" dur="1000" fill="hold"/>
                                        <p:tgtEl>
                                          <p:spTgt spid="61"/>
                                        </p:tgtEl>
                                        <p:attrNameLst>
                                          <p:attrName>ppt_h</p:attrName>
                                        </p:attrNameLst>
                                      </p:cBhvr>
                                      <p:tavLst>
                                        <p:tav tm="0">
                                          <p:val>
                                            <p:fltVal val="0"/>
                                          </p:val>
                                        </p:tav>
                                        <p:tav tm="100000">
                                          <p:val>
                                            <p:strVal val="#ppt_h"/>
                                          </p:val>
                                        </p:tav>
                                      </p:tavLst>
                                    </p:anim>
                                    <p:animEffect transition="in" filter="fade">
                                      <p:cBhvr>
                                        <p:cTn id="61" dur="1000"/>
                                        <p:tgtEl>
                                          <p:spTgt spid="61"/>
                                        </p:tgtEl>
                                      </p:cBhvr>
                                    </p:animEffect>
                                  </p:childTnLst>
                                </p:cTn>
                              </p:par>
                              <p:par>
                                <p:cTn id="62" presetID="53" presetClass="entr" presetSubtype="16" fill="hold" grpId="0" nodeType="withEffect">
                                  <p:stCondLst>
                                    <p:cond delay="2000"/>
                                  </p:stCondLst>
                                  <p:childTnLst>
                                    <p:set>
                                      <p:cBhvr>
                                        <p:cTn id="63" dur="1" fill="hold">
                                          <p:stCondLst>
                                            <p:cond delay="0"/>
                                          </p:stCondLst>
                                        </p:cTn>
                                        <p:tgtEl>
                                          <p:spTgt spid="53"/>
                                        </p:tgtEl>
                                        <p:attrNameLst>
                                          <p:attrName>style.visibility</p:attrName>
                                        </p:attrNameLst>
                                      </p:cBhvr>
                                      <p:to>
                                        <p:strVal val="visible"/>
                                      </p:to>
                                    </p:set>
                                    <p:anim calcmode="lin" valueType="num">
                                      <p:cBhvr>
                                        <p:cTn id="64" dur="1000" fill="hold"/>
                                        <p:tgtEl>
                                          <p:spTgt spid="53"/>
                                        </p:tgtEl>
                                        <p:attrNameLst>
                                          <p:attrName>ppt_w</p:attrName>
                                        </p:attrNameLst>
                                      </p:cBhvr>
                                      <p:tavLst>
                                        <p:tav tm="0">
                                          <p:val>
                                            <p:fltVal val="0"/>
                                          </p:val>
                                        </p:tav>
                                        <p:tav tm="100000">
                                          <p:val>
                                            <p:strVal val="#ppt_w"/>
                                          </p:val>
                                        </p:tav>
                                      </p:tavLst>
                                    </p:anim>
                                    <p:anim calcmode="lin" valueType="num">
                                      <p:cBhvr>
                                        <p:cTn id="65" dur="1000" fill="hold"/>
                                        <p:tgtEl>
                                          <p:spTgt spid="53"/>
                                        </p:tgtEl>
                                        <p:attrNameLst>
                                          <p:attrName>ppt_h</p:attrName>
                                        </p:attrNameLst>
                                      </p:cBhvr>
                                      <p:tavLst>
                                        <p:tav tm="0">
                                          <p:val>
                                            <p:fltVal val="0"/>
                                          </p:val>
                                        </p:tav>
                                        <p:tav tm="100000">
                                          <p:val>
                                            <p:strVal val="#ppt_h"/>
                                          </p:val>
                                        </p:tav>
                                      </p:tavLst>
                                    </p:anim>
                                    <p:animEffect transition="in" filter="fade">
                                      <p:cBhvr>
                                        <p:cTn id="66" dur="1000"/>
                                        <p:tgtEl>
                                          <p:spTgt spid="53"/>
                                        </p:tgtEl>
                                      </p:cBhvr>
                                    </p:animEffect>
                                  </p:childTnLst>
                                </p:cTn>
                              </p:par>
                              <p:par>
                                <p:cTn id="67" presetID="53" presetClass="entr" presetSubtype="16" fill="hold" grpId="0" nodeType="withEffect">
                                  <p:stCondLst>
                                    <p:cond delay="2250"/>
                                  </p:stCondLst>
                                  <p:childTnLst>
                                    <p:set>
                                      <p:cBhvr>
                                        <p:cTn id="68" dur="1" fill="hold">
                                          <p:stCondLst>
                                            <p:cond delay="0"/>
                                          </p:stCondLst>
                                        </p:cTn>
                                        <p:tgtEl>
                                          <p:spTgt spid="63"/>
                                        </p:tgtEl>
                                        <p:attrNameLst>
                                          <p:attrName>style.visibility</p:attrName>
                                        </p:attrNameLst>
                                      </p:cBhvr>
                                      <p:to>
                                        <p:strVal val="visible"/>
                                      </p:to>
                                    </p:set>
                                    <p:anim calcmode="lin" valueType="num">
                                      <p:cBhvr>
                                        <p:cTn id="69" dur="1000" fill="hold"/>
                                        <p:tgtEl>
                                          <p:spTgt spid="63"/>
                                        </p:tgtEl>
                                        <p:attrNameLst>
                                          <p:attrName>ppt_w</p:attrName>
                                        </p:attrNameLst>
                                      </p:cBhvr>
                                      <p:tavLst>
                                        <p:tav tm="0">
                                          <p:val>
                                            <p:fltVal val="0"/>
                                          </p:val>
                                        </p:tav>
                                        <p:tav tm="100000">
                                          <p:val>
                                            <p:strVal val="#ppt_w"/>
                                          </p:val>
                                        </p:tav>
                                      </p:tavLst>
                                    </p:anim>
                                    <p:anim calcmode="lin" valueType="num">
                                      <p:cBhvr>
                                        <p:cTn id="70" dur="1000" fill="hold"/>
                                        <p:tgtEl>
                                          <p:spTgt spid="63"/>
                                        </p:tgtEl>
                                        <p:attrNameLst>
                                          <p:attrName>ppt_h</p:attrName>
                                        </p:attrNameLst>
                                      </p:cBhvr>
                                      <p:tavLst>
                                        <p:tav tm="0">
                                          <p:val>
                                            <p:fltVal val="0"/>
                                          </p:val>
                                        </p:tav>
                                        <p:tav tm="100000">
                                          <p:val>
                                            <p:strVal val="#ppt_h"/>
                                          </p:val>
                                        </p:tav>
                                      </p:tavLst>
                                    </p:anim>
                                    <p:animEffect transition="in" filter="fade">
                                      <p:cBhvr>
                                        <p:cTn id="71" dur="1000"/>
                                        <p:tgtEl>
                                          <p:spTgt spid="63"/>
                                        </p:tgtEl>
                                      </p:cBhvr>
                                    </p:animEffect>
                                  </p:childTnLst>
                                </p:cTn>
                              </p:par>
                              <p:par>
                                <p:cTn id="72" presetID="53" presetClass="entr" presetSubtype="16" fill="hold" grpId="0" nodeType="withEffect">
                                  <p:stCondLst>
                                    <p:cond delay="2250"/>
                                  </p:stCondLst>
                                  <p:childTnLst>
                                    <p:set>
                                      <p:cBhvr>
                                        <p:cTn id="73" dur="1" fill="hold">
                                          <p:stCondLst>
                                            <p:cond delay="0"/>
                                          </p:stCondLst>
                                        </p:cTn>
                                        <p:tgtEl>
                                          <p:spTgt spid="54"/>
                                        </p:tgtEl>
                                        <p:attrNameLst>
                                          <p:attrName>style.visibility</p:attrName>
                                        </p:attrNameLst>
                                      </p:cBhvr>
                                      <p:to>
                                        <p:strVal val="visible"/>
                                      </p:to>
                                    </p:set>
                                    <p:anim calcmode="lin" valueType="num">
                                      <p:cBhvr>
                                        <p:cTn id="74" dur="1000" fill="hold"/>
                                        <p:tgtEl>
                                          <p:spTgt spid="54"/>
                                        </p:tgtEl>
                                        <p:attrNameLst>
                                          <p:attrName>ppt_w</p:attrName>
                                        </p:attrNameLst>
                                      </p:cBhvr>
                                      <p:tavLst>
                                        <p:tav tm="0">
                                          <p:val>
                                            <p:fltVal val="0"/>
                                          </p:val>
                                        </p:tav>
                                        <p:tav tm="100000">
                                          <p:val>
                                            <p:strVal val="#ppt_w"/>
                                          </p:val>
                                        </p:tav>
                                      </p:tavLst>
                                    </p:anim>
                                    <p:anim calcmode="lin" valueType="num">
                                      <p:cBhvr>
                                        <p:cTn id="75" dur="1000" fill="hold"/>
                                        <p:tgtEl>
                                          <p:spTgt spid="54"/>
                                        </p:tgtEl>
                                        <p:attrNameLst>
                                          <p:attrName>ppt_h</p:attrName>
                                        </p:attrNameLst>
                                      </p:cBhvr>
                                      <p:tavLst>
                                        <p:tav tm="0">
                                          <p:val>
                                            <p:fltVal val="0"/>
                                          </p:val>
                                        </p:tav>
                                        <p:tav tm="100000">
                                          <p:val>
                                            <p:strVal val="#ppt_h"/>
                                          </p:val>
                                        </p:tav>
                                      </p:tavLst>
                                    </p:anim>
                                    <p:animEffect transition="in" filter="fade">
                                      <p:cBhvr>
                                        <p:cTn id="76" dur="1000"/>
                                        <p:tgtEl>
                                          <p:spTgt spid="54"/>
                                        </p:tgtEl>
                                      </p:cBhvr>
                                    </p:animEffect>
                                  </p:childTnLst>
                                </p:cTn>
                              </p:par>
                              <p:par>
                                <p:cTn id="77" presetID="10" presetClass="entr" presetSubtype="0" fill="hold" grpId="0" nodeType="withEffect">
                                  <p:stCondLst>
                                    <p:cond delay="3000"/>
                                  </p:stCondLst>
                                  <p:childTnLst>
                                    <p:set>
                                      <p:cBhvr>
                                        <p:cTn id="78" dur="1" fill="hold">
                                          <p:stCondLst>
                                            <p:cond delay="0"/>
                                          </p:stCondLst>
                                        </p:cTn>
                                        <p:tgtEl>
                                          <p:spTgt spid="55"/>
                                        </p:tgtEl>
                                        <p:attrNameLst>
                                          <p:attrName>style.visibility</p:attrName>
                                        </p:attrNameLst>
                                      </p:cBhvr>
                                      <p:to>
                                        <p:strVal val="visible"/>
                                      </p:to>
                                    </p:set>
                                    <p:animEffect transition="in" filter="fade">
                                      <p:cBhvr>
                                        <p:cTn id="79" dur="1000"/>
                                        <p:tgtEl>
                                          <p:spTgt spid="55"/>
                                        </p:tgtEl>
                                      </p:cBhvr>
                                    </p:animEffect>
                                  </p:childTnLst>
                                </p:cTn>
                              </p:par>
                              <p:par>
                                <p:cTn id="80" presetID="10" presetClass="entr" presetSubtype="0" fill="hold" grpId="0" nodeType="withEffect">
                                  <p:stCondLst>
                                    <p:cond delay="3000"/>
                                  </p:stCondLst>
                                  <p:childTnLst>
                                    <p:set>
                                      <p:cBhvr>
                                        <p:cTn id="81" dur="1" fill="hold">
                                          <p:stCondLst>
                                            <p:cond delay="0"/>
                                          </p:stCondLst>
                                        </p:cTn>
                                        <p:tgtEl>
                                          <p:spTgt spid="64"/>
                                        </p:tgtEl>
                                        <p:attrNameLst>
                                          <p:attrName>style.visibility</p:attrName>
                                        </p:attrNameLst>
                                      </p:cBhvr>
                                      <p:to>
                                        <p:strVal val="visible"/>
                                      </p:to>
                                    </p:set>
                                    <p:animEffect transition="in" filter="fade">
                                      <p:cBhvr>
                                        <p:cTn id="82" dur="1000"/>
                                        <p:tgtEl>
                                          <p:spTgt spid="64"/>
                                        </p:tgtEl>
                                      </p:cBhvr>
                                    </p:animEffect>
                                  </p:childTnLst>
                                </p:cTn>
                              </p:par>
                              <p:par>
                                <p:cTn id="83" presetID="10" presetClass="entr" presetSubtype="0" fill="hold" grpId="0" nodeType="withEffect">
                                  <p:stCondLst>
                                    <p:cond delay="3000"/>
                                  </p:stCondLst>
                                  <p:childTnLst>
                                    <p:set>
                                      <p:cBhvr>
                                        <p:cTn id="84" dur="1" fill="hold">
                                          <p:stCondLst>
                                            <p:cond delay="0"/>
                                          </p:stCondLst>
                                        </p:cTn>
                                        <p:tgtEl>
                                          <p:spTgt spid="67"/>
                                        </p:tgtEl>
                                        <p:attrNameLst>
                                          <p:attrName>style.visibility</p:attrName>
                                        </p:attrNameLst>
                                      </p:cBhvr>
                                      <p:to>
                                        <p:strVal val="visible"/>
                                      </p:to>
                                    </p:set>
                                    <p:animEffect transition="in" filter="fade">
                                      <p:cBhvr>
                                        <p:cTn id="85" dur="1000"/>
                                        <p:tgtEl>
                                          <p:spTgt spid="67"/>
                                        </p:tgtEl>
                                      </p:cBhvr>
                                    </p:animEffect>
                                  </p:childTnLst>
                                </p:cTn>
                              </p:par>
                              <p:par>
                                <p:cTn id="86" presetID="10" presetClass="entr" presetSubtype="0" fill="hold" grpId="0" nodeType="withEffect">
                                  <p:stCondLst>
                                    <p:cond delay="3000"/>
                                  </p:stCondLst>
                                  <p:childTnLst>
                                    <p:set>
                                      <p:cBhvr>
                                        <p:cTn id="87" dur="1" fill="hold">
                                          <p:stCondLst>
                                            <p:cond delay="0"/>
                                          </p:stCondLst>
                                        </p:cTn>
                                        <p:tgtEl>
                                          <p:spTgt spid="66"/>
                                        </p:tgtEl>
                                        <p:attrNameLst>
                                          <p:attrName>style.visibility</p:attrName>
                                        </p:attrNameLst>
                                      </p:cBhvr>
                                      <p:to>
                                        <p:strVal val="visible"/>
                                      </p:to>
                                    </p:set>
                                    <p:animEffect transition="in" filter="fade">
                                      <p:cBhvr>
                                        <p:cTn id="88" dur="1000"/>
                                        <p:tgtEl>
                                          <p:spTgt spid="66"/>
                                        </p:tgtEl>
                                      </p:cBhvr>
                                    </p:animEffect>
                                  </p:childTnLst>
                                </p:cTn>
                              </p:par>
                              <p:par>
                                <p:cTn id="89" presetID="10" presetClass="entr" presetSubtype="0" fill="hold" grpId="0" nodeType="withEffect">
                                  <p:stCondLst>
                                    <p:cond delay="3000"/>
                                  </p:stCondLst>
                                  <p:childTnLst>
                                    <p:set>
                                      <p:cBhvr>
                                        <p:cTn id="90" dur="1" fill="hold">
                                          <p:stCondLst>
                                            <p:cond delay="0"/>
                                          </p:stCondLst>
                                        </p:cTn>
                                        <p:tgtEl>
                                          <p:spTgt spid="65"/>
                                        </p:tgtEl>
                                        <p:attrNameLst>
                                          <p:attrName>style.visibility</p:attrName>
                                        </p:attrNameLst>
                                      </p:cBhvr>
                                      <p:to>
                                        <p:strVal val="visible"/>
                                      </p:to>
                                    </p:set>
                                    <p:animEffect transition="in" filter="fade">
                                      <p:cBhvr>
                                        <p:cTn id="91" dur="1000"/>
                                        <p:tgtEl>
                                          <p:spTgt spid="65"/>
                                        </p:tgtEl>
                                      </p:cBhvr>
                                    </p:animEffect>
                                  </p:childTnLst>
                                </p:cTn>
                              </p:par>
                              <p:par>
                                <p:cTn id="92" presetID="10" presetClass="entr" presetSubtype="0" fill="hold" grpId="0" nodeType="withEffect">
                                  <p:stCondLst>
                                    <p:cond delay="3000"/>
                                  </p:stCondLst>
                                  <p:childTnLst>
                                    <p:set>
                                      <p:cBhvr>
                                        <p:cTn id="93" dur="1" fill="hold">
                                          <p:stCondLst>
                                            <p:cond delay="0"/>
                                          </p:stCondLst>
                                        </p:cTn>
                                        <p:tgtEl>
                                          <p:spTgt spid="56"/>
                                        </p:tgtEl>
                                        <p:attrNameLst>
                                          <p:attrName>style.visibility</p:attrName>
                                        </p:attrNameLst>
                                      </p:cBhvr>
                                      <p:to>
                                        <p:strVal val="visible"/>
                                      </p:to>
                                    </p:set>
                                    <p:animEffect transition="in" filter="fade">
                                      <p:cBhvr>
                                        <p:cTn id="94" dur="1000"/>
                                        <p:tgtEl>
                                          <p:spTgt spid="56"/>
                                        </p:tgtEl>
                                      </p:cBhvr>
                                    </p:animEffect>
                                  </p:childTnLst>
                                </p:cTn>
                              </p:par>
                              <p:par>
                                <p:cTn id="95" presetID="10" presetClass="entr" presetSubtype="0" fill="hold" grpId="0" nodeType="withEffect">
                                  <p:stCondLst>
                                    <p:cond delay="3000"/>
                                  </p:stCondLst>
                                  <p:childTnLst>
                                    <p:set>
                                      <p:cBhvr>
                                        <p:cTn id="96" dur="1" fill="hold">
                                          <p:stCondLst>
                                            <p:cond delay="0"/>
                                          </p:stCondLst>
                                        </p:cTn>
                                        <p:tgtEl>
                                          <p:spTgt spid="57"/>
                                        </p:tgtEl>
                                        <p:attrNameLst>
                                          <p:attrName>style.visibility</p:attrName>
                                        </p:attrNameLst>
                                      </p:cBhvr>
                                      <p:to>
                                        <p:strVal val="visible"/>
                                      </p:to>
                                    </p:set>
                                    <p:animEffect transition="in" filter="fade">
                                      <p:cBhvr>
                                        <p:cTn id="97" dur="1000"/>
                                        <p:tgtEl>
                                          <p:spTgt spid="57"/>
                                        </p:tgtEl>
                                      </p:cBhvr>
                                    </p:animEffect>
                                  </p:childTnLst>
                                </p:cTn>
                              </p:par>
                              <p:par>
                                <p:cTn id="98" presetID="10" presetClass="entr" presetSubtype="0" fill="hold" grpId="0" nodeType="withEffect">
                                  <p:stCondLst>
                                    <p:cond delay="3000"/>
                                  </p:stCondLst>
                                  <p:childTnLst>
                                    <p:set>
                                      <p:cBhvr>
                                        <p:cTn id="99" dur="1" fill="hold">
                                          <p:stCondLst>
                                            <p:cond delay="0"/>
                                          </p:stCondLst>
                                        </p:cTn>
                                        <p:tgtEl>
                                          <p:spTgt spid="58"/>
                                        </p:tgtEl>
                                        <p:attrNameLst>
                                          <p:attrName>style.visibility</p:attrName>
                                        </p:attrNameLst>
                                      </p:cBhvr>
                                      <p:to>
                                        <p:strVal val="visible"/>
                                      </p:to>
                                    </p:set>
                                    <p:animEffect transition="in" filter="fade">
                                      <p:cBhvr>
                                        <p:cTn id="100" dur="10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P spid="33" grpId="0" animBg="1"/>
      <p:bldP spid="34" grpId="0"/>
      <p:bldP spid="35" grpId="0"/>
      <p:bldP spid="36" grpId="0"/>
      <p:bldP spid="43" grpId="0" animBg="1"/>
      <p:bldP spid="53" grpId="0" animBg="1"/>
      <p:bldP spid="42" grpId="0" animBg="1"/>
      <p:bldP spid="54" grpId="0" animBg="1"/>
      <p:bldP spid="55" grpId="0" animBg="1"/>
      <p:bldP spid="56" grpId="0" animBg="1"/>
      <p:bldP spid="57" grpId="0" animBg="1"/>
      <p:bldP spid="58" grpId="0" animBg="1"/>
      <p:bldP spid="60" grpId="0" animBg="1"/>
      <p:bldP spid="61" grpId="0" animBg="1"/>
      <p:bldP spid="62" grpId="0" animBg="1"/>
      <p:bldP spid="63" grpId="0" animBg="1"/>
      <p:bldP spid="64" grpId="0" animBg="1"/>
      <p:bldP spid="65" grpId="0" animBg="1"/>
      <p:bldP spid="66" grpId="0" animBg="1"/>
      <p:bldP spid="67"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Circle">
            <a:extLst>
              <a:ext uri="{FF2B5EF4-FFF2-40B4-BE49-F238E27FC236}">
                <a16:creationId xmlns:a16="http://schemas.microsoft.com/office/drawing/2014/main" id="{D0102066-6958-47A6-8989-10AAA10C5C0B}"/>
              </a:ext>
            </a:extLst>
          </p:cNvPr>
          <p:cNvSpPr/>
          <p:nvPr/>
        </p:nvSpPr>
        <p:spPr>
          <a:xfrm>
            <a:off x="695274" y="1510000"/>
            <a:ext cx="4246449" cy="4246448"/>
          </a:xfrm>
          <a:prstGeom prst="ellipse">
            <a:avLst/>
          </a:prstGeom>
          <a:gradFill flip="none" rotWithShape="1">
            <a:gsLst>
              <a:gs pos="0">
                <a:schemeClr val="tx2">
                  <a:alpha val="75000"/>
                </a:schemeClr>
              </a:gs>
              <a:gs pos="100000">
                <a:schemeClr val="tx2">
                  <a:lumMod val="60000"/>
                  <a:lumOff val="40000"/>
                  <a:alpha val="40000"/>
                </a:schemeClr>
              </a:gs>
            </a:gsLst>
            <a:path path="circle">
              <a:fillToRect t="100000" r="100000"/>
            </a:path>
            <a:tileRect l="-100000" b="-100000"/>
          </a:gra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a:solidFill>
                <a:schemeClr val="lt1"/>
              </a:solidFill>
              <a:sym typeface="Helvetica Neue Medium"/>
            </a:endParaRPr>
          </a:p>
        </p:txBody>
      </p:sp>
      <p:sp>
        <p:nvSpPr>
          <p:cNvPr id="55" name="TextBox 54">
            <a:extLst>
              <a:ext uri="{FF2B5EF4-FFF2-40B4-BE49-F238E27FC236}">
                <a16:creationId xmlns:a16="http://schemas.microsoft.com/office/drawing/2014/main" id="{EABF30B7-4270-4EF3-8C47-53AA3B724B1B}"/>
              </a:ext>
            </a:extLst>
          </p:cNvPr>
          <p:cNvSpPr txBox="1"/>
          <p:nvPr/>
        </p:nvSpPr>
        <p:spPr>
          <a:xfrm>
            <a:off x="2240455" y="1929326"/>
            <a:ext cx="1156086" cy="636072"/>
          </a:xfrm>
          <a:prstGeom prst="rect">
            <a:avLst/>
          </a:prstGeom>
          <a:noFill/>
        </p:spPr>
        <p:txBody>
          <a:bodyPr wrap="none" rtlCol="0" anchor="ctr" anchorCtr="0">
            <a:spAutoFit/>
          </a:bodyPr>
          <a:lstStyle/>
          <a:p>
            <a:pPr algn="ctr">
              <a:spcAft>
                <a:spcPts val="400"/>
              </a:spcAft>
            </a:pPr>
            <a:r>
              <a:rPr lang="en-US" b="1" dirty="0">
                <a:solidFill>
                  <a:schemeClr val="bg1"/>
                </a:solidFill>
                <a:latin typeface="Montserrat" panose="00000500000000000000" pitchFamily="50" charset="0"/>
              </a:rPr>
              <a:t>$600BN</a:t>
            </a:r>
          </a:p>
          <a:p>
            <a:pPr algn="ctr">
              <a:spcAft>
                <a:spcPts val="400"/>
              </a:spcAft>
            </a:pPr>
            <a:r>
              <a:rPr lang="en-US" sz="1400" dirty="0">
                <a:solidFill>
                  <a:schemeClr val="bg1"/>
                </a:solidFill>
                <a:latin typeface="Montserrat" panose="00000500000000000000" pitchFamily="50" charset="0"/>
              </a:rPr>
              <a:t>TAM</a:t>
            </a:r>
          </a:p>
        </p:txBody>
      </p:sp>
      <p:sp>
        <p:nvSpPr>
          <p:cNvPr id="42" name="Circle">
            <a:extLst>
              <a:ext uri="{FF2B5EF4-FFF2-40B4-BE49-F238E27FC236}">
                <a16:creationId xmlns:a16="http://schemas.microsoft.com/office/drawing/2014/main" id="{19040384-2C9E-4DD7-8B8C-8A93AA9B475E}"/>
              </a:ext>
            </a:extLst>
          </p:cNvPr>
          <p:cNvSpPr/>
          <p:nvPr/>
        </p:nvSpPr>
        <p:spPr>
          <a:xfrm>
            <a:off x="1401722" y="2922895"/>
            <a:ext cx="2833553" cy="2833553"/>
          </a:xfrm>
          <a:prstGeom prst="ellipse">
            <a:avLst/>
          </a:prstGeom>
          <a:gradFill flip="none" rotWithShape="1">
            <a:gsLst>
              <a:gs pos="0">
                <a:schemeClr val="accent1">
                  <a:alpha val="75000"/>
                </a:schemeClr>
              </a:gs>
              <a:gs pos="100000">
                <a:schemeClr val="accent1">
                  <a:lumMod val="60000"/>
                  <a:lumOff val="40000"/>
                  <a:alpha val="40000"/>
                </a:schemeClr>
              </a:gs>
            </a:gsLst>
            <a:path path="circle">
              <a:fillToRect t="100000" r="100000"/>
            </a:path>
            <a:tileRect l="-100000" b="-100000"/>
          </a:gra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a:solidFill>
                <a:schemeClr val="lt1"/>
              </a:solidFill>
              <a:sym typeface="Helvetica Neue Medium"/>
            </a:endParaRPr>
          </a:p>
        </p:txBody>
      </p:sp>
      <p:sp>
        <p:nvSpPr>
          <p:cNvPr id="56" name="TextBox 55">
            <a:extLst>
              <a:ext uri="{FF2B5EF4-FFF2-40B4-BE49-F238E27FC236}">
                <a16:creationId xmlns:a16="http://schemas.microsoft.com/office/drawing/2014/main" id="{505A3AD6-C561-43B3-9760-C663B252054E}"/>
              </a:ext>
            </a:extLst>
          </p:cNvPr>
          <p:cNvSpPr txBox="1"/>
          <p:nvPr/>
        </p:nvSpPr>
        <p:spPr>
          <a:xfrm>
            <a:off x="2319003" y="3367825"/>
            <a:ext cx="998991" cy="636072"/>
          </a:xfrm>
          <a:prstGeom prst="rect">
            <a:avLst/>
          </a:prstGeom>
          <a:noFill/>
        </p:spPr>
        <p:txBody>
          <a:bodyPr wrap="none" rtlCol="0" anchor="ctr" anchorCtr="0">
            <a:spAutoFit/>
          </a:bodyPr>
          <a:lstStyle/>
          <a:p>
            <a:pPr algn="ctr">
              <a:spcAft>
                <a:spcPts val="400"/>
              </a:spcAft>
            </a:pPr>
            <a:r>
              <a:rPr lang="en-US" b="1" dirty="0">
                <a:solidFill>
                  <a:schemeClr val="bg1"/>
                </a:solidFill>
                <a:latin typeface="Montserrat" panose="00000500000000000000" pitchFamily="50" charset="0"/>
              </a:rPr>
              <a:t>$60BN</a:t>
            </a:r>
          </a:p>
          <a:p>
            <a:pPr algn="ctr">
              <a:spcAft>
                <a:spcPts val="400"/>
              </a:spcAft>
            </a:pPr>
            <a:r>
              <a:rPr lang="en-US" sz="1400" dirty="0">
                <a:solidFill>
                  <a:schemeClr val="bg1"/>
                </a:solidFill>
                <a:latin typeface="Montserrat" panose="00000500000000000000" pitchFamily="50" charset="0"/>
              </a:rPr>
              <a:t>SAM</a:t>
            </a:r>
          </a:p>
        </p:txBody>
      </p:sp>
      <p:sp>
        <p:nvSpPr>
          <p:cNvPr id="45" name="Circle">
            <a:extLst>
              <a:ext uri="{FF2B5EF4-FFF2-40B4-BE49-F238E27FC236}">
                <a16:creationId xmlns:a16="http://schemas.microsoft.com/office/drawing/2014/main" id="{7D686087-976F-4F2F-A3BF-9EA6CCCBD215}"/>
              </a:ext>
            </a:extLst>
          </p:cNvPr>
          <p:cNvSpPr/>
          <p:nvPr/>
        </p:nvSpPr>
        <p:spPr>
          <a:xfrm>
            <a:off x="2110757" y="4340965"/>
            <a:ext cx="1415483" cy="1415483"/>
          </a:xfrm>
          <a:prstGeom prst="ellipse">
            <a:avLst/>
          </a:prstGeom>
          <a:gradFill flip="none" rotWithShape="1">
            <a:gsLst>
              <a:gs pos="0">
                <a:schemeClr val="accent2">
                  <a:lumMod val="50000"/>
                  <a:lumOff val="50000"/>
                </a:schemeClr>
              </a:gs>
              <a:gs pos="100000">
                <a:schemeClr val="accent2">
                  <a:lumMod val="50000"/>
                  <a:lumOff val="50000"/>
                  <a:alpha val="50000"/>
                </a:schemeClr>
              </a:gs>
            </a:gsLst>
            <a:path path="circle">
              <a:fillToRect t="100000" r="100000"/>
            </a:path>
            <a:tileRect l="-100000" b="-100000"/>
          </a:gra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a:solidFill>
                <a:schemeClr val="lt1"/>
              </a:solidFill>
              <a:sym typeface="Helvetica Neue Medium"/>
            </a:endParaRPr>
          </a:p>
        </p:txBody>
      </p:sp>
      <p:sp>
        <p:nvSpPr>
          <p:cNvPr id="57" name="TextBox 56">
            <a:extLst>
              <a:ext uri="{FF2B5EF4-FFF2-40B4-BE49-F238E27FC236}">
                <a16:creationId xmlns:a16="http://schemas.microsoft.com/office/drawing/2014/main" id="{630F4F4F-CE1A-4886-B3FE-301CBDE84E89}"/>
              </a:ext>
            </a:extLst>
          </p:cNvPr>
          <p:cNvSpPr txBox="1"/>
          <p:nvPr/>
        </p:nvSpPr>
        <p:spPr>
          <a:xfrm>
            <a:off x="2215609" y="4779654"/>
            <a:ext cx="1205778" cy="636072"/>
          </a:xfrm>
          <a:prstGeom prst="rect">
            <a:avLst/>
          </a:prstGeom>
          <a:noFill/>
        </p:spPr>
        <p:txBody>
          <a:bodyPr wrap="none" rtlCol="0" anchor="ctr" anchorCtr="0">
            <a:spAutoFit/>
          </a:bodyPr>
          <a:lstStyle/>
          <a:p>
            <a:pPr algn="ctr">
              <a:spcAft>
                <a:spcPts val="400"/>
              </a:spcAft>
            </a:pPr>
            <a:r>
              <a:rPr lang="en-US" b="1" dirty="0">
                <a:solidFill>
                  <a:schemeClr val="bg1"/>
                </a:solidFill>
                <a:latin typeface="Montserrat" panose="00000500000000000000" pitchFamily="50" charset="0"/>
              </a:rPr>
              <a:t>$800MN</a:t>
            </a:r>
          </a:p>
          <a:p>
            <a:pPr algn="ctr">
              <a:spcAft>
                <a:spcPts val="400"/>
              </a:spcAft>
            </a:pPr>
            <a:r>
              <a:rPr lang="en-US" sz="1400" dirty="0">
                <a:solidFill>
                  <a:schemeClr val="bg1"/>
                </a:solidFill>
                <a:latin typeface="Montserrat" panose="00000500000000000000" pitchFamily="50" charset="0"/>
              </a:rPr>
              <a:t>SOM</a:t>
            </a:r>
          </a:p>
        </p:txBody>
      </p:sp>
      <p:grpSp>
        <p:nvGrpSpPr>
          <p:cNvPr id="4" name="Group 3">
            <a:extLst>
              <a:ext uri="{FF2B5EF4-FFF2-40B4-BE49-F238E27FC236}">
                <a16:creationId xmlns:a16="http://schemas.microsoft.com/office/drawing/2014/main" id="{060FF87F-CE11-42E7-B68A-6EC90528EEC9}"/>
              </a:ext>
            </a:extLst>
          </p:cNvPr>
          <p:cNvGrpSpPr/>
          <p:nvPr/>
        </p:nvGrpSpPr>
        <p:grpSpPr>
          <a:xfrm>
            <a:off x="2817546" y="1510000"/>
            <a:ext cx="2938625" cy="4246449"/>
            <a:chOff x="3547341" y="1510000"/>
            <a:chExt cx="2980303" cy="4246449"/>
          </a:xfrm>
        </p:grpSpPr>
        <p:sp>
          <p:nvSpPr>
            <p:cNvPr id="1578" name="Line"/>
            <p:cNvSpPr/>
            <p:nvPr/>
          </p:nvSpPr>
          <p:spPr>
            <a:xfrm flipH="1">
              <a:off x="3547341" y="1510000"/>
              <a:ext cx="2980303" cy="0"/>
            </a:xfrm>
            <a:prstGeom prst="line">
              <a:avLst/>
            </a:prstGeom>
            <a:ln w="6350">
              <a:solidFill>
                <a:schemeClr val="tx2"/>
              </a:solidFill>
              <a:custDash>
                <a:ds d="200000" sp="200000"/>
              </a:custDash>
              <a:miter lim="400000"/>
              <a:headEnd type="oval" w="sm" len="sm"/>
              <a:tailEnd type="oval" w="sm" len="sm"/>
            </a:ln>
          </p:spPr>
          <p:txBody>
            <a:bodyPr lIns="0" tIns="0" rIns="0" bIns="0" anchor="ctr"/>
            <a:lstStyle/>
            <a:p>
              <a:pPr algn="ctr" defTabSz="412750" hangingPunct="0">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sp>
          <p:nvSpPr>
            <p:cNvPr id="50" name="Line">
              <a:extLst>
                <a:ext uri="{FF2B5EF4-FFF2-40B4-BE49-F238E27FC236}">
                  <a16:creationId xmlns:a16="http://schemas.microsoft.com/office/drawing/2014/main" id="{57682808-B635-41D2-8D5A-42512B4FE82E}"/>
                </a:ext>
              </a:extLst>
            </p:cNvPr>
            <p:cNvSpPr/>
            <p:nvPr/>
          </p:nvSpPr>
          <p:spPr>
            <a:xfrm flipH="1">
              <a:off x="3547341" y="2925483"/>
              <a:ext cx="2980303" cy="0"/>
            </a:xfrm>
            <a:prstGeom prst="line">
              <a:avLst/>
            </a:prstGeom>
            <a:ln w="6350">
              <a:solidFill>
                <a:schemeClr val="tx2"/>
              </a:solidFill>
              <a:custDash>
                <a:ds d="200000" sp="200000"/>
              </a:custDash>
              <a:miter lim="400000"/>
              <a:headEnd type="oval" w="sm" len="sm"/>
              <a:tailEnd type="oval" w="sm" len="sm"/>
            </a:ln>
          </p:spPr>
          <p:txBody>
            <a:bodyPr lIns="0" tIns="0" rIns="0" bIns="0" anchor="ctr"/>
            <a:lstStyle/>
            <a:p>
              <a:pPr algn="ctr" defTabSz="412750" hangingPunct="0">
                <a:defRPr sz="3200" b="0">
                  <a:solidFill>
                    <a:srgbClr val="FFFFFF"/>
                  </a:solidFill>
                  <a:latin typeface="+mn-lt"/>
                  <a:ea typeface="+mn-ea"/>
                  <a:cs typeface="+mn-cs"/>
                  <a:sym typeface="Helvetica Neue Medium"/>
                </a:defRPr>
              </a:pPr>
              <a:endParaRPr sz="1600" kern="0" dirty="0">
                <a:solidFill>
                  <a:srgbClr val="FFFFFF"/>
                </a:solidFill>
                <a:latin typeface="Helvetica Neue Medium"/>
                <a:ea typeface="Helvetica Neue Medium"/>
                <a:cs typeface="Helvetica Neue Medium"/>
                <a:sym typeface="Helvetica Neue Medium"/>
              </a:endParaRPr>
            </a:p>
          </p:txBody>
        </p:sp>
        <p:sp>
          <p:nvSpPr>
            <p:cNvPr id="51" name="Line">
              <a:extLst>
                <a:ext uri="{FF2B5EF4-FFF2-40B4-BE49-F238E27FC236}">
                  <a16:creationId xmlns:a16="http://schemas.microsoft.com/office/drawing/2014/main" id="{978D208B-9C2F-478E-8360-15AEDC5C29A2}"/>
                </a:ext>
              </a:extLst>
            </p:cNvPr>
            <p:cNvSpPr/>
            <p:nvPr/>
          </p:nvSpPr>
          <p:spPr>
            <a:xfrm flipH="1">
              <a:off x="3547341" y="4340966"/>
              <a:ext cx="2980303" cy="0"/>
            </a:xfrm>
            <a:prstGeom prst="line">
              <a:avLst/>
            </a:prstGeom>
            <a:ln w="6350">
              <a:solidFill>
                <a:schemeClr val="tx2"/>
              </a:solidFill>
              <a:custDash>
                <a:ds d="200000" sp="200000"/>
              </a:custDash>
              <a:miter lim="400000"/>
              <a:headEnd type="oval" w="sm" len="sm"/>
              <a:tailEnd type="oval" w="sm" len="sm"/>
            </a:ln>
          </p:spPr>
          <p:txBody>
            <a:bodyPr lIns="0" tIns="0" rIns="0" bIns="0" anchor="ctr"/>
            <a:lstStyle/>
            <a:p>
              <a:pPr algn="ctr" defTabSz="412750" hangingPunct="0">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sp>
          <p:nvSpPr>
            <p:cNvPr id="52" name="Line">
              <a:extLst>
                <a:ext uri="{FF2B5EF4-FFF2-40B4-BE49-F238E27FC236}">
                  <a16:creationId xmlns:a16="http://schemas.microsoft.com/office/drawing/2014/main" id="{F8961018-FEAE-4621-95B2-9898E2BFE923}"/>
                </a:ext>
              </a:extLst>
            </p:cNvPr>
            <p:cNvSpPr/>
            <p:nvPr/>
          </p:nvSpPr>
          <p:spPr>
            <a:xfrm flipH="1">
              <a:off x="3547341" y="5756449"/>
              <a:ext cx="2980303" cy="0"/>
            </a:xfrm>
            <a:prstGeom prst="line">
              <a:avLst/>
            </a:prstGeom>
            <a:ln w="6350">
              <a:solidFill>
                <a:schemeClr val="tx2"/>
              </a:solidFill>
              <a:custDash>
                <a:ds d="200000" sp="200000"/>
              </a:custDash>
              <a:miter lim="400000"/>
              <a:headEnd type="oval" w="sm" len="sm"/>
              <a:tailEnd type="oval" w="sm" len="sm"/>
            </a:ln>
          </p:spPr>
          <p:txBody>
            <a:bodyPr lIns="0" tIns="0" rIns="0" bIns="0" anchor="ctr"/>
            <a:lstStyle/>
            <a:p>
              <a:pPr algn="ctr" defTabSz="412750" hangingPunct="0">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grpSp>
      <p:sp>
        <p:nvSpPr>
          <p:cNvPr id="8" name="TextBox 7">
            <a:extLst>
              <a:ext uri="{FF2B5EF4-FFF2-40B4-BE49-F238E27FC236}">
                <a16:creationId xmlns:a16="http://schemas.microsoft.com/office/drawing/2014/main" id="{C4D2CF2B-8975-4830-994E-16F6AEEF9226}"/>
              </a:ext>
            </a:extLst>
          </p:cNvPr>
          <p:cNvSpPr txBox="1"/>
          <p:nvPr/>
        </p:nvSpPr>
        <p:spPr>
          <a:xfrm>
            <a:off x="5756171" y="1383773"/>
            <a:ext cx="758980" cy="261610"/>
          </a:xfrm>
          <a:prstGeom prst="rect">
            <a:avLst/>
          </a:prstGeom>
          <a:noFill/>
        </p:spPr>
        <p:txBody>
          <a:bodyPr wrap="square" lIns="182880" rIns="182880" rtlCol="0">
            <a:spAutoFit/>
          </a:bodyPr>
          <a:lstStyle/>
          <a:p>
            <a:pPr algn="ctr"/>
            <a:r>
              <a:rPr lang="en-US" sz="1100" dirty="0">
                <a:solidFill>
                  <a:schemeClr val="tx2"/>
                </a:solidFill>
                <a:latin typeface="Montserrat" panose="00000500000000000000" pitchFamily="50" charset="0"/>
              </a:rPr>
              <a:t>100%</a:t>
            </a:r>
          </a:p>
        </p:txBody>
      </p:sp>
      <p:sp>
        <p:nvSpPr>
          <p:cNvPr id="62" name="TextBox 61">
            <a:extLst>
              <a:ext uri="{FF2B5EF4-FFF2-40B4-BE49-F238E27FC236}">
                <a16:creationId xmlns:a16="http://schemas.microsoft.com/office/drawing/2014/main" id="{E2AF3720-2F65-4A17-AFE0-CB8A3834A8F0}"/>
              </a:ext>
            </a:extLst>
          </p:cNvPr>
          <p:cNvSpPr txBox="1"/>
          <p:nvPr/>
        </p:nvSpPr>
        <p:spPr>
          <a:xfrm>
            <a:off x="5756171" y="2799255"/>
            <a:ext cx="758980" cy="261610"/>
          </a:xfrm>
          <a:prstGeom prst="rect">
            <a:avLst/>
          </a:prstGeom>
          <a:noFill/>
        </p:spPr>
        <p:txBody>
          <a:bodyPr wrap="square" lIns="182880" rIns="182880" rtlCol="0">
            <a:spAutoFit/>
          </a:bodyPr>
          <a:lstStyle/>
          <a:p>
            <a:pPr algn="ctr"/>
            <a:r>
              <a:rPr lang="en-US" sz="1100" dirty="0">
                <a:solidFill>
                  <a:schemeClr val="tx2"/>
                </a:solidFill>
                <a:latin typeface="Montserrat" panose="00000500000000000000" pitchFamily="50" charset="0"/>
              </a:rPr>
              <a:t>66%</a:t>
            </a:r>
          </a:p>
        </p:txBody>
      </p:sp>
      <p:sp>
        <p:nvSpPr>
          <p:cNvPr id="63" name="TextBox 62">
            <a:extLst>
              <a:ext uri="{FF2B5EF4-FFF2-40B4-BE49-F238E27FC236}">
                <a16:creationId xmlns:a16="http://schemas.microsoft.com/office/drawing/2014/main" id="{27250A3C-F7CF-449B-8142-0111B2035882}"/>
              </a:ext>
            </a:extLst>
          </p:cNvPr>
          <p:cNvSpPr txBox="1"/>
          <p:nvPr/>
        </p:nvSpPr>
        <p:spPr>
          <a:xfrm>
            <a:off x="5756171" y="4205584"/>
            <a:ext cx="758980" cy="261610"/>
          </a:xfrm>
          <a:prstGeom prst="rect">
            <a:avLst/>
          </a:prstGeom>
          <a:noFill/>
        </p:spPr>
        <p:txBody>
          <a:bodyPr wrap="square" lIns="182880" rIns="182880" rtlCol="0">
            <a:spAutoFit/>
          </a:bodyPr>
          <a:lstStyle/>
          <a:p>
            <a:pPr algn="ctr"/>
            <a:r>
              <a:rPr lang="en-US" sz="1100" dirty="0">
                <a:solidFill>
                  <a:schemeClr val="tx2"/>
                </a:solidFill>
                <a:latin typeface="Montserrat" panose="00000500000000000000" pitchFamily="50" charset="0"/>
              </a:rPr>
              <a:t>33%</a:t>
            </a:r>
          </a:p>
        </p:txBody>
      </p:sp>
      <p:sp>
        <p:nvSpPr>
          <p:cNvPr id="64" name="TextBox 63">
            <a:extLst>
              <a:ext uri="{FF2B5EF4-FFF2-40B4-BE49-F238E27FC236}">
                <a16:creationId xmlns:a16="http://schemas.microsoft.com/office/drawing/2014/main" id="{1640FB76-FA65-44C7-B1FD-4B3730D8F998}"/>
              </a:ext>
            </a:extLst>
          </p:cNvPr>
          <p:cNvSpPr txBox="1"/>
          <p:nvPr/>
        </p:nvSpPr>
        <p:spPr>
          <a:xfrm>
            <a:off x="5756171" y="5624859"/>
            <a:ext cx="758980" cy="261610"/>
          </a:xfrm>
          <a:prstGeom prst="rect">
            <a:avLst/>
          </a:prstGeom>
          <a:noFill/>
        </p:spPr>
        <p:txBody>
          <a:bodyPr wrap="square" lIns="182880" rIns="182880" rtlCol="0">
            <a:spAutoFit/>
          </a:bodyPr>
          <a:lstStyle/>
          <a:p>
            <a:pPr algn="ctr"/>
            <a:r>
              <a:rPr lang="en-US" sz="1100" dirty="0">
                <a:solidFill>
                  <a:schemeClr val="tx2"/>
                </a:solidFill>
                <a:latin typeface="Montserrat" panose="00000500000000000000" pitchFamily="50" charset="0"/>
              </a:rPr>
              <a:t>0%</a:t>
            </a:r>
          </a:p>
        </p:txBody>
      </p:sp>
      <p:sp>
        <p:nvSpPr>
          <p:cNvPr id="9" name="Right Brace 8">
            <a:extLst>
              <a:ext uri="{FF2B5EF4-FFF2-40B4-BE49-F238E27FC236}">
                <a16:creationId xmlns:a16="http://schemas.microsoft.com/office/drawing/2014/main" id="{5304735F-F1AB-4D19-A23A-F1D75BCB8345}"/>
              </a:ext>
            </a:extLst>
          </p:cNvPr>
          <p:cNvSpPr/>
          <p:nvPr/>
        </p:nvSpPr>
        <p:spPr>
          <a:xfrm>
            <a:off x="6515152" y="1509999"/>
            <a:ext cx="259484" cy="1420664"/>
          </a:xfrm>
          <a:prstGeom prst="rightBrace">
            <a:avLst>
              <a:gd name="adj1" fmla="val 77446"/>
              <a:gd name="adj2" fmla="val 50000"/>
            </a:avLst>
          </a:prstGeom>
          <a:ln w="6350">
            <a:solidFill>
              <a:schemeClr val="tx2"/>
            </a:solidFill>
            <a:custDash>
              <a:ds d="200000" sp="200000"/>
            </a:custDash>
            <a:miter lim="400000"/>
            <a:headEnd type="oval" w="sm" len="sm"/>
            <a:tailEnd type="oval" w="sm" len="sm"/>
          </a:ln>
        </p:spPr>
        <p:txBody>
          <a:bodyPr lIns="0" tIns="0" rIns="0" bIns="0" anchor="ctr"/>
          <a:lstStyle/>
          <a:p>
            <a:pPr algn="ctr" defTabSz="412750" hangingPunct="0"/>
            <a:endParaRPr lang="en-US" sz="1600" kern="0">
              <a:solidFill>
                <a:srgbClr val="FFFFFF"/>
              </a:solidFill>
              <a:latin typeface="Helvetica Neue Medium"/>
            </a:endParaRPr>
          </a:p>
        </p:txBody>
      </p:sp>
      <p:sp>
        <p:nvSpPr>
          <p:cNvPr id="66" name="Right Brace 65">
            <a:extLst>
              <a:ext uri="{FF2B5EF4-FFF2-40B4-BE49-F238E27FC236}">
                <a16:creationId xmlns:a16="http://schemas.microsoft.com/office/drawing/2014/main" id="{33A9C921-590F-468F-8054-35A294DBE111}"/>
              </a:ext>
            </a:extLst>
          </p:cNvPr>
          <p:cNvSpPr/>
          <p:nvPr/>
        </p:nvSpPr>
        <p:spPr>
          <a:xfrm>
            <a:off x="6515152" y="2930664"/>
            <a:ext cx="259484" cy="1415482"/>
          </a:xfrm>
          <a:prstGeom prst="rightBrace">
            <a:avLst>
              <a:gd name="adj1" fmla="val 77446"/>
              <a:gd name="adj2" fmla="val 50000"/>
            </a:avLst>
          </a:prstGeom>
          <a:ln w="6350">
            <a:solidFill>
              <a:schemeClr val="tx2"/>
            </a:solidFill>
            <a:custDash>
              <a:ds d="200000" sp="200000"/>
            </a:custDash>
            <a:miter lim="400000"/>
            <a:headEnd type="oval" w="sm" len="sm"/>
            <a:tailEnd type="oval" w="sm" len="sm"/>
          </a:ln>
        </p:spPr>
        <p:txBody>
          <a:bodyPr lIns="0" tIns="0" rIns="0" bIns="0" anchor="ctr"/>
          <a:lstStyle/>
          <a:p>
            <a:pPr algn="ctr" defTabSz="412750" hangingPunct="0"/>
            <a:endParaRPr lang="en-US" sz="1600" kern="0">
              <a:solidFill>
                <a:srgbClr val="FFFFFF"/>
              </a:solidFill>
              <a:latin typeface="Helvetica Neue Medium"/>
            </a:endParaRPr>
          </a:p>
        </p:txBody>
      </p:sp>
      <p:sp>
        <p:nvSpPr>
          <p:cNvPr id="67" name="Right Brace 66">
            <a:extLst>
              <a:ext uri="{FF2B5EF4-FFF2-40B4-BE49-F238E27FC236}">
                <a16:creationId xmlns:a16="http://schemas.microsoft.com/office/drawing/2014/main" id="{E7531C33-1886-4D6E-8A06-C28DD207ADDD}"/>
              </a:ext>
            </a:extLst>
          </p:cNvPr>
          <p:cNvSpPr/>
          <p:nvPr/>
        </p:nvSpPr>
        <p:spPr>
          <a:xfrm>
            <a:off x="6515152" y="4346145"/>
            <a:ext cx="259484" cy="1412895"/>
          </a:xfrm>
          <a:prstGeom prst="rightBrace">
            <a:avLst>
              <a:gd name="adj1" fmla="val 77446"/>
              <a:gd name="adj2" fmla="val 50000"/>
            </a:avLst>
          </a:prstGeom>
          <a:ln w="6350">
            <a:solidFill>
              <a:schemeClr val="tx2"/>
            </a:solidFill>
            <a:custDash>
              <a:ds d="200000" sp="200000"/>
            </a:custDash>
            <a:miter lim="400000"/>
            <a:headEnd type="oval" w="sm" len="sm"/>
            <a:tailEnd type="oval" w="sm" len="sm"/>
          </a:ln>
        </p:spPr>
        <p:txBody>
          <a:bodyPr lIns="0" tIns="0" rIns="0" bIns="0" anchor="ctr"/>
          <a:lstStyle/>
          <a:p>
            <a:pPr algn="ctr" defTabSz="412750" hangingPunct="0"/>
            <a:endParaRPr lang="en-US" sz="1600" kern="0">
              <a:solidFill>
                <a:srgbClr val="FFFFFF"/>
              </a:solidFill>
              <a:latin typeface="Helvetica Neue Medium"/>
            </a:endParaRPr>
          </a:p>
        </p:txBody>
      </p:sp>
      <p:grpSp>
        <p:nvGrpSpPr>
          <p:cNvPr id="10" name="Group 9">
            <a:extLst>
              <a:ext uri="{FF2B5EF4-FFF2-40B4-BE49-F238E27FC236}">
                <a16:creationId xmlns:a16="http://schemas.microsoft.com/office/drawing/2014/main" id="{ACD04805-5E7E-4BAA-BE29-F08D21324629}"/>
              </a:ext>
            </a:extLst>
          </p:cNvPr>
          <p:cNvGrpSpPr/>
          <p:nvPr/>
        </p:nvGrpSpPr>
        <p:grpSpPr>
          <a:xfrm>
            <a:off x="7061090" y="1816274"/>
            <a:ext cx="3499465" cy="808114"/>
            <a:chOff x="7756365" y="1806215"/>
            <a:chExt cx="3499465" cy="808114"/>
          </a:xfrm>
        </p:grpSpPr>
        <p:sp>
          <p:nvSpPr>
            <p:cNvPr id="68" name="Rectangle 67">
              <a:extLst>
                <a:ext uri="{FF2B5EF4-FFF2-40B4-BE49-F238E27FC236}">
                  <a16:creationId xmlns:a16="http://schemas.microsoft.com/office/drawing/2014/main" id="{178182C8-E625-432E-87BA-B4C88BE9B989}"/>
                </a:ext>
              </a:extLst>
            </p:cNvPr>
            <p:cNvSpPr/>
            <p:nvPr/>
          </p:nvSpPr>
          <p:spPr>
            <a:xfrm flipH="1">
              <a:off x="7756366" y="1806215"/>
              <a:ext cx="3499464" cy="246221"/>
            </a:xfrm>
            <a:prstGeom prst="rect">
              <a:avLst/>
            </a:prstGeom>
          </p:spPr>
          <p:txBody>
            <a:bodyPr wrap="square" lIns="0" tIns="0" rIns="0" bIns="0" anchor="ctr">
              <a:spAutoFit/>
            </a:bodyPr>
            <a:lstStyle/>
            <a:p>
              <a:r>
                <a:rPr lang="en-US" sz="1600" b="1" dirty="0">
                  <a:solidFill>
                    <a:srgbClr val="AEB7C5"/>
                  </a:solidFill>
                  <a:latin typeface="Montserrat" panose="00000500000000000000" pitchFamily="50" charset="0"/>
                </a:rPr>
                <a:t>TOTAL ADDRESSABLE MARKET</a:t>
              </a:r>
            </a:p>
          </p:txBody>
        </p:sp>
        <p:sp>
          <p:nvSpPr>
            <p:cNvPr id="69" name="Rectangle 68">
              <a:extLst>
                <a:ext uri="{FF2B5EF4-FFF2-40B4-BE49-F238E27FC236}">
                  <a16:creationId xmlns:a16="http://schemas.microsoft.com/office/drawing/2014/main" id="{588FE053-FAA6-4710-950F-7AFBA5DAE361}"/>
                </a:ext>
              </a:extLst>
            </p:cNvPr>
            <p:cNvSpPr/>
            <p:nvPr/>
          </p:nvSpPr>
          <p:spPr>
            <a:xfrm flipH="1">
              <a:off x="7756365" y="2174209"/>
              <a:ext cx="3267235" cy="440120"/>
            </a:xfrm>
            <a:prstGeom prst="rect">
              <a:avLst/>
            </a:prstGeom>
          </p:spPr>
          <p:txBody>
            <a:bodyPr wrap="square" lIns="0" tIns="0" rIns="0" bIns="0">
              <a:spAutoFit/>
            </a:bodyPr>
            <a:lstStyle/>
            <a:p>
              <a:pPr>
                <a:lnSpc>
                  <a:spcPts val="1800"/>
                </a:lnSpc>
              </a:pPr>
              <a:r>
                <a:rPr lang="en-US" sz="1200" dirty="0">
                  <a:latin typeface="Montserrat" panose="00000500000000000000" pitchFamily="50" charset="0"/>
                </a:rPr>
                <a:t>The entire potential market independently from your ability to reach and serve it yet</a:t>
              </a:r>
            </a:p>
          </p:txBody>
        </p:sp>
      </p:grpSp>
      <p:grpSp>
        <p:nvGrpSpPr>
          <p:cNvPr id="11" name="Group 10">
            <a:extLst>
              <a:ext uri="{FF2B5EF4-FFF2-40B4-BE49-F238E27FC236}">
                <a16:creationId xmlns:a16="http://schemas.microsoft.com/office/drawing/2014/main" id="{2252297C-5E98-4279-9241-1F52D993B7BE}"/>
              </a:ext>
            </a:extLst>
          </p:cNvPr>
          <p:cNvGrpSpPr/>
          <p:nvPr/>
        </p:nvGrpSpPr>
        <p:grpSpPr>
          <a:xfrm>
            <a:off x="7061090" y="3234348"/>
            <a:ext cx="4042228" cy="808114"/>
            <a:chOff x="7756364" y="3254936"/>
            <a:chExt cx="4042228" cy="808114"/>
          </a:xfrm>
        </p:grpSpPr>
        <p:sp>
          <p:nvSpPr>
            <p:cNvPr id="70" name="Rectangle 69">
              <a:extLst>
                <a:ext uri="{FF2B5EF4-FFF2-40B4-BE49-F238E27FC236}">
                  <a16:creationId xmlns:a16="http://schemas.microsoft.com/office/drawing/2014/main" id="{F53934B2-EB34-4CFF-AAEC-D491CA21FC76}"/>
                </a:ext>
              </a:extLst>
            </p:cNvPr>
            <p:cNvSpPr/>
            <p:nvPr/>
          </p:nvSpPr>
          <p:spPr>
            <a:xfrm flipH="1">
              <a:off x="7756365" y="3254936"/>
              <a:ext cx="4042227" cy="246221"/>
            </a:xfrm>
            <a:prstGeom prst="rect">
              <a:avLst/>
            </a:prstGeom>
          </p:spPr>
          <p:txBody>
            <a:bodyPr wrap="square" lIns="0" tIns="0" rIns="0" bIns="0" anchor="ctr">
              <a:spAutoFit/>
            </a:bodyPr>
            <a:lstStyle/>
            <a:p>
              <a:r>
                <a:rPr lang="en-US" sz="1600" b="1" dirty="0">
                  <a:solidFill>
                    <a:srgbClr val="849DE1"/>
                  </a:solidFill>
                  <a:latin typeface="Montserrat" panose="00000500000000000000" pitchFamily="50" charset="0"/>
                </a:rPr>
                <a:t>SERVICABLE ADDRESSABLE MARKET</a:t>
              </a:r>
            </a:p>
          </p:txBody>
        </p:sp>
        <p:sp>
          <p:nvSpPr>
            <p:cNvPr id="71" name="Rectangle 70">
              <a:extLst>
                <a:ext uri="{FF2B5EF4-FFF2-40B4-BE49-F238E27FC236}">
                  <a16:creationId xmlns:a16="http://schemas.microsoft.com/office/drawing/2014/main" id="{C6C36B1D-39D8-4771-8AB0-73CC2B6C5972}"/>
                </a:ext>
              </a:extLst>
            </p:cNvPr>
            <p:cNvSpPr/>
            <p:nvPr/>
          </p:nvSpPr>
          <p:spPr>
            <a:xfrm flipH="1">
              <a:off x="7756364" y="3622930"/>
              <a:ext cx="3687491" cy="440120"/>
            </a:xfrm>
            <a:prstGeom prst="rect">
              <a:avLst/>
            </a:prstGeom>
          </p:spPr>
          <p:txBody>
            <a:bodyPr wrap="square" lIns="0" tIns="0" rIns="0" bIns="0">
              <a:spAutoFit/>
            </a:bodyPr>
            <a:lstStyle/>
            <a:p>
              <a:pPr>
                <a:lnSpc>
                  <a:spcPts val="1800"/>
                </a:lnSpc>
              </a:pPr>
              <a:r>
                <a:rPr lang="en-US" sz="1200" dirty="0">
                  <a:latin typeface="Montserrat" panose="00000500000000000000" pitchFamily="50" charset="0"/>
                </a:rPr>
                <a:t>The people you can actually serve and reach with your business</a:t>
              </a:r>
            </a:p>
          </p:txBody>
        </p:sp>
      </p:grpSp>
      <p:grpSp>
        <p:nvGrpSpPr>
          <p:cNvPr id="12" name="Group 11">
            <a:extLst>
              <a:ext uri="{FF2B5EF4-FFF2-40B4-BE49-F238E27FC236}">
                <a16:creationId xmlns:a16="http://schemas.microsoft.com/office/drawing/2014/main" id="{C4548B8F-6C7C-4BC2-806B-6E221B372059}"/>
              </a:ext>
            </a:extLst>
          </p:cNvPr>
          <p:cNvGrpSpPr/>
          <p:nvPr/>
        </p:nvGrpSpPr>
        <p:grpSpPr>
          <a:xfrm>
            <a:off x="7061090" y="4763951"/>
            <a:ext cx="4435637" cy="577282"/>
            <a:chOff x="7756363" y="4703656"/>
            <a:chExt cx="4435637" cy="577282"/>
          </a:xfrm>
        </p:grpSpPr>
        <p:sp>
          <p:nvSpPr>
            <p:cNvPr id="72" name="Rectangle 71">
              <a:extLst>
                <a:ext uri="{FF2B5EF4-FFF2-40B4-BE49-F238E27FC236}">
                  <a16:creationId xmlns:a16="http://schemas.microsoft.com/office/drawing/2014/main" id="{4AF2F6C1-21C1-4F84-8121-896449822B00}"/>
                </a:ext>
              </a:extLst>
            </p:cNvPr>
            <p:cNvSpPr/>
            <p:nvPr/>
          </p:nvSpPr>
          <p:spPr>
            <a:xfrm flipH="1">
              <a:off x="7756365" y="4703656"/>
              <a:ext cx="4042227" cy="246221"/>
            </a:xfrm>
            <a:prstGeom prst="rect">
              <a:avLst/>
            </a:prstGeom>
          </p:spPr>
          <p:txBody>
            <a:bodyPr wrap="square" lIns="0" tIns="0" rIns="0" bIns="0" anchor="ctr">
              <a:spAutoFit/>
            </a:bodyPr>
            <a:lstStyle/>
            <a:p>
              <a:r>
                <a:rPr lang="en-US" sz="1600" b="1" dirty="0">
                  <a:solidFill>
                    <a:srgbClr val="47B3E5"/>
                  </a:solidFill>
                  <a:latin typeface="Montserrat" panose="00000500000000000000" pitchFamily="50" charset="0"/>
                </a:rPr>
                <a:t>SERVICABLE OBTAINABLE MARKET</a:t>
              </a:r>
            </a:p>
          </p:txBody>
        </p:sp>
        <p:sp>
          <p:nvSpPr>
            <p:cNvPr id="73" name="Rectangle 72">
              <a:extLst>
                <a:ext uri="{FF2B5EF4-FFF2-40B4-BE49-F238E27FC236}">
                  <a16:creationId xmlns:a16="http://schemas.microsoft.com/office/drawing/2014/main" id="{F80E89CF-269E-4FE7-9800-89681D08A2E0}"/>
                </a:ext>
              </a:extLst>
            </p:cNvPr>
            <p:cNvSpPr/>
            <p:nvPr/>
          </p:nvSpPr>
          <p:spPr>
            <a:xfrm flipH="1">
              <a:off x="7756363" y="5071650"/>
              <a:ext cx="4435637" cy="209288"/>
            </a:xfrm>
            <a:prstGeom prst="rect">
              <a:avLst/>
            </a:prstGeom>
          </p:spPr>
          <p:txBody>
            <a:bodyPr wrap="square" lIns="0" tIns="0" rIns="0" bIns="0">
              <a:spAutoFit/>
            </a:bodyPr>
            <a:lstStyle/>
            <a:p>
              <a:pPr>
                <a:lnSpc>
                  <a:spcPts val="1800"/>
                </a:lnSpc>
              </a:pPr>
              <a:r>
                <a:rPr lang="en-US" sz="1200" dirty="0">
                  <a:latin typeface="Montserrat" panose="00000500000000000000" pitchFamily="50" charset="0"/>
                </a:rPr>
                <a:t>The share and portion of the market that you can capture</a:t>
              </a:r>
            </a:p>
          </p:txBody>
        </p:sp>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1000"/>
                                        <p:tgtEl>
                                          <p:spTgt spid="3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1000"/>
                                        <p:tgtEl>
                                          <p:spTgt spid="42"/>
                                        </p:tgtEl>
                                      </p:cBhvr>
                                    </p:animEffect>
                                  </p:childTnLst>
                                </p:cTn>
                              </p:par>
                              <p:par>
                                <p:cTn id="11" presetID="42" presetClass="path" presetSubtype="0" accel="50000" decel="50000" fill="hold" grpId="1" nodeType="withEffect">
                                  <p:stCondLst>
                                    <p:cond delay="0"/>
                                  </p:stCondLst>
                                  <p:childTnLst>
                                    <p:animMotion origin="layout" path="M 2.08333E-7 -0.20533 L 2.08333E-7 -3.7037E-7 " pathEditMode="relative" rAng="0" ptsTypes="AA">
                                      <p:cBhvr>
                                        <p:cTn id="12" dur="2000" fill="hold"/>
                                        <p:tgtEl>
                                          <p:spTgt spid="42"/>
                                        </p:tgtEl>
                                        <p:attrNameLst>
                                          <p:attrName>ppt_x</p:attrName>
                                          <p:attrName>ppt_y</p:attrName>
                                        </p:attrNameLst>
                                      </p:cBhvr>
                                      <p:rCtr x="0" y="10278"/>
                                    </p:animMotion>
                                  </p:childTnLst>
                                </p:cTn>
                              </p:par>
                              <p:par>
                                <p:cTn id="13" presetID="10" presetClass="entr" presetSubtype="0" fill="hold" grpId="0" nodeType="with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fade">
                                      <p:cBhvr>
                                        <p:cTn id="15" dur="1000"/>
                                        <p:tgtEl>
                                          <p:spTgt spid="45"/>
                                        </p:tgtEl>
                                      </p:cBhvr>
                                    </p:animEffect>
                                  </p:childTnLst>
                                </p:cTn>
                              </p:par>
                              <p:par>
                                <p:cTn id="16" presetID="42" presetClass="path" presetSubtype="0" accel="50000" decel="50000" fill="hold" grpId="1" nodeType="withEffect">
                                  <p:stCondLst>
                                    <p:cond delay="0"/>
                                  </p:stCondLst>
                                  <p:childTnLst>
                                    <p:animMotion origin="layout" path="M 2.08333E-7 -0.41319 L 2.08333E-7 -1.11111E-6 " pathEditMode="relative" rAng="0" ptsTypes="AA">
                                      <p:cBhvr>
                                        <p:cTn id="17" dur="2000" fill="hold"/>
                                        <p:tgtEl>
                                          <p:spTgt spid="45"/>
                                        </p:tgtEl>
                                        <p:attrNameLst>
                                          <p:attrName>ppt_x</p:attrName>
                                          <p:attrName>ppt_y</p:attrName>
                                        </p:attrNameLst>
                                      </p:cBhvr>
                                      <p:rCtr x="0" y="20648"/>
                                    </p:animMotion>
                                  </p:childTnLst>
                                </p:cTn>
                              </p:par>
                              <p:par>
                                <p:cTn id="18" presetID="10" presetClass="entr" presetSubtype="0" fill="hold" grpId="0" nodeType="withEffect">
                                  <p:stCondLst>
                                    <p:cond delay="1750"/>
                                  </p:stCondLst>
                                  <p:childTnLst>
                                    <p:set>
                                      <p:cBhvr>
                                        <p:cTn id="19" dur="1" fill="hold">
                                          <p:stCondLst>
                                            <p:cond delay="0"/>
                                          </p:stCondLst>
                                        </p:cTn>
                                        <p:tgtEl>
                                          <p:spTgt spid="55"/>
                                        </p:tgtEl>
                                        <p:attrNameLst>
                                          <p:attrName>style.visibility</p:attrName>
                                        </p:attrNameLst>
                                      </p:cBhvr>
                                      <p:to>
                                        <p:strVal val="visible"/>
                                      </p:to>
                                    </p:set>
                                    <p:animEffect transition="in" filter="fade">
                                      <p:cBhvr>
                                        <p:cTn id="20" dur="750"/>
                                        <p:tgtEl>
                                          <p:spTgt spid="55"/>
                                        </p:tgtEl>
                                      </p:cBhvr>
                                    </p:animEffect>
                                  </p:childTnLst>
                                </p:cTn>
                              </p:par>
                              <p:par>
                                <p:cTn id="21" presetID="10" presetClass="entr" presetSubtype="0" fill="hold" grpId="0" nodeType="withEffect">
                                  <p:stCondLst>
                                    <p:cond delay="1750"/>
                                  </p:stCondLst>
                                  <p:childTnLst>
                                    <p:set>
                                      <p:cBhvr>
                                        <p:cTn id="22" dur="1" fill="hold">
                                          <p:stCondLst>
                                            <p:cond delay="0"/>
                                          </p:stCondLst>
                                        </p:cTn>
                                        <p:tgtEl>
                                          <p:spTgt spid="56"/>
                                        </p:tgtEl>
                                        <p:attrNameLst>
                                          <p:attrName>style.visibility</p:attrName>
                                        </p:attrNameLst>
                                      </p:cBhvr>
                                      <p:to>
                                        <p:strVal val="visible"/>
                                      </p:to>
                                    </p:set>
                                    <p:animEffect transition="in" filter="fade">
                                      <p:cBhvr>
                                        <p:cTn id="23" dur="750"/>
                                        <p:tgtEl>
                                          <p:spTgt spid="56"/>
                                        </p:tgtEl>
                                      </p:cBhvr>
                                    </p:animEffect>
                                  </p:childTnLst>
                                </p:cTn>
                              </p:par>
                              <p:par>
                                <p:cTn id="24" presetID="10" presetClass="entr" presetSubtype="0" fill="hold" grpId="0" nodeType="withEffect">
                                  <p:stCondLst>
                                    <p:cond delay="1750"/>
                                  </p:stCondLst>
                                  <p:childTnLst>
                                    <p:set>
                                      <p:cBhvr>
                                        <p:cTn id="25" dur="1" fill="hold">
                                          <p:stCondLst>
                                            <p:cond delay="0"/>
                                          </p:stCondLst>
                                        </p:cTn>
                                        <p:tgtEl>
                                          <p:spTgt spid="57"/>
                                        </p:tgtEl>
                                        <p:attrNameLst>
                                          <p:attrName>style.visibility</p:attrName>
                                        </p:attrNameLst>
                                      </p:cBhvr>
                                      <p:to>
                                        <p:strVal val="visible"/>
                                      </p:to>
                                    </p:set>
                                    <p:animEffect transition="in" filter="fade">
                                      <p:cBhvr>
                                        <p:cTn id="26" dur="750"/>
                                        <p:tgtEl>
                                          <p:spTgt spid="57"/>
                                        </p:tgtEl>
                                      </p:cBhvr>
                                    </p:animEffect>
                                  </p:childTnLst>
                                </p:cTn>
                              </p:par>
                              <p:par>
                                <p:cTn id="27" presetID="22" presetClass="entr" presetSubtype="8" fill="hold" nodeType="withEffect">
                                  <p:stCondLst>
                                    <p:cond delay="1750"/>
                                  </p:stCondLst>
                                  <p:childTnLst>
                                    <p:set>
                                      <p:cBhvr>
                                        <p:cTn id="28" dur="1" fill="hold">
                                          <p:stCondLst>
                                            <p:cond delay="0"/>
                                          </p:stCondLst>
                                        </p:cTn>
                                        <p:tgtEl>
                                          <p:spTgt spid="4"/>
                                        </p:tgtEl>
                                        <p:attrNameLst>
                                          <p:attrName>style.visibility</p:attrName>
                                        </p:attrNameLst>
                                      </p:cBhvr>
                                      <p:to>
                                        <p:strVal val="visible"/>
                                      </p:to>
                                    </p:set>
                                    <p:animEffect transition="in" filter="wipe(left)">
                                      <p:cBhvr>
                                        <p:cTn id="29" dur="1000"/>
                                        <p:tgtEl>
                                          <p:spTgt spid="4"/>
                                        </p:tgtEl>
                                      </p:cBhvr>
                                    </p:animEffect>
                                  </p:childTnLst>
                                </p:cTn>
                              </p:par>
                              <p:par>
                                <p:cTn id="30" presetID="10" presetClass="entr" presetSubtype="0" fill="hold" grpId="0" nodeType="withEffect">
                                  <p:stCondLst>
                                    <p:cond delay="250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1000"/>
                                        <p:tgtEl>
                                          <p:spTgt spid="8"/>
                                        </p:tgtEl>
                                      </p:cBhvr>
                                    </p:animEffect>
                                  </p:childTnLst>
                                </p:cTn>
                              </p:par>
                              <p:par>
                                <p:cTn id="33" presetID="10" presetClass="entr" presetSubtype="0" fill="hold" grpId="0" nodeType="withEffect">
                                  <p:stCondLst>
                                    <p:cond delay="2500"/>
                                  </p:stCondLst>
                                  <p:childTnLst>
                                    <p:set>
                                      <p:cBhvr>
                                        <p:cTn id="34" dur="1" fill="hold">
                                          <p:stCondLst>
                                            <p:cond delay="0"/>
                                          </p:stCondLst>
                                        </p:cTn>
                                        <p:tgtEl>
                                          <p:spTgt spid="62"/>
                                        </p:tgtEl>
                                        <p:attrNameLst>
                                          <p:attrName>style.visibility</p:attrName>
                                        </p:attrNameLst>
                                      </p:cBhvr>
                                      <p:to>
                                        <p:strVal val="visible"/>
                                      </p:to>
                                    </p:set>
                                    <p:animEffect transition="in" filter="fade">
                                      <p:cBhvr>
                                        <p:cTn id="35" dur="1000"/>
                                        <p:tgtEl>
                                          <p:spTgt spid="62"/>
                                        </p:tgtEl>
                                      </p:cBhvr>
                                    </p:animEffect>
                                  </p:childTnLst>
                                </p:cTn>
                              </p:par>
                              <p:par>
                                <p:cTn id="36" presetID="10" presetClass="entr" presetSubtype="0" fill="hold" grpId="0" nodeType="withEffect">
                                  <p:stCondLst>
                                    <p:cond delay="2500"/>
                                  </p:stCondLst>
                                  <p:childTnLst>
                                    <p:set>
                                      <p:cBhvr>
                                        <p:cTn id="37" dur="1" fill="hold">
                                          <p:stCondLst>
                                            <p:cond delay="0"/>
                                          </p:stCondLst>
                                        </p:cTn>
                                        <p:tgtEl>
                                          <p:spTgt spid="63"/>
                                        </p:tgtEl>
                                        <p:attrNameLst>
                                          <p:attrName>style.visibility</p:attrName>
                                        </p:attrNameLst>
                                      </p:cBhvr>
                                      <p:to>
                                        <p:strVal val="visible"/>
                                      </p:to>
                                    </p:set>
                                    <p:animEffect transition="in" filter="fade">
                                      <p:cBhvr>
                                        <p:cTn id="38" dur="1000"/>
                                        <p:tgtEl>
                                          <p:spTgt spid="63"/>
                                        </p:tgtEl>
                                      </p:cBhvr>
                                    </p:animEffect>
                                  </p:childTnLst>
                                </p:cTn>
                              </p:par>
                              <p:par>
                                <p:cTn id="39" presetID="10" presetClass="entr" presetSubtype="0" fill="hold" grpId="0" nodeType="withEffect">
                                  <p:stCondLst>
                                    <p:cond delay="2500"/>
                                  </p:stCondLst>
                                  <p:childTnLst>
                                    <p:set>
                                      <p:cBhvr>
                                        <p:cTn id="40" dur="1" fill="hold">
                                          <p:stCondLst>
                                            <p:cond delay="0"/>
                                          </p:stCondLst>
                                        </p:cTn>
                                        <p:tgtEl>
                                          <p:spTgt spid="64"/>
                                        </p:tgtEl>
                                        <p:attrNameLst>
                                          <p:attrName>style.visibility</p:attrName>
                                        </p:attrNameLst>
                                      </p:cBhvr>
                                      <p:to>
                                        <p:strVal val="visible"/>
                                      </p:to>
                                    </p:set>
                                    <p:animEffect transition="in" filter="fade">
                                      <p:cBhvr>
                                        <p:cTn id="41" dur="1000"/>
                                        <p:tgtEl>
                                          <p:spTgt spid="64"/>
                                        </p:tgtEl>
                                      </p:cBhvr>
                                    </p:animEffect>
                                  </p:childTnLst>
                                </p:cTn>
                              </p:par>
                              <p:par>
                                <p:cTn id="42" presetID="16" presetClass="entr" presetSubtype="26" fill="hold" grpId="0" nodeType="withEffect">
                                  <p:stCondLst>
                                    <p:cond delay="2500"/>
                                  </p:stCondLst>
                                  <p:childTnLst>
                                    <p:set>
                                      <p:cBhvr>
                                        <p:cTn id="43" dur="1" fill="hold">
                                          <p:stCondLst>
                                            <p:cond delay="0"/>
                                          </p:stCondLst>
                                        </p:cTn>
                                        <p:tgtEl>
                                          <p:spTgt spid="9"/>
                                        </p:tgtEl>
                                        <p:attrNameLst>
                                          <p:attrName>style.visibility</p:attrName>
                                        </p:attrNameLst>
                                      </p:cBhvr>
                                      <p:to>
                                        <p:strVal val="visible"/>
                                      </p:to>
                                    </p:set>
                                    <p:animEffect transition="in" filter="barn(inHorizontal)">
                                      <p:cBhvr>
                                        <p:cTn id="44" dur="1000"/>
                                        <p:tgtEl>
                                          <p:spTgt spid="9"/>
                                        </p:tgtEl>
                                      </p:cBhvr>
                                    </p:animEffect>
                                  </p:childTnLst>
                                </p:cTn>
                              </p:par>
                              <p:par>
                                <p:cTn id="45" presetID="16" presetClass="entr" presetSubtype="26" fill="hold" grpId="0" nodeType="withEffect">
                                  <p:stCondLst>
                                    <p:cond delay="2500"/>
                                  </p:stCondLst>
                                  <p:childTnLst>
                                    <p:set>
                                      <p:cBhvr>
                                        <p:cTn id="46" dur="1" fill="hold">
                                          <p:stCondLst>
                                            <p:cond delay="0"/>
                                          </p:stCondLst>
                                        </p:cTn>
                                        <p:tgtEl>
                                          <p:spTgt spid="66"/>
                                        </p:tgtEl>
                                        <p:attrNameLst>
                                          <p:attrName>style.visibility</p:attrName>
                                        </p:attrNameLst>
                                      </p:cBhvr>
                                      <p:to>
                                        <p:strVal val="visible"/>
                                      </p:to>
                                    </p:set>
                                    <p:animEffect transition="in" filter="barn(inHorizontal)">
                                      <p:cBhvr>
                                        <p:cTn id="47" dur="1000"/>
                                        <p:tgtEl>
                                          <p:spTgt spid="66"/>
                                        </p:tgtEl>
                                      </p:cBhvr>
                                    </p:animEffect>
                                  </p:childTnLst>
                                </p:cTn>
                              </p:par>
                              <p:par>
                                <p:cTn id="48" presetID="16" presetClass="entr" presetSubtype="26" fill="hold" grpId="0" nodeType="withEffect">
                                  <p:stCondLst>
                                    <p:cond delay="2500"/>
                                  </p:stCondLst>
                                  <p:childTnLst>
                                    <p:set>
                                      <p:cBhvr>
                                        <p:cTn id="49" dur="1" fill="hold">
                                          <p:stCondLst>
                                            <p:cond delay="0"/>
                                          </p:stCondLst>
                                        </p:cTn>
                                        <p:tgtEl>
                                          <p:spTgt spid="67"/>
                                        </p:tgtEl>
                                        <p:attrNameLst>
                                          <p:attrName>style.visibility</p:attrName>
                                        </p:attrNameLst>
                                      </p:cBhvr>
                                      <p:to>
                                        <p:strVal val="visible"/>
                                      </p:to>
                                    </p:set>
                                    <p:animEffect transition="in" filter="barn(inHorizontal)">
                                      <p:cBhvr>
                                        <p:cTn id="50" dur="1000"/>
                                        <p:tgtEl>
                                          <p:spTgt spid="67"/>
                                        </p:tgtEl>
                                      </p:cBhvr>
                                    </p:animEffect>
                                  </p:childTnLst>
                                </p:cTn>
                              </p:par>
                              <p:par>
                                <p:cTn id="51" presetID="10" presetClass="entr" presetSubtype="0" fill="hold" nodeType="withEffect">
                                  <p:stCondLst>
                                    <p:cond delay="3500"/>
                                  </p:stCondLst>
                                  <p:childTnLst>
                                    <p:set>
                                      <p:cBhvr>
                                        <p:cTn id="52" dur="1" fill="hold">
                                          <p:stCondLst>
                                            <p:cond delay="0"/>
                                          </p:stCondLst>
                                        </p:cTn>
                                        <p:tgtEl>
                                          <p:spTgt spid="12"/>
                                        </p:tgtEl>
                                        <p:attrNameLst>
                                          <p:attrName>style.visibility</p:attrName>
                                        </p:attrNameLst>
                                      </p:cBhvr>
                                      <p:to>
                                        <p:strVal val="visible"/>
                                      </p:to>
                                    </p:set>
                                    <p:animEffect transition="in" filter="fade">
                                      <p:cBhvr>
                                        <p:cTn id="53" dur="1000"/>
                                        <p:tgtEl>
                                          <p:spTgt spid="12"/>
                                        </p:tgtEl>
                                      </p:cBhvr>
                                    </p:animEffect>
                                  </p:childTnLst>
                                </p:cTn>
                              </p:par>
                              <p:par>
                                <p:cTn id="54" presetID="10" presetClass="entr" presetSubtype="0" fill="hold" nodeType="withEffect">
                                  <p:stCondLst>
                                    <p:cond delay="3500"/>
                                  </p:stCondLst>
                                  <p:childTnLst>
                                    <p:set>
                                      <p:cBhvr>
                                        <p:cTn id="55" dur="1" fill="hold">
                                          <p:stCondLst>
                                            <p:cond delay="0"/>
                                          </p:stCondLst>
                                        </p:cTn>
                                        <p:tgtEl>
                                          <p:spTgt spid="11"/>
                                        </p:tgtEl>
                                        <p:attrNameLst>
                                          <p:attrName>style.visibility</p:attrName>
                                        </p:attrNameLst>
                                      </p:cBhvr>
                                      <p:to>
                                        <p:strVal val="visible"/>
                                      </p:to>
                                    </p:set>
                                    <p:animEffect transition="in" filter="fade">
                                      <p:cBhvr>
                                        <p:cTn id="56" dur="1000"/>
                                        <p:tgtEl>
                                          <p:spTgt spid="11"/>
                                        </p:tgtEl>
                                      </p:cBhvr>
                                    </p:animEffect>
                                  </p:childTnLst>
                                </p:cTn>
                              </p:par>
                              <p:par>
                                <p:cTn id="57" presetID="10" presetClass="entr" presetSubtype="0" fill="hold" nodeType="withEffect">
                                  <p:stCondLst>
                                    <p:cond delay="3500"/>
                                  </p:stCondLst>
                                  <p:childTnLst>
                                    <p:set>
                                      <p:cBhvr>
                                        <p:cTn id="58" dur="1" fill="hold">
                                          <p:stCondLst>
                                            <p:cond delay="0"/>
                                          </p:stCondLst>
                                        </p:cTn>
                                        <p:tgtEl>
                                          <p:spTgt spid="10"/>
                                        </p:tgtEl>
                                        <p:attrNameLst>
                                          <p:attrName>style.visibility</p:attrName>
                                        </p:attrNameLst>
                                      </p:cBhvr>
                                      <p:to>
                                        <p:strVal val="visible"/>
                                      </p:to>
                                    </p:set>
                                    <p:animEffect transition="in" filter="fade">
                                      <p:cBhvr>
                                        <p:cTn id="59"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55" grpId="0"/>
      <p:bldP spid="42" grpId="0" animBg="1"/>
      <p:bldP spid="42" grpId="1" animBg="1"/>
      <p:bldP spid="56" grpId="0"/>
      <p:bldP spid="45" grpId="0" animBg="1"/>
      <p:bldP spid="45" grpId="1" animBg="1"/>
      <p:bldP spid="57" grpId="0"/>
      <p:bldP spid="8" grpId="0"/>
      <p:bldP spid="62" grpId="0"/>
      <p:bldP spid="63" grpId="0"/>
      <p:bldP spid="64" grpId="0"/>
      <p:bldP spid="9" grpId="0" animBg="1"/>
      <p:bldP spid="66" grpId="0" animBg="1"/>
      <p:bldP spid="67"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ardrop 43">
            <a:extLst>
              <a:ext uri="{FF2B5EF4-FFF2-40B4-BE49-F238E27FC236}">
                <a16:creationId xmlns:a16="http://schemas.microsoft.com/office/drawing/2014/main" id="{4FD4689D-3968-4B3E-A065-487A760C9858}"/>
              </a:ext>
            </a:extLst>
          </p:cNvPr>
          <p:cNvSpPr/>
          <p:nvPr/>
        </p:nvSpPr>
        <p:spPr>
          <a:xfrm rot="8100000">
            <a:off x="367832" y="1414810"/>
            <a:ext cx="3698947" cy="3698946"/>
          </a:xfrm>
          <a:prstGeom prst="teardrop">
            <a:avLst/>
          </a:prstGeom>
          <a:gradFill>
            <a:gsLst>
              <a:gs pos="0">
                <a:schemeClr val="accent1">
                  <a:lumMod val="40000"/>
                  <a:lumOff val="60000"/>
                </a:schemeClr>
              </a:gs>
              <a:gs pos="77000">
                <a:schemeClr val="accent1">
                  <a:lumMod val="40000"/>
                  <a:lumOff val="60000"/>
                  <a:alpha val="0"/>
                </a:schemeClr>
              </a:gs>
            </a:gsLst>
            <a:lin ang="18900000" scaled="0"/>
          </a:gra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ardrop 44">
            <a:extLst>
              <a:ext uri="{FF2B5EF4-FFF2-40B4-BE49-F238E27FC236}">
                <a16:creationId xmlns:a16="http://schemas.microsoft.com/office/drawing/2014/main" id="{7A16A709-543B-4852-AEB2-C295B65425AA}"/>
              </a:ext>
            </a:extLst>
          </p:cNvPr>
          <p:cNvSpPr/>
          <p:nvPr/>
        </p:nvSpPr>
        <p:spPr>
          <a:xfrm rot="8100000">
            <a:off x="761588" y="2365422"/>
            <a:ext cx="2911434" cy="2911434"/>
          </a:xfrm>
          <a:prstGeom prst="teardrop">
            <a:avLst/>
          </a:prstGeom>
          <a:gradFill>
            <a:gsLst>
              <a:gs pos="0">
                <a:schemeClr val="accent1">
                  <a:lumMod val="60000"/>
                  <a:lumOff val="40000"/>
                </a:schemeClr>
              </a:gs>
              <a:gs pos="75000">
                <a:schemeClr val="accent1">
                  <a:lumMod val="60000"/>
                  <a:lumOff val="40000"/>
                  <a:alpha val="0"/>
                </a:schemeClr>
              </a:gs>
            </a:gsLst>
            <a:lin ang="18900000" scaled="0"/>
          </a:gra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ardrop 45">
            <a:extLst>
              <a:ext uri="{FF2B5EF4-FFF2-40B4-BE49-F238E27FC236}">
                <a16:creationId xmlns:a16="http://schemas.microsoft.com/office/drawing/2014/main" id="{ED607A9F-1B56-4C72-B6D9-7278D009B385}"/>
              </a:ext>
            </a:extLst>
          </p:cNvPr>
          <p:cNvSpPr/>
          <p:nvPr/>
        </p:nvSpPr>
        <p:spPr>
          <a:xfrm rot="8100000">
            <a:off x="1211062" y="3450547"/>
            <a:ext cx="2012484" cy="2012485"/>
          </a:xfrm>
          <a:prstGeom prst="teardrop">
            <a:avLst/>
          </a:prstGeom>
          <a:gradFill>
            <a:gsLst>
              <a:gs pos="10000">
                <a:schemeClr val="accent1"/>
              </a:gs>
              <a:gs pos="100000">
                <a:schemeClr val="accent1">
                  <a:alpha val="0"/>
                </a:schemeClr>
              </a:gs>
            </a:gsLst>
            <a:lin ang="18900000" scaled="0"/>
          </a:gra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21880F2-6684-4F1B-8E5D-DDEACDD1ED3D}"/>
              </a:ext>
            </a:extLst>
          </p:cNvPr>
          <p:cNvSpPr txBox="1"/>
          <p:nvPr/>
        </p:nvSpPr>
        <p:spPr>
          <a:xfrm>
            <a:off x="1380379" y="1562531"/>
            <a:ext cx="1673855" cy="677108"/>
          </a:xfrm>
          <a:prstGeom prst="rect">
            <a:avLst/>
          </a:prstGeom>
          <a:noFill/>
        </p:spPr>
        <p:txBody>
          <a:bodyPr wrap="none" rtlCol="0">
            <a:spAutoFit/>
          </a:bodyPr>
          <a:lstStyle/>
          <a:p>
            <a:pPr algn="ctr"/>
            <a:r>
              <a:rPr lang="en-US" sz="1100" dirty="0">
                <a:solidFill>
                  <a:schemeClr val="accent1">
                    <a:lumMod val="50000"/>
                  </a:schemeClr>
                </a:solidFill>
                <a:latin typeface="Montserrat" panose="00000500000000000000" pitchFamily="50" charset="0"/>
              </a:rPr>
              <a:t>TAM</a:t>
            </a:r>
          </a:p>
          <a:p>
            <a:pPr algn="ctr"/>
            <a:r>
              <a:rPr lang="en-US" sz="1600" b="1" dirty="0">
                <a:solidFill>
                  <a:schemeClr val="accent1">
                    <a:lumMod val="50000"/>
                  </a:schemeClr>
                </a:solidFill>
                <a:latin typeface="Montserrat" panose="00000500000000000000" pitchFamily="50" charset="0"/>
              </a:rPr>
              <a:t>2TN USD</a:t>
            </a:r>
          </a:p>
          <a:p>
            <a:pPr algn="ctr"/>
            <a:r>
              <a:rPr lang="en-US" sz="1000" dirty="0">
                <a:solidFill>
                  <a:schemeClr val="accent1">
                    <a:lumMod val="50000"/>
                  </a:schemeClr>
                </a:solidFill>
                <a:latin typeface="Montserrat" panose="00000500000000000000" pitchFamily="50" charset="0"/>
              </a:rPr>
              <a:t>Global Clothing Market</a:t>
            </a:r>
          </a:p>
        </p:txBody>
      </p:sp>
      <p:sp>
        <p:nvSpPr>
          <p:cNvPr id="50" name="TextBox 49">
            <a:extLst>
              <a:ext uri="{FF2B5EF4-FFF2-40B4-BE49-F238E27FC236}">
                <a16:creationId xmlns:a16="http://schemas.microsoft.com/office/drawing/2014/main" id="{6F472B26-31A3-4191-8338-16B8DF06E2E4}"/>
              </a:ext>
            </a:extLst>
          </p:cNvPr>
          <p:cNvSpPr txBox="1"/>
          <p:nvPr/>
        </p:nvSpPr>
        <p:spPr>
          <a:xfrm>
            <a:off x="1108672" y="2595381"/>
            <a:ext cx="2217275" cy="661720"/>
          </a:xfrm>
          <a:prstGeom prst="rect">
            <a:avLst/>
          </a:prstGeom>
          <a:noFill/>
        </p:spPr>
        <p:txBody>
          <a:bodyPr wrap="none" rtlCol="0">
            <a:spAutoFit/>
          </a:bodyPr>
          <a:lstStyle/>
          <a:p>
            <a:pPr algn="ctr"/>
            <a:r>
              <a:rPr lang="en-US" sz="1100" dirty="0">
                <a:solidFill>
                  <a:schemeClr val="accent1">
                    <a:lumMod val="50000"/>
                  </a:schemeClr>
                </a:solidFill>
                <a:latin typeface="Montserrat" panose="00000500000000000000" pitchFamily="50" charset="0"/>
              </a:rPr>
              <a:t>SAM</a:t>
            </a:r>
          </a:p>
          <a:p>
            <a:pPr algn="ctr"/>
            <a:r>
              <a:rPr lang="en-US" sz="1600" b="1" dirty="0">
                <a:solidFill>
                  <a:schemeClr val="accent1">
                    <a:lumMod val="50000"/>
                  </a:schemeClr>
                </a:solidFill>
                <a:latin typeface="Montserrat" panose="00000500000000000000" pitchFamily="50" charset="0"/>
              </a:rPr>
              <a:t>327BN USD</a:t>
            </a:r>
          </a:p>
          <a:p>
            <a:pPr algn="ctr"/>
            <a:r>
              <a:rPr lang="en-US" sz="1000" dirty="0">
                <a:solidFill>
                  <a:schemeClr val="accent1">
                    <a:lumMod val="50000"/>
                  </a:schemeClr>
                </a:solidFill>
                <a:latin typeface="Montserrat" panose="00000500000000000000" pitchFamily="50" charset="0"/>
              </a:rPr>
              <a:t>Global Custom Clothing Market</a:t>
            </a:r>
          </a:p>
        </p:txBody>
      </p:sp>
      <p:sp>
        <p:nvSpPr>
          <p:cNvPr id="51" name="TextBox 50">
            <a:extLst>
              <a:ext uri="{FF2B5EF4-FFF2-40B4-BE49-F238E27FC236}">
                <a16:creationId xmlns:a16="http://schemas.microsoft.com/office/drawing/2014/main" id="{F6D940FE-35F0-4CB9-AEDA-0C4E568C91FB}"/>
              </a:ext>
            </a:extLst>
          </p:cNvPr>
          <p:cNvSpPr txBox="1"/>
          <p:nvPr/>
        </p:nvSpPr>
        <p:spPr>
          <a:xfrm>
            <a:off x="1581556" y="3908890"/>
            <a:ext cx="1271502" cy="815608"/>
          </a:xfrm>
          <a:prstGeom prst="rect">
            <a:avLst/>
          </a:prstGeom>
          <a:noFill/>
        </p:spPr>
        <p:txBody>
          <a:bodyPr wrap="none" rtlCol="0">
            <a:spAutoFit/>
          </a:bodyPr>
          <a:lstStyle/>
          <a:p>
            <a:pPr algn="ctr"/>
            <a:r>
              <a:rPr lang="en-US" sz="1100" dirty="0">
                <a:solidFill>
                  <a:schemeClr val="bg1"/>
                </a:solidFill>
                <a:latin typeface="Montserrat" panose="00000500000000000000" pitchFamily="50" charset="0"/>
              </a:rPr>
              <a:t>SOM</a:t>
            </a:r>
          </a:p>
          <a:p>
            <a:pPr algn="ctr"/>
            <a:r>
              <a:rPr lang="en-US" sz="1600" b="1" dirty="0">
                <a:solidFill>
                  <a:schemeClr val="bg1"/>
                </a:solidFill>
                <a:latin typeface="Montserrat" panose="00000500000000000000" pitchFamily="50" charset="0"/>
              </a:rPr>
              <a:t>32BN USD</a:t>
            </a:r>
          </a:p>
          <a:p>
            <a:pPr algn="ctr"/>
            <a:r>
              <a:rPr lang="en-US" sz="1000" dirty="0">
                <a:solidFill>
                  <a:schemeClr val="bg1"/>
                </a:solidFill>
                <a:latin typeface="Montserrat" panose="00000500000000000000" pitchFamily="50" charset="0"/>
              </a:rPr>
              <a:t>US Custom</a:t>
            </a:r>
          </a:p>
          <a:p>
            <a:pPr algn="ctr"/>
            <a:r>
              <a:rPr lang="en-US" sz="1000" dirty="0">
                <a:solidFill>
                  <a:schemeClr val="bg1"/>
                </a:solidFill>
                <a:latin typeface="Montserrat" panose="00000500000000000000" pitchFamily="50" charset="0"/>
              </a:rPr>
              <a:t>Clothing Market</a:t>
            </a:r>
          </a:p>
        </p:txBody>
      </p:sp>
      <p:sp>
        <p:nvSpPr>
          <p:cNvPr id="30" name="TextBox 29">
            <a:extLst>
              <a:ext uri="{FF2B5EF4-FFF2-40B4-BE49-F238E27FC236}">
                <a16:creationId xmlns:a16="http://schemas.microsoft.com/office/drawing/2014/main" id="{DB6CB14E-DF49-4DD1-92C3-4B0CD19E2156}"/>
              </a:ext>
            </a:extLst>
          </p:cNvPr>
          <p:cNvSpPr txBox="1"/>
          <p:nvPr/>
        </p:nvSpPr>
        <p:spPr>
          <a:xfrm>
            <a:off x="1061784" y="5726617"/>
            <a:ext cx="2311054" cy="553998"/>
          </a:xfrm>
          <a:prstGeom prst="rect">
            <a:avLst/>
          </a:prstGeom>
          <a:noFill/>
        </p:spPr>
        <p:txBody>
          <a:bodyPr wrap="square" rtlCol="0">
            <a:spAutoFit/>
          </a:bodyPr>
          <a:lstStyle/>
          <a:p>
            <a:pPr algn="ctr"/>
            <a:r>
              <a:rPr lang="en-US" sz="1500" b="1" dirty="0">
                <a:solidFill>
                  <a:schemeClr val="tx2">
                    <a:lumMod val="60000"/>
                    <a:lumOff val="40000"/>
                  </a:schemeClr>
                </a:solidFill>
                <a:latin typeface="Montserrat" panose="00000500000000000000" pitchFamily="50" charset="0"/>
              </a:rPr>
              <a:t>Custom Clothing Designing</a:t>
            </a:r>
          </a:p>
        </p:txBody>
      </p:sp>
      <p:sp>
        <p:nvSpPr>
          <p:cNvPr id="36" name="Teardrop 35">
            <a:extLst>
              <a:ext uri="{FF2B5EF4-FFF2-40B4-BE49-F238E27FC236}">
                <a16:creationId xmlns:a16="http://schemas.microsoft.com/office/drawing/2014/main" id="{F33D406F-729D-4250-BE30-3DED69978CBC}"/>
              </a:ext>
            </a:extLst>
          </p:cNvPr>
          <p:cNvSpPr/>
          <p:nvPr/>
        </p:nvSpPr>
        <p:spPr>
          <a:xfrm rot="8100000">
            <a:off x="4246526" y="1414810"/>
            <a:ext cx="3698947" cy="3698946"/>
          </a:xfrm>
          <a:prstGeom prst="teardrop">
            <a:avLst/>
          </a:prstGeom>
          <a:gradFill>
            <a:gsLst>
              <a:gs pos="0">
                <a:schemeClr val="accent5">
                  <a:lumMod val="40000"/>
                  <a:lumOff val="60000"/>
                </a:schemeClr>
              </a:gs>
              <a:gs pos="77000">
                <a:schemeClr val="accent5">
                  <a:lumMod val="40000"/>
                  <a:lumOff val="60000"/>
                  <a:alpha val="0"/>
                </a:schemeClr>
              </a:gs>
            </a:gsLst>
            <a:lin ang="18900000" scaled="0"/>
          </a:gra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ardrop 36">
            <a:extLst>
              <a:ext uri="{FF2B5EF4-FFF2-40B4-BE49-F238E27FC236}">
                <a16:creationId xmlns:a16="http://schemas.microsoft.com/office/drawing/2014/main" id="{01FE0543-E54D-457C-BDB5-11584D33EF2F}"/>
              </a:ext>
            </a:extLst>
          </p:cNvPr>
          <p:cNvSpPr/>
          <p:nvPr/>
        </p:nvSpPr>
        <p:spPr>
          <a:xfrm rot="8100000">
            <a:off x="4640282" y="2365422"/>
            <a:ext cx="2911434" cy="2911434"/>
          </a:xfrm>
          <a:prstGeom prst="teardrop">
            <a:avLst/>
          </a:prstGeom>
          <a:gradFill>
            <a:gsLst>
              <a:gs pos="0">
                <a:schemeClr val="accent5">
                  <a:lumMod val="60000"/>
                  <a:lumOff val="40000"/>
                </a:schemeClr>
              </a:gs>
              <a:gs pos="75000">
                <a:schemeClr val="accent5">
                  <a:lumMod val="60000"/>
                  <a:lumOff val="40000"/>
                  <a:alpha val="0"/>
                </a:schemeClr>
              </a:gs>
            </a:gsLst>
            <a:lin ang="18900000" scaled="0"/>
          </a:gra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ardrop 37">
            <a:extLst>
              <a:ext uri="{FF2B5EF4-FFF2-40B4-BE49-F238E27FC236}">
                <a16:creationId xmlns:a16="http://schemas.microsoft.com/office/drawing/2014/main" id="{D261AE8B-A2B9-4B95-A90B-6DE4A2ED59B5}"/>
              </a:ext>
            </a:extLst>
          </p:cNvPr>
          <p:cNvSpPr/>
          <p:nvPr/>
        </p:nvSpPr>
        <p:spPr>
          <a:xfrm rot="8100000">
            <a:off x="5089756" y="3450547"/>
            <a:ext cx="2012484" cy="2012485"/>
          </a:xfrm>
          <a:prstGeom prst="teardrop">
            <a:avLst/>
          </a:prstGeom>
          <a:gradFill>
            <a:gsLst>
              <a:gs pos="10000">
                <a:schemeClr val="accent5"/>
              </a:gs>
              <a:gs pos="100000">
                <a:schemeClr val="accent5">
                  <a:alpha val="0"/>
                </a:schemeClr>
              </a:gs>
            </a:gsLst>
            <a:lin ang="18900000" scaled="0"/>
          </a:gra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8FFD6621-1767-496B-9547-D77F37935221}"/>
              </a:ext>
            </a:extLst>
          </p:cNvPr>
          <p:cNvSpPr txBox="1"/>
          <p:nvPr/>
        </p:nvSpPr>
        <p:spPr>
          <a:xfrm>
            <a:off x="5032250" y="1570225"/>
            <a:ext cx="2127506" cy="661720"/>
          </a:xfrm>
          <a:prstGeom prst="rect">
            <a:avLst/>
          </a:prstGeom>
          <a:noFill/>
        </p:spPr>
        <p:txBody>
          <a:bodyPr wrap="none" rtlCol="0">
            <a:spAutoFit/>
          </a:bodyPr>
          <a:lstStyle/>
          <a:p>
            <a:pPr algn="ctr"/>
            <a:r>
              <a:rPr lang="en-US" sz="1100" dirty="0">
                <a:solidFill>
                  <a:schemeClr val="accent2"/>
                </a:solidFill>
                <a:latin typeface="Montserrat" panose="00000500000000000000" pitchFamily="50" charset="0"/>
              </a:rPr>
              <a:t>TAM</a:t>
            </a:r>
          </a:p>
          <a:p>
            <a:pPr algn="ctr"/>
            <a:r>
              <a:rPr lang="en-US" sz="1600" b="1" dirty="0">
                <a:solidFill>
                  <a:schemeClr val="accent2"/>
                </a:solidFill>
                <a:latin typeface="Montserrat" panose="00000500000000000000" pitchFamily="50" charset="0"/>
              </a:rPr>
              <a:t>578BN USD</a:t>
            </a:r>
          </a:p>
          <a:p>
            <a:pPr algn="ctr"/>
            <a:r>
              <a:rPr lang="en-US" sz="1000" dirty="0">
                <a:solidFill>
                  <a:schemeClr val="accent2"/>
                </a:solidFill>
                <a:latin typeface="Montserrat" panose="00000500000000000000" pitchFamily="50" charset="0"/>
              </a:rPr>
              <a:t>Global Apparel Manufacturing</a:t>
            </a:r>
          </a:p>
        </p:txBody>
      </p:sp>
      <p:sp>
        <p:nvSpPr>
          <p:cNvPr id="25" name="TextBox 24">
            <a:extLst>
              <a:ext uri="{FF2B5EF4-FFF2-40B4-BE49-F238E27FC236}">
                <a16:creationId xmlns:a16="http://schemas.microsoft.com/office/drawing/2014/main" id="{710933BF-2F24-4A5A-A4AF-FAC7C22B3A41}"/>
              </a:ext>
            </a:extLst>
          </p:cNvPr>
          <p:cNvSpPr txBox="1"/>
          <p:nvPr/>
        </p:nvSpPr>
        <p:spPr>
          <a:xfrm>
            <a:off x="5228617" y="2518437"/>
            <a:ext cx="1734770" cy="815608"/>
          </a:xfrm>
          <a:prstGeom prst="rect">
            <a:avLst/>
          </a:prstGeom>
          <a:noFill/>
        </p:spPr>
        <p:txBody>
          <a:bodyPr wrap="none" rtlCol="0">
            <a:spAutoFit/>
          </a:bodyPr>
          <a:lstStyle/>
          <a:p>
            <a:pPr algn="ctr"/>
            <a:r>
              <a:rPr lang="en-US" sz="1100" dirty="0">
                <a:solidFill>
                  <a:schemeClr val="accent2"/>
                </a:solidFill>
                <a:latin typeface="Montserrat" panose="00000500000000000000" pitchFamily="50" charset="0"/>
              </a:rPr>
              <a:t>SAM</a:t>
            </a:r>
          </a:p>
          <a:p>
            <a:pPr algn="ctr"/>
            <a:r>
              <a:rPr lang="en-US" sz="1600" b="1" dirty="0">
                <a:solidFill>
                  <a:schemeClr val="accent2"/>
                </a:solidFill>
                <a:latin typeface="Montserrat" panose="00000500000000000000" pitchFamily="50" charset="0"/>
              </a:rPr>
              <a:t>100.93BN USD</a:t>
            </a:r>
          </a:p>
          <a:p>
            <a:pPr algn="ctr"/>
            <a:r>
              <a:rPr lang="en-US" sz="1000" dirty="0">
                <a:solidFill>
                  <a:schemeClr val="accent2"/>
                </a:solidFill>
                <a:latin typeface="Montserrat" panose="00000500000000000000" pitchFamily="50" charset="0"/>
              </a:rPr>
              <a:t>Global Custom</a:t>
            </a:r>
          </a:p>
          <a:p>
            <a:pPr algn="ctr"/>
            <a:r>
              <a:rPr lang="en-US" sz="1000" dirty="0">
                <a:solidFill>
                  <a:schemeClr val="accent2"/>
                </a:solidFill>
                <a:latin typeface="Montserrat" panose="00000500000000000000" pitchFamily="50" charset="0"/>
              </a:rPr>
              <a:t>Clothing Manufacturing</a:t>
            </a:r>
          </a:p>
        </p:txBody>
      </p:sp>
      <p:sp>
        <p:nvSpPr>
          <p:cNvPr id="26" name="TextBox 25">
            <a:extLst>
              <a:ext uri="{FF2B5EF4-FFF2-40B4-BE49-F238E27FC236}">
                <a16:creationId xmlns:a16="http://schemas.microsoft.com/office/drawing/2014/main" id="{E2EEE9EB-7B13-41D2-BD6B-0A1CA2CBF22E}"/>
              </a:ext>
            </a:extLst>
          </p:cNvPr>
          <p:cNvSpPr txBox="1"/>
          <p:nvPr/>
        </p:nvSpPr>
        <p:spPr>
          <a:xfrm>
            <a:off x="5228617" y="3908890"/>
            <a:ext cx="1734770" cy="815608"/>
          </a:xfrm>
          <a:prstGeom prst="rect">
            <a:avLst/>
          </a:prstGeom>
          <a:noFill/>
        </p:spPr>
        <p:txBody>
          <a:bodyPr wrap="none" rtlCol="0">
            <a:spAutoFit/>
          </a:bodyPr>
          <a:lstStyle/>
          <a:p>
            <a:pPr algn="ctr"/>
            <a:r>
              <a:rPr lang="en-US" sz="1100" dirty="0">
                <a:solidFill>
                  <a:schemeClr val="bg1"/>
                </a:solidFill>
                <a:latin typeface="Montserrat" panose="00000500000000000000" pitchFamily="50" charset="0"/>
              </a:rPr>
              <a:t>SOM</a:t>
            </a:r>
          </a:p>
          <a:p>
            <a:pPr algn="ctr"/>
            <a:r>
              <a:rPr lang="en-US" sz="1600" b="1" dirty="0">
                <a:solidFill>
                  <a:schemeClr val="bg1"/>
                </a:solidFill>
                <a:latin typeface="Montserrat" panose="00000500000000000000" pitchFamily="50" charset="0"/>
              </a:rPr>
              <a:t>27.4BN USD</a:t>
            </a:r>
          </a:p>
          <a:p>
            <a:pPr algn="ctr"/>
            <a:r>
              <a:rPr lang="en-US" sz="1000" dirty="0">
                <a:solidFill>
                  <a:schemeClr val="bg1"/>
                </a:solidFill>
                <a:latin typeface="Montserrat" panose="00000500000000000000" pitchFamily="50" charset="0"/>
              </a:rPr>
              <a:t>US Custom</a:t>
            </a:r>
          </a:p>
          <a:p>
            <a:pPr algn="ctr"/>
            <a:r>
              <a:rPr lang="en-US" sz="1000" dirty="0">
                <a:solidFill>
                  <a:schemeClr val="bg1"/>
                </a:solidFill>
                <a:latin typeface="Montserrat" panose="00000500000000000000" pitchFamily="50" charset="0"/>
              </a:rPr>
              <a:t>Clothing Manufacturing</a:t>
            </a:r>
          </a:p>
        </p:txBody>
      </p:sp>
      <p:sp>
        <p:nvSpPr>
          <p:cNvPr id="31" name="TextBox 30">
            <a:extLst>
              <a:ext uri="{FF2B5EF4-FFF2-40B4-BE49-F238E27FC236}">
                <a16:creationId xmlns:a16="http://schemas.microsoft.com/office/drawing/2014/main" id="{F59EBA8A-9D67-4CD4-85FA-A7E3DFEC41B0}"/>
              </a:ext>
            </a:extLst>
          </p:cNvPr>
          <p:cNvSpPr txBox="1"/>
          <p:nvPr/>
        </p:nvSpPr>
        <p:spPr>
          <a:xfrm>
            <a:off x="4759304" y="5726617"/>
            <a:ext cx="2673406" cy="553998"/>
          </a:xfrm>
          <a:prstGeom prst="rect">
            <a:avLst/>
          </a:prstGeom>
          <a:noFill/>
        </p:spPr>
        <p:txBody>
          <a:bodyPr wrap="square" rtlCol="0">
            <a:spAutoFit/>
          </a:bodyPr>
          <a:lstStyle/>
          <a:p>
            <a:pPr algn="ctr"/>
            <a:r>
              <a:rPr lang="en-US" sz="1500" b="1" dirty="0">
                <a:solidFill>
                  <a:schemeClr val="tx2">
                    <a:lumMod val="60000"/>
                    <a:lumOff val="40000"/>
                  </a:schemeClr>
                </a:solidFill>
                <a:latin typeface="Montserrat" panose="00000500000000000000" pitchFamily="50" charset="0"/>
              </a:rPr>
              <a:t>Custom Clothing Manufacturing</a:t>
            </a:r>
          </a:p>
        </p:txBody>
      </p:sp>
      <p:sp>
        <p:nvSpPr>
          <p:cNvPr id="21" name="Teardrop 20">
            <a:extLst>
              <a:ext uri="{FF2B5EF4-FFF2-40B4-BE49-F238E27FC236}">
                <a16:creationId xmlns:a16="http://schemas.microsoft.com/office/drawing/2014/main" id="{1777F068-5BBB-4376-9D89-6BB0C5E82A78}"/>
              </a:ext>
            </a:extLst>
          </p:cNvPr>
          <p:cNvSpPr/>
          <p:nvPr/>
        </p:nvSpPr>
        <p:spPr>
          <a:xfrm rot="8100000">
            <a:off x="8125220" y="1414810"/>
            <a:ext cx="3698947" cy="3698946"/>
          </a:xfrm>
          <a:prstGeom prst="teardrop">
            <a:avLst/>
          </a:prstGeom>
          <a:gradFill>
            <a:gsLst>
              <a:gs pos="0">
                <a:schemeClr val="accent4">
                  <a:lumMod val="60000"/>
                  <a:lumOff val="40000"/>
                </a:schemeClr>
              </a:gs>
              <a:gs pos="77000">
                <a:schemeClr val="accent4">
                  <a:lumMod val="60000"/>
                  <a:lumOff val="40000"/>
                  <a:alpha val="0"/>
                </a:schemeClr>
              </a:gs>
            </a:gsLst>
            <a:lin ang="18900000" scaled="0"/>
          </a:gra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ardrop 21">
            <a:extLst>
              <a:ext uri="{FF2B5EF4-FFF2-40B4-BE49-F238E27FC236}">
                <a16:creationId xmlns:a16="http://schemas.microsoft.com/office/drawing/2014/main" id="{D6036907-8F9B-41F0-95E4-7CA194A049BC}"/>
              </a:ext>
            </a:extLst>
          </p:cNvPr>
          <p:cNvSpPr/>
          <p:nvPr/>
        </p:nvSpPr>
        <p:spPr>
          <a:xfrm rot="8100000">
            <a:off x="8518976" y="2365422"/>
            <a:ext cx="2911434" cy="2911434"/>
          </a:xfrm>
          <a:prstGeom prst="teardrop">
            <a:avLst/>
          </a:prstGeom>
          <a:gradFill>
            <a:gsLst>
              <a:gs pos="0">
                <a:schemeClr val="accent4">
                  <a:lumMod val="80000"/>
                  <a:lumOff val="20000"/>
                </a:schemeClr>
              </a:gs>
              <a:gs pos="75000">
                <a:schemeClr val="accent4">
                  <a:lumMod val="80000"/>
                  <a:lumOff val="20000"/>
                  <a:alpha val="0"/>
                </a:schemeClr>
              </a:gs>
            </a:gsLst>
            <a:lin ang="18900000" scaled="0"/>
          </a:gra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ardrop 22">
            <a:extLst>
              <a:ext uri="{FF2B5EF4-FFF2-40B4-BE49-F238E27FC236}">
                <a16:creationId xmlns:a16="http://schemas.microsoft.com/office/drawing/2014/main" id="{6587B15C-389F-42C9-80AF-B592A189A38A}"/>
              </a:ext>
            </a:extLst>
          </p:cNvPr>
          <p:cNvSpPr/>
          <p:nvPr/>
        </p:nvSpPr>
        <p:spPr>
          <a:xfrm rot="8100000">
            <a:off x="8968450" y="3450547"/>
            <a:ext cx="2012484" cy="2012485"/>
          </a:xfrm>
          <a:prstGeom prst="teardrop">
            <a:avLst/>
          </a:prstGeom>
          <a:gradFill>
            <a:gsLst>
              <a:gs pos="10000">
                <a:schemeClr val="accent4"/>
              </a:gs>
              <a:gs pos="100000">
                <a:schemeClr val="accent4">
                  <a:alpha val="0"/>
                </a:schemeClr>
              </a:gs>
            </a:gsLst>
            <a:lin ang="18900000" scaled="0"/>
          </a:gra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FDF54194-E046-4350-B263-0A0A457E3B95}"/>
              </a:ext>
            </a:extLst>
          </p:cNvPr>
          <p:cNvSpPr txBox="1"/>
          <p:nvPr/>
        </p:nvSpPr>
        <p:spPr>
          <a:xfrm>
            <a:off x="8937392" y="1570225"/>
            <a:ext cx="2074607" cy="661720"/>
          </a:xfrm>
          <a:prstGeom prst="rect">
            <a:avLst/>
          </a:prstGeom>
          <a:noFill/>
        </p:spPr>
        <p:txBody>
          <a:bodyPr wrap="none" rtlCol="0">
            <a:spAutoFit/>
          </a:bodyPr>
          <a:lstStyle/>
          <a:p>
            <a:pPr algn="ctr"/>
            <a:r>
              <a:rPr lang="en-US" sz="1100" dirty="0">
                <a:solidFill>
                  <a:schemeClr val="accent4">
                    <a:lumMod val="50000"/>
                  </a:schemeClr>
                </a:solidFill>
                <a:latin typeface="Montserrat" panose="00000500000000000000" pitchFamily="50" charset="0"/>
              </a:rPr>
              <a:t>TAM</a:t>
            </a:r>
          </a:p>
          <a:p>
            <a:pPr algn="ctr"/>
            <a:r>
              <a:rPr lang="en-US" sz="1600" b="1" dirty="0">
                <a:solidFill>
                  <a:schemeClr val="accent4">
                    <a:lumMod val="50000"/>
                  </a:schemeClr>
                </a:solidFill>
                <a:latin typeface="Montserrat" panose="00000500000000000000" pitchFamily="50" charset="0"/>
              </a:rPr>
              <a:t>1.2TN USD</a:t>
            </a:r>
          </a:p>
          <a:p>
            <a:pPr algn="ctr"/>
            <a:r>
              <a:rPr lang="en-US" sz="1000" dirty="0">
                <a:solidFill>
                  <a:schemeClr val="accent4">
                    <a:lumMod val="50000"/>
                  </a:schemeClr>
                </a:solidFill>
                <a:latin typeface="Montserrat" panose="00000500000000000000" pitchFamily="50" charset="0"/>
              </a:rPr>
              <a:t>Global Clothing Retail Market</a:t>
            </a:r>
          </a:p>
        </p:txBody>
      </p:sp>
      <p:sp>
        <p:nvSpPr>
          <p:cNvPr id="28" name="TextBox 27">
            <a:extLst>
              <a:ext uri="{FF2B5EF4-FFF2-40B4-BE49-F238E27FC236}">
                <a16:creationId xmlns:a16="http://schemas.microsoft.com/office/drawing/2014/main" id="{5AED23EE-6EA6-497A-8AF1-DDA1D4A81DAC}"/>
              </a:ext>
            </a:extLst>
          </p:cNvPr>
          <p:cNvSpPr txBox="1"/>
          <p:nvPr/>
        </p:nvSpPr>
        <p:spPr>
          <a:xfrm>
            <a:off x="9109716" y="2518437"/>
            <a:ext cx="1729961" cy="815608"/>
          </a:xfrm>
          <a:prstGeom prst="rect">
            <a:avLst/>
          </a:prstGeom>
          <a:noFill/>
        </p:spPr>
        <p:txBody>
          <a:bodyPr wrap="none" rtlCol="0">
            <a:spAutoFit/>
          </a:bodyPr>
          <a:lstStyle/>
          <a:p>
            <a:pPr algn="ctr"/>
            <a:r>
              <a:rPr lang="en-US" sz="1100" dirty="0">
                <a:solidFill>
                  <a:schemeClr val="accent4">
                    <a:lumMod val="50000"/>
                  </a:schemeClr>
                </a:solidFill>
                <a:latin typeface="Montserrat" panose="00000500000000000000" pitchFamily="50" charset="0"/>
              </a:rPr>
              <a:t>SAM</a:t>
            </a:r>
          </a:p>
          <a:p>
            <a:pPr algn="ctr"/>
            <a:r>
              <a:rPr lang="en-US" sz="1600" b="1" dirty="0">
                <a:solidFill>
                  <a:schemeClr val="accent4">
                    <a:lumMod val="50000"/>
                  </a:schemeClr>
                </a:solidFill>
                <a:latin typeface="Montserrat" panose="00000500000000000000" pitchFamily="50" charset="0"/>
              </a:rPr>
              <a:t>289BN USD</a:t>
            </a:r>
          </a:p>
          <a:p>
            <a:pPr algn="ctr"/>
            <a:r>
              <a:rPr lang="en-US" sz="1000" dirty="0">
                <a:solidFill>
                  <a:schemeClr val="accent4">
                    <a:lumMod val="50000"/>
                  </a:schemeClr>
                </a:solidFill>
                <a:latin typeface="Montserrat" panose="00000500000000000000" pitchFamily="50" charset="0"/>
              </a:rPr>
              <a:t>Global Custom Clothing</a:t>
            </a:r>
          </a:p>
          <a:p>
            <a:pPr algn="ctr"/>
            <a:r>
              <a:rPr lang="en-US" sz="1000" dirty="0">
                <a:solidFill>
                  <a:schemeClr val="accent4">
                    <a:lumMod val="50000"/>
                  </a:schemeClr>
                </a:solidFill>
                <a:latin typeface="Montserrat" panose="00000500000000000000" pitchFamily="50" charset="0"/>
              </a:rPr>
              <a:t>Online Market</a:t>
            </a:r>
          </a:p>
        </p:txBody>
      </p:sp>
      <p:sp>
        <p:nvSpPr>
          <p:cNvPr id="29" name="TextBox 28">
            <a:extLst>
              <a:ext uri="{FF2B5EF4-FFF2-40B4-BE49-F238E27FC236}">
                <a16:creationId xmlns:a16="http://schemas.microsoft.com/office/drawing/2014/main" id="{A9DBA511-C6EC-4ECB-851D-AAA250F6E112}"/>
              </a:ext>
            </a:extLst>
          </p:cNvPr>
          <p:cNvSpPr txBox="1"/>
          <p:nvPr/>
        </p:nvSpPr>
        <p:spPr>
          <a:xfrm>
            <a:off x="9129751" y="3908890"/>
            <a:ext cx="1689886" cy="815608"/>
          </a:xfrm>
          <a:prstGeom prst="rect">
            <a:avLst/>
          </a:prstGeom>
          <a:noFill/>
        </p:spPr>
        <p:txBody>
          <a:bodyPr wrap="none" rtlCol="0">
            <a:spAutoFit/>
          </a:bodyPr>
          <a:lstStyle/>
          <a:p>
            <a:pPr algn="ctr"/>
            <a:r>
              <a:rPr lang="en-US" sz="1100" dirty="0">
                <a:solidFill>
                  <a:schemeClr val="bg1"/>
                </a:solidFill>
                <a:latin typeface="Montserrat" panose="00000500000000000000" pitchFamily="50" charset="0"/>
              </a:rPr>
              <a:t>SOM</a:t>
            </a:r>
          </a:p>
          <a:p>
            <a:pPr algn="ctr"/>
            <a:r>
              <a:rPr lang="en-US" sz="1600" b="1" dirty="0">
                <a:solidFill>
                  <a:schemeClr val="bg1"/>
                </a:solidFill>
                <a:latin typeface="Montserrat" panose="00000500000000000000" pitchFamily="50" charset="0"/>
              </a:rPr>
              <a:t>24BN USD</a:t>
            </a:r>
          </a:p>
          <a:p>
            <a:pPr algn="ctr"/>
            <a:r>
              <a:rPr lang="en-US" sz="1000" dirty="0">
                <a:solidFill>
                  <a:schemeClr val="bg1"/>
                </a:solidFill>
                <a:latin typeface="Montserrat" panose="00000500000000000000" pitchFamily="50" charset="0"/>
              </a:rPr>
              <a:t>US Custom</a:t>
            </a:r>
          </a:p>
          <a:p>
            <a:pPr algn="ctr"/>
            <a:r>
              <a:rPr lang="en-US" sz="1000" dirty="0">
                <a:solidFill>
                  <a:schemeClr val="bg1"/>
                </a:solidFill>
                <a:latin typeface="Montserrat" panose="00000500000000000000" pitchFamily="50" charset="0"/>
              </a:rPr>
              <a:t>Clothing Online Market</a:t>
            </a:r>
          </a:p>
        </p:txBody>
      </p:sp>
      <p:sp>
        <p:nvSpPr>
          <p:cNvPr id="32" name="TextBox 31">
            <a:extLst>
              <a:ext uri="{FF2B5EF4-FFF2-40B4-BE49-F238E27FC236}">
                <a16:creationId xmlns:a16="http://schemas.microsoft.com/office/drawing/2014/main" id="{4F5002AC-5769-4254-89C9-76BA65EA9D02}"/>
              </a:ext>
            </a:extLst>
          </p:cNvPr>
          <p:cNvSpPr txBox="1"/>
          <p:nvPr/>
        </p:nvSpPr>
        <p:spPr>
          <a:xfrm>
            <a:off x="8916529" y="5726617"/>
            <a:ext cx="2116338" cy="553998"/>
          </a:xfrm>
          <a:prstGeom prst="rect">
            <a:avLst/>
          </a:prstGeom>
          <a:noFill/>
        </p:spPr>
        <p:txBody>
          <a:bodyPr wrap="square" rtlCol="0">
            <a:spAutoFit/>
          </a:bodyPr>
          <a:lstStyle/>
          <a:p>
            <a:pPr algn="ctr"/>
            <a:r>
              <a:rPr lang="en-US" sz="1500" b="1" dirty="0">
                <a:solidFill>
                  <a:schemeClr val="tx2">
                    <a:lumMod val="60000"/>
                    <a:lumOff val="40000"/>
                  </a:schemeClr>
                </a:solidFill>
                <a:latin typeface="Montserrat" panose="00000500000000000000" pitchFamily="50" charset="0"/>
              </a:rPr>
              <a:t>Custom Clothing</a:t>
            </a:r>
          </a:p>
          <a:p>
            <a:pPr algn="ctr"/>
            <a:r>
              <a:rPr lang="en-US" sz="1500" b="1" dirty="0">
                <a:solidFill>
                  <a:schemeClr val="tx2">
                    <a:lumMod val="60000"/>
                    <a:lumOff val="40000"/>
                  </a:schemeClr>
                </a:solidFill>
                <a:latin typeface="Montserrat" panose="00000500000000000000" pitchFamily="50" charset="0"/>
              </a:rPr>
              <a:t>E-Retail</a:t>
            </a:r>
          </a:p>
        </p:txBody>
      </p:sp>
      <p:sp>
        <p:nvSpPr>
          <p:cNvPr id="47" name="TextBox 46">
            <a:extLst>
              <a:ext uri="{FF2B5EF4-FFF2-40B4-BE49-F238E27FC236}">
                <a16:creationId xmlns:a16="http://schemas.microsoft.com/office/drawing/2014/main" id="{A9B5AD8B-6D5C-454B-8C16-A1659BD2D449}"/>
              </a:ext>
            </a:extLst>
          </p:cNvPr>
          <p:cNvSpPr txBox="1"/>
          <p:nvPr/>
        </p:nvSpPr>
        <p:spPr>
          <a:xfrm>
            <a:off x="3188580" y="543492"/>
            <a:ext cx="5814840" cy="553998"/>
          </a:xfrm>
          <a:prstGeom prst="rect">
            <a:avLst/>
          </a:prstGeom>
          <a:noFill/>
        </p:spPr>
        <p:txBody>
          <a:bodyPr wrap="square" lIns="0" rtlCol="0">
            <a:spAutoFit/>
          </a:bodyPr>
          <a:lstStyle>
            <a:defPPr>
              <a:defRPr lang="en-US"/>
            </a:defPPr>
            <a:lvl1pPr>
              <a:defRPr sz="3000" b="1">
                <a:solidFill>
                  <a:schemeClr val="tx2">
                    <a:lumMod val="40000"/>
                    <a:lumOff val="60000"/>
                  </a:schemeClr>
                </a:solidFill>
                <a:latin typeface="Montserrat" panose="00000500000000000000" pitchFamily="50" charset="0"/>
              </a:defRPr>
            </a:lvl1pPr>
          </a:lstStyle>
          <a:p>
            <a:pPr algn="ctr"/>
            <a:r>
              <a:rPr lang="en-US" dirty="0"/>
              <a:t>TARGET MARKET ANALYSIS</a:t>
            </a:r>
          </a:p>
        </p:txBody>
      </p:sp>
    </p:spTree>
    <p:extLst>
      <p:ext uri="{BB962C8B-B14F-4D97-AF65-F5344CB8AC3E}">
        <p14:creationId xmlns:p14="http://schemas.microsoft.com/office/powerpoint/2010/main" val="2682078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500"/>
                                  </p:stCondLst>
                                  <p:childTnLst>
                                    <p:set>
                                      <p:cBhvr>
                                        <p:cTn id="6" dur="1" fill="hold">
                                          <p:stCondLst>
                                            <p:cond delay="0"/>
                                          </p:stCondLst>
                                        </p:cTn>
                                        <p:tgtEl>
                                          <p:spTgt spid="46"/>
                                        </p:tgtEl>
                                        <p:attrNameLst>
                                          <p:attrName>style.visibility</p:attrName>
                                        </p:attrNameLst>
                                      </p:cBhvr>
                                      <p:to>
                                        <p:strVal val="visible"/>
                                      </p:to>
                                    </p:set>
                                    <p:anim calcmode="lin" valueType="num">
                                      <p:cBhvr>
                                        <p:cTn id="7" dur="1250" fill="hold"/>
                                        <p:tgtEl>
                                          <p:spTgt spid="46"/>
                                        </p:tgtEl>
                                        <p:attrNameLst>
                                          <p:attrName>ppt_w</p:attrName>
                                        </p:attrNameLst>
                                      </p:cBhvr>
                                      <p:tavLst>
                                        <p:tav tm="0">
                                          <p:val>
                                            <p:fltVal val="0"/>
                                          </p:val>
                                        </p:tav>
                                        <p:tav tm="100000">
                                          <p:val>
                                            <p:strVal val="#ppt_w"/>
                                          </p:val>
                                        </p:tav>
                                      </p:tavLst>
                                    </p:anim>
                                    <p:anim calcmode="lin" valueType="num">
                                      <p:cBhvr>
                                        <p:cTn id="8" dur="1250" fill="hold"/>
                                        <p:tgtEl>
                                          <p:spTgt spid="46"/>
                                        </p:tgtEl>
                                        <p:attrNameLst>
                                          <p:attrName>ppt_h</p:attrName>
                                        </p:attrNameLst>
                                      </p:cBhvr>
                                      <p:tavLst>
                                        <p:tav tm="0">
                                          <p:val>
                                            <p:fltVal val="0"/>
                                          </p:val>
                                        </p:tav>
                                        <p:tav tm="100000">
                                          <p:val>
                                            <p:strVal val="#ppt_h"/>
                                          </p:val>
                                        </p:tav>
                                      </p:tavLst>
                                    </p:anim>
                                    <p:animEffect transition="in" filter="fade">
                                      <p:cBhvr>
                                        <p:cTn id="9" dur="1250"/>
                                        <p:tgtEl>
                                          <p:spTgt spid="46"/>
                                        </p:tgtEl>
                                      </p:cBhvr>
                                    </p:animEffect>
                                  </p:childTnLst>
                                </p:cTn>
                              </p:par>
                              <p:par>
                                <p:cTn id="10" presetID="53" presetClass="entr" presetSubtype="16" fill="hold" grpId="0" nodeType="withEffect">
                                  <p:stCondLst>
                                    <p:cond delay="250"/>
                                  </p:stCondLst>
                                  <p:childTnLst>
                                    <p:set>
                                      <p:cBhvr>
                                        <p:cTn id="11" dur="1" fill="hold">
                                          <p:stCondLst>
                                            <p:cond delay="0"/>
                                          </p:stCondLst>
                                        </p:cTn>
                                        <p:tgtEl>
                                          <p:spTgt spid="45"/>
                                        </p:tgtEl>
                                        <p:attrNameLst>
                                          <p:attrName>style.visibility</p:attrName>
                                        </p:attrNameLst>
                                      </p:cBhvr>
                                      <p:to>
                                        <p:strVal val="visible"/>
                                      </p:to>
                                    </p:set>
                                    <p:anim calcmode="lin" valueType="num">
                                      <p:cBhvr>
                                        <p:cTn id="12" dur="1250" fill="hold"/>
                                        <p:tgtEl>
                                          <p:spTgt spid="45"/>
                                        </p:tgtEl>
                                        <p:attrNameLst>
                                          <p:attrName>ppt_w</p:attrName>
                                        </p:attrNameLst>
                                      </p:cBhvr>
                                      <p:tavLst>
                                        <p:tav tm="0">
                                          <p:val>
                                            <p:fltVal val="0"/>
                                          </p:val>
                                        </p:tav>
                                        <p:tav tm="100000">
                                          <p:val>
                                            <p:strVal val="#ppt_w"/>
                                          </p:val>
                                        </p:tav>
                                      </p:tavLst>
                                    </p:anim>
                                    <p:anim calcmode="lin" valueType="num">
                                      <p:cBhvr>
                                        <p:cTn id="13" dur="1250" fill="hold"/>
                                        <p:tgtEl>
                                          <p:spTgt spid="45"/>
                                        </p:tgtEl>
                                        <p:attrNameLst>
                                          <p:attrName>ppt_h</p:attrName>
                                        </p:attrNameLst>
                                      </p:cBhvr>
                                      <p:tavLst>
                                        <p:tav tm="0">
                                          <p:val>
                                            <p:fltVal val="0"/>
                                          </p:val>
                                        </p:tav>
                                        <p:tav tm="100000">
                                          <p:val>
                                            <p:strVal val="#ppt_h"/>
                                          </p:val>
                                        </p:tav>
                                      </p:tavLst>
                                    </p:anim>
                                    <p:animEffect transition="in" filter="fade">
                                      <p:cBhvr>
                                        <p:cTn id="14" dur="1250"/>
                                        <p:tgtEl>
                                          <p:spTgt spid="45"/>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44"/>
                                        </p:tgtEl>
                                        <p:attrNameLst>
                                          <p:attrName>style.visibility</p:attrName>
                                        </p:attrNameLst>
                                      </p:cBhvr>
                                      <p:to>
                                        <p:strVal val="visible"/>
                                      </p:to>
                                    </p:set>
                                    <p:anim calcmode="lin" valueType="num">
                                      <p:cBhvr>
                                        <p:cTn id="17" dur="1250" fill="hold"/>
                                        <p:tgtEl>
                                          <p:spTgt spid="44"/>
                                        </p:tgtEl>
                                        <p:attrNameLst>
                                          <p:attrName>ppt_w</p:attrName>
                                        </p:attrNameLst>
                                      </p:cBhvr>
                                      <p:tavLst>
                                        <p:tav tm="0">
                                          <p:val>
                                            <p:fltVal val="0"/>
                                          </p:val>
                                        </p:tav>
                                        <p:tav tm="100000">
                                          <p:val>
                                            <p:strVal val="#ppt_w"/>
                                          </p:val>
                                        </p:tav>
                                      </p:tavLst>
                                    </p:anim>
                                    <p:anim calcmode="lin" valueType="num">
                                      <p:cBhvr>
                                        <p:cTn id="18" dur="1250" fill="hold"/>
                                        <p:tgtEl>
                                          <p:spTgt spid="44"/>
                                        </p:tgtEl>
                                        <p:attrNameLst>
                                          <p:attrName>ppt_h</p:attrName>
                                        </p:attrNameLst>
                                      </p:cBhvr>
                                      <p:tavLst>
                                        <p:tav tm="0">
                                          <p:val>
                                            <p:fltVal val="0"/>
                                          </p:val>
                                        </p:tav>
                                        <p:tav tm="100000">
                                          <p:val>
                                            <p:strVal val="#ppt_h"/>
                                          </p:val>
                                        </p:tav>
                                      </p:tavLst>
                                    </p:anim>
                                    <p:animEffect transition="in" filter="fade">
                                      <p:cBhvr>
                                        <p:cTn id="19" dur="1250"/>
                                        <p:tgtEl>
                                          <p:spTgt spid="44"/>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36"/>
                                        </p:tgtEl>
                                        <p:attrNameLst>
                                          <p:attrName>style.visibility</p:attrName>
                                        </p:attrNameLst>
                                      </p:cBhvr>
                                      <p:to>
                                        <p:strVal val="visible"/>
                                      </p:to>
                                    </p:set>
                                    <p:anim calcmode="lin" valueType="num">
                                      <p:cBhvr>
                                        <p:cTn id="22" dur="1250" fill="hold"/>
                                        <p:tgtEl>
                                          <p:spTgt spid="36"/>
                                        </p:tgtEl>
                                        <p:attrNameLst>
                                          <p:attrName>ppt_w</p:attrName>
                                        </p:attrNameLst>
                                      </p:cBhvr>
                                      <p:tavLst>
                                        <p:tav tm="0">
                                          <p:val>
                                            <p:fltVal val="0"/>
                                          </p:val>
                                        </p:tav>
                                        <p:tav tm="100000">
                                          <p:val>
                                            <p:strVal val="#ppt_w"/>
                                          </p:val>
                                        </p:tav>
                                      </p:tavLst>
                                    </p:anim>
                                    <p:anim calcmode="lin" valueType="num">
                                      <p:cBhvr>
                                        <p:cTn id="23" dur="1250" fill="hold"/>
                                        <p:tgtEl>
                                          <p:spTgt spid="36"/>
                                        </p:tgtEl>
                                        <p:attrNameLst>
                                          <p:attrName>ppt_h</p:attrName>
                                        </p:attrNameLst>
                                      </p:cBhvr>
                                      <p:tavLst>
                                        <p:tav tm="0">
                                          <p:val>
                                            <p:fltVal val="0"/>
                                          </p:val>
                                        </p:tav>
                                        <p:tav tm="100000">
                                          <p:val>
                                            <p:strVal val="#ppt_h"/>
                                          </p:val>
                                        </p:tav>
                                      </p:tavLst>
                                    </p:anim>
                                    <p:animEffect transition="in" filter="fade">
                                      <p:cBhvr>
                                        <p:cTn id="24" dur="1250"/>
                                        <p:tgtEl>
                                          <p:spTgt spid="36"/>
                                        </p:tgtEl>
                                      </p:cBhvr>
                                    </p:animEffect>
                                  </p:childTnLst>
                                </p:cTn>
                              </p:par>
                              <p:par>
                                <p:cTn id="25" presetID="53" presetClass="entr" presetSubtype="16" fill="hold" grpId="0" nodeType="withEffect">
                                  <p:stCondLst>
                                    <p:cond delay="250"/>
                                  </p:stCondLst>
                                  <p:childTnLst>
                                    <p:set>
                                      <p:cBhvr>
                                        <p:cTn id="26" dur="1" fill="hold">
                                          <p:stCondLst>
                                            <p:cond delay="0"/>
                                          </p:stCondLst>
                                        </p:cTn>
                                        <p:tgtEl>
                                          <p:spTgt spid="37"/>
                                        </p:tgtEl>
                                        <p:attrNameLst>
                                          <p:attrName>style.visibility</p:attrName>
                                        </p:attrNameLst>
                                      </p:cBhvr>
                                      <p:to>
                                        <p:strVal val="visible"/>
                                      </p:to>
                                    </p:set>
                                    <p:anim calcmode="lin" valueType="num">
                                      <p:cBhvr>
                                        <p:cTn id="27" dur="1250" fill="hold"/>
                                        <p:tgtEl>
                                          <p:spTgt spid="37"/>
                                        </p:tgtEl>
                                        <p:attrNameLst>
                                          <p:attrName>ppt_w</p:attrName>
                                        </p:attrNameLst>
                                      </p:cBhvr>
                                      <p:tavLst>
                                        <p:tav tm="0">
                                          <p:val>
                                            <p:fltVal val="0"/>
                                          </p:val>
                                        </p:tav>
                                        <p:tav tm="100000">
                                          <p:val>
                                            <p:strVal val="#ppt_w"/>
                                          </p:val>
                                        </p:tav>
                                      </p:tavLst>
                                    </p:anim>
                                    <p:anim calcmode="lin" valueType="num">
                                      <p:cBhvr>
                                        <p:cTn id="28" dur="1250" fill="hold"/>
                                        <p:tgtEl>
                                          <p:spTgt spid="37"/>
                                        </p:tgtEl>
                                        <p:attrNameLst>
                                          <p:attrName>ppt_h</p:attrName>
                                        </p:attrNameLst>
                                      </p:cBhvr>
                                      <p:tavLst>
                                        <p:tav tm="0">
                                          <p:val>
                                            <p:fltVal val="0"/>
                                          </p:val>
                                        </p:tav>
                                        <p:tav tm="100000">
                                          <p:val>
                                            <p:strVal val="#ppt_h"/>
                                          </p:val>
                                        </p:tav>
                                      </p:tavLst>
                                    </p:anim>
                                    <p:animEffect transition="in" filter="fade">
                                      <p:cBhvr>
                                        <p:cTn id="29" dur="1250"/>
                                        <p:tgtEl>
                                          <p:spTgt spid="37"/>
                                        </p:tgtEl>
                                      </p:cBhvr>
                                    </p:animEffect>
                                  </p:childTnLst>
                                </p:cTn>
                              </p:par>
                              <p:par>
                                <p:cTn id="30" presetID="53" presetClass="entr" presetSubtype="16" fill="hold" grpId="0" nodeType="withEffect">
                                  <p:stCondLst>
                                    <p:cond delay="500"/>
                                  </p:stCondLst>
                                  <p:childTnLst>
                                    <p:set>
                                      <p:cBhvr>
                                        <p:cTn id="31" dur="1" fill="hold">
                                          <p:stCondLst>
                                            <p:cond delay="0"/>
                                          </p:stCondLst>
                                        </p:cTn>
                                        <p:tgtEl>
                                          <p:spTgt spid="38"/>
                                        </p:tgtEl>
                                        <p:attrNameLst>
                                          <p:attrName>style.visibility</p:attrName>
                                        </p:attrNameLst>
                                      </p:cBhvr>
                                      <p:to>
                                        <p:strVal val="visible"/>
                                      </p:to>
                                    </p:set>
                                    <p:anim calcmode="lin" valueType="num">
                                      <p:cBhvr>
                                        <p:cTn id="32" dur="1250" fill="hold"/>
                                        <p:tgtEl>
                                          <p:spTgt spid="38"/>
                                        </p:tgtEl>
                                        <p:attrNameLst>
                                          <p:attrName>ppt_w</p:attrName>
                                        </p:attrNameLst>
                                      </p:cBhvr>
                                      <p:tavLst>
                                        <p:tav tm="0">
                                          <p:val>
                                            <p:fltVal val="0"/>
                                          </p:val>
                                        </p:tav>
                                        <p:tav tm="100000">
                                          <p:val>
                                            <p:strVal val="#ppt_w"/>
                                          </p:val>
                                        </p:tav>
                                      </p:tavLst>
                                    </p:anim>
                                    <p:anim calcmode="lin" valueType="num">
                                      <p:cBhvr>
                                        <p:cTn id="33" dur="1250" fill="hold"/>
                                        <p:tgtEl>
                                          <p:spTgt spid="38"/>
                                        </p:tgtEl>
                                        <p:attrNameLst>
                                          <p:attrName>ppt_h</p:attrName>
                                        </p:attrNameLst>
                                      </p:cBhvr>
                                      <p:tavLst>
                                        <p:tav tm="0">
                                          <p:val>
                                            <p:fltVal val="0"/>
                                          </p:val>
                                        </p:tav>
                                        <p:tav tm="100000">
                                          <p:val>
                                            <p:strVal val="#ppt_h"/>
                                          </p:val>
                                        </p:tav>
                                      </p:tavLst>
                                    </p:anim>
                                    <p:animEffect transition="in" filter="fade">
                                      <p:cBhvr>
                                        <p:cTn id="34" dur="1250"/>
                                        <p:tgtEl>
                                          <p:spTgt spid="38"/>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21"/>
                                        </p:tgtEl>
                                        <p:attrNameLst>
                                          <p:attrName>style.visibility</p:attrName>
                                        </p:attrNameLst>
                                      </p:cBhvr>
                                      <p:to>
                                        <p:strVal val="visible"/>
                                      </p:to>
                                    </p:set>
                                    <p:anim calcmode="lin" valueType="num">
                                      <p:cBhvr>
                                        <p:cTn id="37" dur="1250" fill="hold"/>
                                        <p:tgtEl>
                                          <p:spTgt spid="21"/>
                                        </p:tgtEl>
                                        <p:attrNameLst>
                                          <p:attrName>ppt_w</p:attrName>
                                        </p:attrNameLst>
                                      </p:cBhvr>
                                      <p:tavLst>
                                        <p:tav tm="0">
                                          <p:val>
                                            <p:fltVal val="0"/>
                                          </p:val>
                                        </p:tav>
                                        <p:tav tm="100000">
                                          <p:val>
                                            <p:strVal val="#ppt_w"/>
                                          </p:val>
                                        </p:tav>
                                      </p:tavLst>
                                    </p:anim>
                                    <p:anim calcmode="lin" valueType="num">
                                      <p:cBhvr>
                                        <p:cTn id="38" dur="1250" fill="hold"/>
                                        <p:tgtEl>
                                          <p:spTgt spid="21"/>
                                        </p:tgtEl>
                                        <p:attrNameLst>
                                          <p:attrName>ppt_h</p:attrName>
                                        </p:attrNameLst>
                                      </p:cBhvr>
                                      <p:tavLst>
                                        <p:tav tm="0">
                                          <p:val>
                                            <p:fltVal val="0"/>
                                          </p:val>
                                        </p:tav>
                                        <p:tav tm="100000">
                                          <p:val>
                                            <p:strVal val="#ppt_h"/>
                                          </p:val>
                                        </p:tav>
                                      </p:tavLst>
                                    </p:anim>
                                    <p:animEffect transition="in" filter="fade">
                                      <p:cBhvr>
                                        <p:cTn id="39" dur="1250"/>
                                        <p:tgtEl>
                                          <p:spTgt spid="21"/>
                                        </p:tgtEl>
                                      </p:cBhvr>
                                    </p:animEffect>
                                  </p:childTnLst>
                                </p:cTn>
                              </p:par>
                              <p:par>
                                <p:cTn id="40" presetID="53" presetClass="entr" presetSubtype="16" fill="hold" grpId="0" nodeType="withEffect">
                                  <p:stCondLst>
                                    <p:cond delay="250"/>
                                  </p:stCondLst>
                                  <p:childTnLst>
                                    <p:set>
                                      <p:cBhvr>
                                        <p:cTn id="41" dur="1" fill="hold">
                                          <p:stCondLst>
                                            <p:cond delay="0"/>
                                          </p:stCondLst>
                                        </p:cTn>
                                        <p:tgtEl>
                                          <p:spTgt spid="22"/>
                                        </p:tgtEl>
                                        <p:attrNameLst>
                                          <p:attrName>style.visibility</p:attrName>
                                        </p:attrNameLst>
                                      </p:cBhvr>
                                      <p:to>
                                        <p:strVal val="visible"/>
                                      </p:to>
                                    </p:set>
                                    <p:anim calcmode="lin" valueType="num">
                                      <p:cBhvr>
                                        <p:cTn id="42" dur="1250" fill="hold"/>
                                        <p:tgtEl>
                                          <p:spTgt spid="22"/>
                                        </p:tgtEl>
                                        <p:attrNameLst>
                                          <p:attrName>ppt_w</p:attrName>
                                        </p:attrNameLst>
                                      </p:cBhvr>
                                      <p:tavLst>
                                        <p:tav tm="0">
                                          <p:val>
                                            <p:fltVal val="0"/>
                                          </p:val>
                                        </p:tav>
                                        <p:tav tm="100000">
                                          <p:val>
                                            <p:strVal val="#ppt_w"/>
                                          </p:val>
                                        </p:tav>
                                      </p:tavLst>
                                    </p:anim>
                                    <p:anim calcmode="lin" valueType="num">
                                      <p:cBhvr>
                                        <p:cTn id="43" dur="1250" fill="hold"/>
                                        <p:tgtEl>
                                          <p:spTgt spid="22"/>
                                        </p:tgtEl>
                                        <p:attrNameLst>
                                          <p:attrName>ppt_h</p:attrName>
                                        </p:attrNameLst>
                                      </p:cBhvr>
                                      <p:tavLst>
                                        <p:tav tm="0">
                                          <p:val>
                                            <p:fltVal val="0"/>
                                          </p:val>
                                        </p:tav>
                                        <p:tav tm="100000">
                                          <p:val>
                                            <p:strVal val="#ppt_h"/>
                                          </p:val>
                                        </p:tav>
                                      </p:tavLst>
                                    </p:anim>
                                    <p:animEffect transition="in" filter="fade">
                                      <p:cBhvr>
                                        <p:cTn id="44" dur="1250"/>
                                        <p:tgtEl>
                                          <p:spTgt spid="22"/>
                                        </p:tgtEl>
                                      </p:cBhvr>
                                    </p:animEffect>
                                  </p:childTnLst>
                                </p:cTn>
                              </p:par>
                              <p:par>
                                <p:cTn id="45" presetID="53" presetClass="entr" presetSubtype="16" fill="hold" grpId="0" nodeType="withEffect">
                                  <p:stCondLst>
                                    <p:cond delay="500"/>
                                  </p:stCondLst>
                                  <p:childTnLst>
                                    <p:set>
                                      <p:cBhvr>
                                        <p:cTn id="46" dur="1" fill="hold">
                                          <p:stCondLst>
                                            <p:cond delay="0"/>
                                          </p:stCondLst>
                                        </p:cTn>
                                        <p:tgtEl>
                                          <p:spTgt spid="23"/>
                                        </p:tgtEl>
                                        <p:attrNameLst>
                                          <p:attrName>style.visibility</p:attrName>
                                        </p:attrNameLst>
                                      </p:cBhvr>
                                      <p:to>
                                        <p:strVal val="visible"/>
                                      </p:to>
                                    </p:set>
                                    <p:anim calcmode="lin" valueType="num">
                                      <p:cBhvr>
                                        <p:cTn id="47" dur="1250" fill="hold"/>
                                        <p:tgtEl>
                                          <p:spTgt spid="23"/>
                                        </p:tgtEl>
                                        <p:attrNameLst>
                                          <p:attrName>ppt_w</p:attrName>
                                        </p:attrNameLst>
                                      </p:cBhvr>
                                      <p:tavLst>
                                        <p:tav tm="0">
                                          <p:val>
                                            <p:fltVal val="0"/>
                                          </p:val>
                                        </p:tav>
                                        <p:tav tm="100000">
                                          <p:val>
                                            <p:strVal val="#ppt_w"/>
                                          </p:val>
                                        </p:tav>
                                      </p:tavLst>
                                    </p:anim>
                                    <p:anim calcmode="lin" valueType="num">
                                      <p:cBhvr>
                                        <p:cTn id="48" dur="1250" fill="hold"/>
                                        <p:tgtEl>
                                          <p:spTgt spid="23"/>
                                        </p:tgtEl>
                                        <p:attrNameLst>
                                          <p:attrName>ppt_h</p:attrName>
                                        </p:attrNameLst>
                                      </p:cBhvr>
                                      <p:tavLst>
                                        <p:tav tm="0">
                                          <p:val>
                                            <p:fltVal val="0"/>
                                          </p:val>
                                        </p:tav>
                                        <p:tav tm="100000">
                                          <p:val>
                                            <p:strVal val="#ppt_h"/>
                                          </p:val>
                                        </p:tav>
                                      </p:tavLst>
                                    </p:anim>
                                    <p:animEffect transition="in" filter="fade">
                                      <p:cBhvr>
                                        <p:cTn id="49" dur="1250"/>
                                        <p:tgtEl>
                                          <p:spTgt spid="23"/>
                                        </p:tgtEl>
                                      </p:cBhvr>
                                    </p:animEffect>
                                  </p:childTnLst>
                                </p:cTn>
                              </p:par>
                              <p:par>
                                <p:cTn id="50" presetID="55" presetClass="entr" presetSubtype="0" fill="hold" grpId="0" nodeType="withEffect">
                                  <p:stCondLst>
                                    <p:cond delay="1500"/>
                                  </p:stCondLst>
                                  <p:childTnLst>
                                    <p:set>
                                      <p:cBhvr>
                                        <p:cTn id="51" dur="1" fill="hold">
                                          <p:stCondLst>
                                            <p:cond delay="0"/>
                                          </p:stCondLst>
                                        </p:cTn>
                                        <p:tgtEl>
                                          <p:spTgt spid="10"/>
                                        </p:tgtEl>
                                        <p:attrNameLst>
                                          <p:attrName>style.visibility</p:attrName>
                                        </p:attrNameLst>
                                      </p:cBhvr>
                                      <p:to>
                                        <p:strVal val="visible"/>
                                      </p:to>
                                    </p:set>
                                    <p:anim calcmode="lin" valueType="num">
                                      <p:cBhvr>
                                        <p:cTn id="52" dur="1000" fill="hold"/>
                                        <p:tgtEl>
                                          <p:spTgt spid="10"/>
                                        </p:tgtEl>
                                        <p:attrNameLst>
                                          <p:attrName>ppt_w</p:attrName>
                                        </p:attrNameLst>
                                      </p:cBhvr>
                                      <p:tavLst>
                                        <p:tav tm="0">
                                          <p:val>
                                            <p:strVal val="#ppt_w*0.70"/>
                                          </p:val>
                                        </p:tav>
                                        <p:tav tm="100000">
                                          <p:val>
                                            <p:strVal val="#ppt_w"/>
                                          </p:val>
                                        </p:tav>
                                      </p:tavLst>
                                    </p:anim>
                                    <p:anim calcmode="lin" valueType="num">
                                      <p:cBhvr>
                                        <p:cTn id="53" dur="1000" fill="hold"/>
                                        <p:tgtEl>
                                          <p:spTgt spid="10"/>
                                        </p:tgtEl>
                                        <p:attrNameLst>
                                          <p:attrName>ppt_h</p:attrName>
                                        </p:attrNameLst>
                                      </p:cBhvr>
                                      <p:tavLst>
                                        <p:tav tm="0">
                                          <p:val>
                                            <p:strVal val="#ppt_h"/>
                                          </p:val>
                                        </p:tav>
                                        <p:tav tm="100000">
                                          <p:val>
                                            <p:strVal val="#ppt_h"/>
                                          </p:val>
                                        </p:tav>
                                      </p:tavLst>
                                    </p:anim>
                                    <p:animEffect transition="in" filter="fade">
                                      <p:cBhvr>
                                        <p:cTn id="54" dur="1000"/>
                                        <p:tgtEl>
                                          <p:spTgt spid="10"/>
                                        </p:tgtEl>
                                      </p:cBhvr>
                                    </p:animEffect>
                                  </p:childTnLst>
                                </p:cTn>
                              </p:par>
                              <p:par>
                                <p:cTn id="55" presetID="55" presetClass="entr" presetSubtype="0" fill="hold" grpId="0" nodeType="withEffect">
                                  <p:stCondLst>
                                    <p:cond delay="1500"/>
                                  </p:stCondLst>
                                  <p:childTnLst>
                                    <p:set>
                                      <p:cBhvr>
                                        <p:cTn id="56" dur="1" fill="hold">
                                          <p:stCondLst>
                                            <p:cond delay="0"/>
                                          </p:stCondLst>
                                        </p:cTn>
                                        <p:tgtEl>
                                          <p:spTgt spid="24"/>
                                        </p:tgtEl>
                                        <p:attrNameLst>
                                          <p:attrName>style.visibility</p:attrName>
                                        </p:attrNameLst>
                                      </p:cBhvr>
                                      <p:to>
                                        <p:strVal val="visible"/>
                                      </p:to>
                                    </p:set>
                                    <p:anim calcmode="lin" valueType="num">
                                      <p:cBhvr>
                                        <p:cTn id="57" dur="1000" fill="hold"/>
                                        <p:tgtEl>
                                          <p:spTgt spid="24"/>
                                        </p:tgtEl>
                                        <p:attrNameLst>
                                          <p:attrName>ppt_w</p:attrName>
                                        </p:attrNameLst>
                                      </p:cBhvr>
                                      <p:tavLst>
                                        <p:tav tm="0">
                                          <p:val>
                                            <p:strVal val="#ppt_w*0.70"/>
                                          </p:val>
                                        </p:tav>
                                        <p:tav tm="100000">
                                          <p:val>
                                            <p:strVal val="#ppt_w"/>
                                          </p:val>
                                        </p:tav>
                                      </p:tavLst>
                                    </p:anim>
                                    <p:anim calcmode="lin" valueType="num">
                                      <p:cBhvr>
                                        <p:cTn id="58" dur="1000" fill="hold"/>
                                        <p:tgtEl>
                                          <p:spTgt spid="24"/>
                                        </p:tgtEl>
                                        <p:attrNameLst>
                                          <p:attrName>ppt_h</p:attrName>
                                        </p:attrNameLst>
                                      </p:cBhvr>
                                      <p:tavLst>
                                        <p:tav tm="0">
                                          <p:val>
                                            <p:strVal val="#ppt_h"/>
                                          </p:val>
                                        </p:tav>
                                        <p:tav tm="100000">
                                          <p:val>
                                            <p:strVal val="#ppt_h"/>
                                          </p:val>
                                        </p:tav>
                                      </p:tavLst>
                                    </p:anim>
                                    <p:animEffect transition="in" filter="fade">
                                      <p:cBhvr>
                                        <p:cTn id="59" dur="1000"/>
                                        <p:tgtEl>
                                          <p:spTgt spid="24"/>
                                        </p:tgtEl>
                                      </p:cBhvr>
                                    </p:animEffect>
                                  </p:childTnLst>
                                </p:cTn>
                              </p:par>
                              <p:par>
                                <p:cTn id="60" presetID="55" presetClass="entr" presetSubtype="0" fill="hold" grpId="0" nodeType="withEffect">
                                  <p:stCondLst>
                                    <p:cond delay="1500"/>
                                  </p:stCondLst>
                                  <p:childTnLst>
                                    <p:set>
                                      <p:cBhvr>
                                        <p:cTn id="61" dur="1" fill="hold">
                                          <p:stCondLst>
                                            <p:cond delay="0"/>
                                          </p:stCondLst>
                                        </p:cTn>
                                        <p:tgtEl>
                                          <p:spTgt spid="27"/>
                                        </p:tgtEl>
                                        <p:attrNameLst>
                                          <p:attrName>style.visibility</p:attrName>
                                        </p:attrNameLst>
                                      </p:cBhvr>
                                      <p:to>
                                        <p:strVal val="visible"/>
                                      </p:to>
                                    </p:set>
                                    <p:anim calcmode="lin" valueType="num">
                                      <p:cBhvr>
                                        <p:cTn id="62" dur="1000" fill="hold"/>
                                        <p:tgtEl>
                                          <p:spTgt spid="27"/>
                                        </p:tgtEl>
                                        <p:attrNameLst>
                                          <p:attrName>ppt_w</p:attrName>
                                        </p:attrNameLst>
                                      </p:cBhvr>
                                      <p:tavLst>
                                        <p:tav tm="0">
                                          <p:val>
                                            <p:strVal val="#ppt_w*0.70"/>
                                          </p:val>
                                        </p:tav>
                                        <p:tav tm="100000">
                                          <p:val>
                                            <p:strVal val="#ppt_w"/>
                                          </p:val>
                                        </p:tav>
                                      </p:tavLst>
                                    </p:anim>
                                    <p:anim calcmode="lin" valueType="num">
                                      <p:cBhvr>
                                        <p:cTn id="63" dur="1000" fill="hold"/>
                                        <p:tgtEl>
                                          <p:spTgt spid="27"/>
                                        </p:tgtEl>
                                        <p:attrNameLst>
                                          <p:attrName>ppt_h</p:attrName>
                                        </p:attrNameLst>
                                      </p:cBhvr>
                                      <p:tavLst>
                                        <p:tav tm="0">
                                          <p:val>
                                            <p:strVal val="#ppt_h"/>
                                          </p:val>
                                        </p:tav>
                                        <p:tav tm="100000">
                                          <p:val>
                                            <p:strVal val="#ppt_h"/>
                                          </p:val>
                                        </p:tav>
                                      </p:tavLst>
                                    </p:anim>
                                    <p:animEffect transition="in" filter="fade">
                                      <p:cBhvr>
                                        <p:cTn id="64" dur="1000"/>
                                        <p:tgtEl>
                                          <p:spTgt spid="27"/>
                                        </p:tgtEl>
                                      </p:cBhvr>
                                    </p:animEffect>
                                  </p:childTnLst>
                                </p:cTn>
                              </p:par>
                              <p:par>
                                <p:cTn id="65" presetID="12" presetClass="entr" presetSubtype="1" fill="hold" grpId="0" nodeType="withEffect">
                                  <p:stCondLst>
                                    <p:cond delay="3000"/>
                                  </p:stCondLst>
                                  <p:childTnLst>
                                    <p:set>
                                      <p:cBhvr>
                                        <p:cTn id="66" dur="1" fill="hold">
                                          <p:stCondLst>
                                            <p:cond delay="0"/>
                                          </p:stCondLst>
                                        </p:cTn>
                                        <p:tgtEl>
                                          <p:spTgt spid="30"/>
                                        </p:tgtEl>
                                        <p:attrNameLst>
                                          <p:attrName>style.visibility</p:attrName>
                                        </p:attrNameLst>
                                      </p:cBhvr>
                                      <p:to>
                                        <p:strVal val="visible"/>
                                      </p:to>
                                    </p:set>
                                    <p:anim calcmode="lin" valueType="num">
                                      <p:cBhvr additive="base">
                                        <p:cTn id="67" dur="1000"/>
                                        <p:tgtEl>
                                          <p:spTgt spid="30"/>
                                        </p:tgtEl>
                                        <p:attrNameLst>
                                          <p:attrName>ppt_y</p:attrName>
                                        </p:attrNameLst>
                                      </p:cBhvr>
                                      <p:tavLst>
                                        <p:tav tm="0">
                                          <p:val>
                                            <p:strVal val="#ppt_y-#ppt_h*1.125000"/>
                                          </p:val>
                                        </p:tav>
                                        <p:tav tm="100000">
                                          <p:val>
                                            <p:strVal val="#ppt_y"/>
                                          </p:val>
                                        </p:tav>
                                      </p:tavLst>
                                    </p:anim>
                                    <p:animEffect transition="in" filter="wipe(down)">
                                      <p:cBhvr>
                                        <p:cTn id="68" dur="1000"/>
                                        <p:tgtEl>
                                          <p:spTgt spid="30"/>
                                        </p:tgtEl>
                                      </p:cBhvr>
                                    </p:animEffect>
                                  </p:childTnLst>
                                </p:cTn>
                              </p:par>
                              <p:par>
                                <p:cTn id="69" presetID="12" presetClass="entr" presetSubtype="1" fill="hold" grpId="0" nodeType="withEffect">
                                  <p:stCondLst>
                                    <p:cond delay="3000"/>
                                  </p:stCondLst>
                                  <p:childTnLst>
                                    <p:set>
                                      <p:cBhvr>
                                        <p:cTn id="70" dur="1" fill="hold">
                                          <p:stCondLst>
                                            <p:cond delay="0"/>
                                          </p:stCondLst>
                                        </p:cTn>
                                        <p:tgtEl>
                                          <p:spTgt spid="31"/>
                                        </p:tgtEl>
                                        <p:attrNameLst>
                                          <p:attrName>style.visibility</p:attrName>
                                        </p:attrNameLst>
                                      </p:cBhvr>
                                      <p:to>
                                        <p:strVal val="visible"/>
                                      </p:to>
                                    </p:set>
                                    <p:anim calcmode="lin" valueType="num">
                                      <p:cBhvr additive="base">
                                        <p:cTn id="71" dur="1000"/>
                                        <p:tgtEl>
                                          <p:spTgt spid="31"/>
                                        </p:tgtEl>
                                        <p:attrNameLst>
                                          <p:attrName>ppt_y</p:attrName>
                                        </p:attrNameLst>
                                      </p:cBhvr>
                                      <p:tavLst>
                                        <p:tav tm="0">
                                          <p:val>
                                            <p:strVal val="#ppt_y-#ppt_h*1.125000"/>
                                          </p:val>
                                        </p:tav>
                                        <p:tav tm="100000">
                                          <p:val>
                                            <p:strVal val="#ppt_y"/>
                                          </p:val>
                                        </p:tav>
                                      </p:tavLst>
                                    </p:anim>
                                    <p:animEffect transition="in" filter="wipe(down)">
                                      <p:cBhvr>
                                        <p:cTn id="72" dur="1000"/>
                                        <p:tgtEl>
                                          <p:spTgt spid="31"/>
                                        </p:tgtEl>
                                      </p:cBhvr>
                                    </p:animEffect>
                                  </p:childTnLst>
                                </p:cTn>
                              </p:par>
                              <p:par>
                                <p:cTn id="73" presetID="12" presetClass="entr" presetSubtype="1" fill="hold" grpId="0" nodeType="withEffect">
                                  <p:stCondLst>
                                    <p:cond delay="3000"/>
                                  </p:stCondLst>
                                  <p:childTnLst>
                                    <p:set>
                                      <p:cBhvr>
                                        <p:cTn id="74" dur="1" fill="hold">
                                          <p:stCondLst>
                                            <p:cond delay="0"/>
                                          </p:stCondLst>
                                        </p:cTn>
                                        <p:tgtEl>
                                          <p:spTgt spid="32"/>
                                        </p:tgtEl>
                                        <p:attrNameLst>
                                          <p:attrName>style.visibility</p:attrName>
                                        </p:attrNameLst>
                                      </p:cBhvr>
                                      <p:to>
                                        <p:strVal val="visible"/>
                                      </p:to>
                                    </p:set>
                                    <p:anim calcmode="lin" valueType="num">
                                      <p:cBhvr additive="base">
                                        <p:cTn id="75" dur="1000"/>
                                        <p:tgtEl>
                                          <p:spTgt spid="32"/>
                                        </p:tgtEl>
                                        <p:attrNameLst>
                                          <p:attrName>ppt_y</p:attrName>
                                        </p:attrNameLst>
                                      </p:cBhvr>
                                      <p:tavLst>
                                        <p:tav tm="0">
                                          <p:val>
                                            <p:strVal val="#ppt_y-#ppt_h*1.125000"/>
                                          </p:val>
                                        </p:tav>
                                        <p:tav tm="100000">
                                          <p:val>
                                            <p:strVal val="#ppt_y"/>
                                          </p:val>
                                        </p:tav>
                                      </p:tavLst>
                                    </p:anim>
                                    <p:animEffect transition="in" filter="wipe(down)">
                                      <p:cBhvr>
                                        <p:cTn id="76" dur="1000"/>
                                        <p:tgtEl>
                                          <p:spTgt spid="32"/>
                                        </p:tgtEl>
                                      </p:cBhvr>
                                    </p:animEffect>
                                  </p:childTnLst>
                                </p:cTn>
                              </p:par>
                              <p:par>
                                <p:cTn id="77" presetID="55" presetClass="entr" presetSubtype="0" fill="hold" grpId="0" nodeType="withEffect">
                                  <p:stCondLst>
                                    <p:cond delay="2000"/>
                                  </p:stCondLst>
                                  <p:childTnLst>
                                    <p:set>
                                      <p:cBhvr>
                                        <p:cTn id="78" dur="1" fill="hold">
                                          <p:stCondLst>
                                            <p:cond delay="0"/>
                                          </p:stCondLst>
                                        </p:cTn>
                                        <p:tgtEl>
                                          <p:spTgt spid="50"/>
                                        </p:tgtEl>
                                        <p:attrNameLst>
                                          <p:attrName>style.visibility</p:attrName>
                                        </p:attrNameLst>
                                      </p:cBhvr>
                                      <p:to>
                                        <p:strVal val="visible"/>
                                      </p:to>
                                    </p:set>
                                    <p:anim calcmode="lin" valueType="num">
                                      <p:cBhvr>
                                        <p:cTn id="79" dur="1000" fill="hold"/>
                                        <p:tgtEl>
                                          <p:spTgt spid="50"/>
                                        </p:tgtEl>
                                        <p:attrNameLst>
                                          <p:attrName>ppt_w</p:attrName>
                                        </p:attrNameLst>
                                      </p:cBhvr>
                                      <p:tavLst>
                                        <p:tav tm="0">
                                          <p:val>
                                            <p:strVal val="#ppt_w*0.70"/>
                                          </p:val>
                                        </p:tav>
                                        <p:tav tm="100000">
                                          <p:val>
                                            <p:strVal val="#ppt_w"/>
                                          </p:val>
                                        </p:tav>
                                      </p:tavLst>
                                    </p:anim>
                                    <p:anim calcmode="lin" valueType="num">
                                      <p:cBhvr>
                                        <p:cTn id="80" dur="1000" fill="hold"/>
                                        <p:tgtEl>
                                          <p:spTgt spid="50"/>
                                        </p:tgtEl>
                                        <p:attrNameLst>
                                          <p:attrName>ppt_h</p:attrName>
                                        </p:attrNameLst>
                                      </p:cBhvr>
                                      <p:tavLst>
                                        <p:tav tm="0">
                                          <p:val>
                                            <p:strVal val="#ppt_h"/>
                                          </p:val>
                                        </p:tav>
                                        <p:tav tm="100000">
                                          <p:val>
                                            <p:strVal val="#ppt_h"/>
                                          </p:val>
                                        </p:tav>
                                      </p:tavLst>
                                    </p:anim>
                                    <p:animEffect transition="in" filter="fade">
                                      <p:cBhvr>
                                        <p:cTn id="81" dur="1000"/>
                                        <p:tgtEl>
                                          <p:spTgt spid="50"/>
                                        </p:tgtEl>
                                      </p:cBhvr>
                                    </p:animEffect>
                                  </p:childTnLst>
                                </p:cTn>
                              </p:par>
                              <p:par>
                                <p:cTn id="82" presetID="55" presetClass="entr" presetSubtype="0" fill="hold" grpId="0" nodeType="withEffect">
                                  <p:stCondLst>
                                    <p:cond delay="2000"/>
                                  </p:stCondLst>
                                  <p:childTnLst>
                                    <p:set>
                                      <p:cBhvr>
                                        <p:cTn id="83" dur="1" fill="hold">
                                          <p:stCondLst>
                                            <p:cond delay="0"/>
                                          </p:stCondLst>
                                        </p:cTn>
                                        <p:tgtEl>
                                          <p:spTgt spid="25"/>
                                        </p:tgtEl>
                                        <p:attrNameLst>
                                          <p:attrName>style.visibility</p:attrName>
                                        </p:attrNameLst>
                                      </p:cBhvr>
                                      <p:to>
                                        <p:strVal val="visible"/>
                                      </p:to>
                                    </p:set>
                                    <p:anim calcmode="lin" valueType="num">
                                      <p:cBhvr>
                                        <p:cTn id="84" dur="1000" fill="hold"/>
                                        <p:tgtEl>
                                          <p:spTgt spid="25"/>
                                        </p:tgtEl>
                                        <p:attrNameLst>
                                          <p:attrName>ppt_w</p:attrName>
                                        </p:attrNameLst>
                                      </p:cBhvr>
                                      <p:tavLst>
                                        <p:tav tm="0">
                                          <p:val>
                                            <p:strVal val="#ppt_w*0.70"/>
                                          </p:val>
                                        </p:tav>
                                        <p:tav tm="100000">
                                          <p:val>
                                            <p:strVal val="#ppt_w"/>
                                          </p:val>
                                        </p:tav>
                                      </p:tavLst>
                                    </p:anim>
                                    <p:anim calcmode="lin" valueType="num">
                                      <p:cBhvr>
                                        <p:cTn id="85" dur="1000" fill="hold"/>
                                        <p:tgtEl>
                                          <p:spTgt spid="25"/>
                                        </p:tgtEl>
                                        <p:attrNameLst>
                                          <p:attrName>ppt_h</p:attrName>
                                        </p:attrNameLst>
                                      </p:cBhvr>
                                      <p:tavLst>
                                        <p:tav tm="0">
                                          <p:val>
                                            <p:strVal val="#ppt_h"/>
                                          </p:val>
                                        </p:tav>
                                        <p:tav tm="100000">
                                          <p:val>
                                            <p:strVal val="#ppt_h"/>
                                          </p:val>
                                        </p:tav>
                                      </p:tavLst>
                                    </p:anim>
                                    <p:animEffect transition="in" filter="fade">
                                      <p:cBhvr>
                                        <p:cTn id="86" dur="1000"/>
                                        <p:tgtEl>
                                          <p:spTgt spid="25"/>
                                        </p:tgtEl>
                                      </p:cBhvr>
                                    </p:animEffect>
                                  </p:childTnLst>
                                </p:cTn>
                              </p:par>
                              <p:par>
                                <p:cTn id="87" presetID="55" presetClass="entr" presetSubtype="0" fill="hold" grpId="0" nodeType="withEffect">
                                  <p:stCondLst>
                                    <p:cond delay="2000"/>
                                  </p:stCondLst>
                                  <p:childTnLst>
                                    <p:set>
                                      <p:cBhvr>
                                        <p:cTn id="88" dur="1" fill="hold">
                                          <p:stCondLst>
                                            <p:cond delay="0"/>
                                          </p:stCondLst>
                                        </p:cTn>
                                        <p:tgtEl>
                                          <p:spTgt spid="28"/>
                                        </p:tgtEl>
                                        <p:attrNameLst>
                                          <p:attrName>style.visibility</p:attrName>
                                        </p:attrNameLst>
                                      </p:cBhvr>
                                      <p:to>
                                        <p:strVal val="visible"/>
                                      </p:to>
                                    </p:set>
                                    <p:anim calcmode="lin" valueType="num">
                                      <p:cBhvr>
                                        <p:cTn id="89" dur="1000" fill="hold"/>
                                        <p:tgtEl>
                                          <p:spTgt spid="28"/>
                                        </p:tgtEl>
                                        <p:attrNameLst>
                                          <p:attrName>ppt_w</p:attrName>
                                        </p:attrNameLst>
                                      </p:cBhvr>
                                      <p:tavLst>
                                        <p:tav tm="0">
                                          <p:val>
                                            <p:strVal val="#ppt_w*0.70"/>
                                          </p:val>
                                        </p:tav>
                                        <p:tav tm="100000">
                                          <p:val>
                                            <p:strVal val="#ppt_w"/>
                                          </p:val>
                                        </p:tav>
                                      </p:tavLst>
                                    </p:anim>
                                    <p:anim calcmode="lin" valueType="num">
                                      <p:cBhvr>
                                        <p:cTn id="90" dur="1000" fill="hold"/>
                                        <p:tgtEl>
                                          <p:spTgt spid="28"/>
                                        </p:tgtEl>
                                        <p:attrNameLst>
                                          <p:attrName>ppt_h</p:attrName>
                                        </p:attrNameLst>
                                      </p:cBhvr>
                                      <p:tavLst>
                                        <p:tav tm="0">
                                          <p:val>
                                            <p:strVal val="#ppt_h"/>
                                          </p:val>
                                        </p:tav>
                                        <p:tav tm="100000">
                                          <p:val>
                                            <p:strVal val="#ppt_h"/>
                                          </p:val>
                                        </p:tav>
                                      </p:tavLst>
                                    </p:anim>
                                    <p:animEffect transition="in" filter="fade">
                                      <p:cBhvr>
                                        <p:cTn id="91" dur="1000"/>
                                        <p:tgtEl>
                                          <p:spTgt spid="28"/>
                                        </p:tgtEl>
                                      </p:cBhvr>
                                    </p:animEffect>
                                  </p:childTnLst>
                                </p:cTn>
                              </p:par>
                              <p:par>
                                <p:cTn id="92" presetID="55" presetClass="entr" presetSubtype="0" fill="hold" grpId="0" nodeType="withEffect">
                                  <p:stCondLst>
                                    <p:cond delay="2500"/>
                                  </p:stCondLst>
                                  <p:childTnLst>
                                    <p:set>
                                      <p:cBhvr>
                                        <p:cTn id="93" dur="1" fill="hold">
                                          <p:stCondLst>
                                            <p:cond delay="0"/>
                                          </p:stCondLst>
                                        </p:cTn>
                                        <p:tgtEl>
                                          <p:spTgt spid="51"/>
                                        </p:tgtEl>
                                        <p:attrNameLst>
                                          <p:attrName>style.visibility</p:attrName>
                                        </p:attrNameLst>
                                      </p:cBhvr>
                                      <p:to>
                                        <p:strVal val="visible"/>
                                      </p:to>
                                    </p:set>
                                    <p:anim calcmode="lin" valueType="num">
                                      <p:cBhvr>
                                        <p:cTn id="94" dur="1000" fill="hold"/>
                                        <p:tgtEl>
                                          <p:spTgt spid="51"/>
                                        </p:tgtEl>
                                        <p:attrNameLst>
                                          <p:attrName>ppt_w</p:attrName>
                                        </p:attrNameLst>
                                      </p:cBhvr>
                                      <p:tavLst>
                                        <p:tav tm="0">
                                          <p:val>
                                            <p:strVal val="#ppt_w*0.70"/>
                                          </p:val>
                                        </p:tav>
                                        <p:tav tm="100000">
                                          <p:val>
                                            <p:strVal val="#ppt_w"/>
                                          </p:val>
                                        </p:tav>
                                      </p:tavLst>
                                    </p:anim>
                                    <p:anim calcmode="lin" valueType="num">
                                      <p:cBhvr>
                                        <p:cTn id="95" dur="1000" fill="hold"/>
                                        <p:tgtEl>
                                          <p:spTgt spid="51"/>
                                        </p:tgtEl>
                                        <p:attrNameLst>
                                          <p:attrName>ppt_h</p:attrName>
                                        </p:attrNameLst>
                                      </p:cBhvr>
                                      <p:tavLst>
                                        <p:tav tm="0">
                                          <p:val>
                                            <p:strVal val="#ppt_h"/>
                                          </p:val>
                                        </p:tav>
                                        <p:tav tm="100000">
                                          <p:val>
                                            <p:strVal val="#ppt_h"/>
                                          </p:val>
                                        </p:tav>
                                      </p:tavLst>
                                    </p:anim>
                                    <p:animEffect transition="in" filter="fade">
                                      <p:cBhvr>
                                        <p:cTn id="96" dur="1000"/>
                                        <p:tgtEl>
                                          <p:spTgt spid="51"/>
                                        </p:tgtEl>
                                      </p:cBhvr>
                                    </p:animEffect>
                                  </p:childTnLst>
                                </p:cTn>
                              </p:par>
                              <p:par>
                                <p:cTn id="97" presetID="55" presetClass="entr" presetSubtype="0" fill="hold" grpId="0" nodeType="withEffect">
                                  <p:stCondLst>
                                    <p:cond delay="2500"/>
                                  </p:stCondLst>
                                  <p:childTnLst>
                                    <p:set>
                                      <p:cBhvr>
                                        <p:cTn id="98" dur="1" fill="hold">
                                          <p:stCondLst>
                                            <p:cond delay="0"/>
                                          </p:stCondLst>
                                        </p:cTn>
                                        <p:tgtEl>
                                          <p:spTgt spid="26"/>
                                        </p:tgtEl>
                                        <p:attrNameLst>
                                          <p:attrName>style.visibility</p:attrName>
                                        </p:attrNameLst>
                                      </p:cBhvr>
                                      <p:to>
                                        <p:strVal val="visible"/>
                                      </p:to>
                                    </p:set>
                                    <p:anim calcmode="lin" valueType="num">
                                      <p:cBhvr>
                                        <p:cTn id="99" dur="1000" fill="hold"/>
                                        <p:tgtEl>
                                          <p:spTgt spid="26"/>
                                        </p:tgtEl>
                                        <p:attrNameLst>
                                          <p:attrName>ppt_w</p:attrName>
                                        </p:attrNameLst>
                                      </p:cBhvr>
                                      <p:tavLst>
                                        <p:tav tm="0">
                                          <p:val>
                                            <p:strVal val="#ppt_w*0.70"/>
                                          </p:val>
                                        </p:tav>
                                        <p:tav tm="100000">
                                          <p:val>
                                            <p:strVal val="#ppt_w"/>
                                          </p:val>
                                        </p:tav>
                                      </p:tavLst>
                                    </p:anim>
                                    <p:anim calcmode="lin" valueType="num">
                                      <p:cBhvr>
                                        <p:cTn id="100" dur="1000" fill="hold"/>
                                        <p:tgtEl>
                                          <p:spTgt spid="26"/>
                                        </p:tgtEl>
                                        <p:attrNameLst>
                                          <p:attrName>ppt_h</p:attrName>
                                        </p:attrNameLst>
                                      </p:cBhvr>
                                      <p:tavLst>
                                        <p:tav tm="0">
                                          <p:val>
                                            <p:strVal val="#ppt_h"/>
                                          </p:val>
                                        </p:tav>
                                        <p:tav tm="100000">
                                          <p:val>
                                            <p:strVal val="#ppt_h"/>
                                          </p:val>
                                        </p:tav>
                                      </p:tavLst>
                                    </p:anim>
                                    <p:animEffect transition="in" filter="fade">
                                      <p:cBhvr>
                                        <p:cTn id="101" dur="1000"/>
                                        <p:tgtEl>
                                          <p:spTgt spid="26"/>
                                        </p:tgtEl>
                                      </p:cBhvr>
                                    </p:animEffect>
                                  </p:childTnLst>
                                </p:cTn>
                              </p:par>
                              <p:par>
                                <p:cTn id="102" presetID="55" presetClass="entr" presetSubtype="0" fill="hold" grpId="0" nodeType="withEffect">
                                  <p:stCondLst>
                                    <p:cond delay="2500"/>
                                  </p:stCondLst>
                                  <p:childTnLst>
                                    <p:set>
                                      <p:cBhvr>
                                        <p:cTn id="103" dur="1" fill="hold">
                                          <p:stCondLst>
                                            <p:cond delay="0"/>
                                          </p:stCondLst>
                                        </p:cTn>
                                        <p:tgtEl>
                                          <p:spTgt spid="29"/>
                                        </p:tgtEl>
                                        <p:attrNameLst>
                                          <p:attrName>style.visibility</p:attrName>
                                        </p:attrNameLst>
                                      </p:cBhvr>
                                      <p:to>
                                        <p:strVal val="visible"/>
                                      </p:to>
                                    </p:set>
                                    <p:anim calcmode="lin" valueType="num">
                                      <p:cBhvr>
                                        <p:cTn id="104" dur="1000" fill="hold"/>
                                        <p:tgtEl>
                                          <p:spTgt spid="29"/>
                                        </p:tgtEl>
                                        <p:attrNameLst>
                                          <p:attrName>ppt_w</p:attrName>
                                        </p:attrNameLst>
                                      </p:cBhvr>
                                      <p:tavLst>
                                        <p:tav tm="0">
                                          <p:val>
                                            <p:strVal val="#ppt_w*0.70"/>
                                          </p:val>
                                        </p:tav>
                                        <p:tav tm="100000">
                                          <p:val>
                                            <p:strVal val="#ppt_w"/>
                                          </p:val>
                                        </p:tav>
                                      </p:tavLst>
                                    </p:anim>
                                    <p:anim calcmode="lin" valueType="num">
                                      <p:cBhvr>
                                        <p:cTn id="105" dur="1000" fill="hold"/>
                                        <p:tgtEl>
                                          <p:spTgt spid="29"/>
                                        </p:tgtEl>
                                        <p:attrNameLst>
                                          <p:attrName>ppt_h</p:attrName>
                                        </p:attrNameLst>
                                      </p:cBhvr>
                                      <p:tavLst>
                                        <p:tav tm="0">
                                          <p:val>
                                            <p:strVal val="#ppt_h"/>
                                          </p:val>
                                        </p:tav>
                                        <p:tav tm="100000">
                                          <p:val>
                                            <p:strVal val="#ppt_h"/>
                                          </p:val>
                                        </p:tav>
                                      </p:tavLst>
                                    </p:anim>
                                    <p:animEffect transition="in" filter="fade">
                                      <p:cBhvr>
                                        <p:cTn id="106" dur="1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P spid="10" grpId="0"/>
      <p:bldP spid="50" grpId="0"/>
      <p:bldP spid="51" grpId="0"/>
      <p:bldP spid="30" grpId="0"/>
      <p:bldP spid="36" grpId="0" animBg="1"/>
      <p:bldP spid="37" grpId="0" animBg="1"/>
      <p:bldP spid="38" grpId="0" animBg="1"/>
      <p:bldP spid="24" grpId="0"/>
      <p:bldP spid="25" grpId="0"/>
      <p:bldP spid="26" grpId="0"/>
      <p:bldP spid="31" grpId="0"/>
      <p:bldP spid="21" grpId="0" animBg="1"/>
      <p:bldP spid="22" grpId="0" animBg="1"/>
      <p:bldP spid="23" grpId="0" animBg="1"/>
      <p:bldP spid="27" grpId="0"/>
      <p:bldP spid="28" grpId="0"/>
      <p:bldP spid="29" grpId="0"/>
      <p:bldP spid="3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CC4EE67-A3E7-4947-941D-DDEB2FACB659}"/>
              </a:ext>
            </a:extLst>
          </p:cNvPr>
          <p:cNvGrpSpPr/>
          <p:nvPr/>
        </p:nvGrpSpPr>
        <p:grpSpPr>
          <a:xfrm>
            <a:off x="2950879" y="1634108"/>
            <a:ext cx="6290242" cy="4263572"/>
            <a:chOff x="2950879" y="1634108"/>
            <a:chExt cx="6290242" cy="4263572"/>
          </a:xfrm>
        </p:grpSpPr>
        <p:sp>
          <p:nvSpPr>
            <p:cNvPr id="70" name="Shape">
              <a:extLst>
                <a:ext uri="{FF2B5EF4-FFF2-40B4-BE49-F238E27FC236}">
                  <a16:creationId xmlns:a16="http://schemas.microsoft.com/office/drawing/2014/main" id="{8D0EFB10-10CD-4F95-BBA7-A8FBB2D05385}"/>
                </a:ext>
              </a:extLst>
            </p:cNvPr>
            <p:cNvSpPr/>
            <p:nvPr/>
          </p:nvSpPr>
          <p:spPr>
            <a:xfrm>
              <a:off x="2950879" y="1634108"/>
              <a:ext cx="4269227" cy="4263572"/>
            </a:xfrm>
            <a:custGeom>
              <a:avLst/>
              <a:gdLst/>
              <a:ahLst/>
              <a:cxnLst>
                <a:cxn ang="0">
                  <a:pos x="wd2" y="hd2"/>
                </a:cxn>
                <a:cxn ang="5400000">
                  <a:pos x="wd2" y="hd2"/>
                </a:cxn>
                <a:cxn ang="10800000">
                  <a:pos x="wd2" y="hd2"/>
                </a:cxn>
                <a:cxn ang="16200000">
                  <a:pos x="wd2" y="hd2"/>
                </a:cxn>
              </a:cxnLst>
              <a:rect l="0" t="0" r="r" b="b"/>
              <a:pathLst>
                <a:path w="21583" h="21373" extrusionOk="0">
                  <a:moveTo>
                    <a:pt x="1" y="1938"/>
                  </a:moveTo>
                  <a:lnTo>
                    <a:pt x="1" y="19589"/>
                  </a:lnTo>
                  <a:cubicBezTo>
                    <a:pt x="35" y="20159"/>
                    <a:pt x="326" y="20682"/>
                    <a:pt x="794" y="21014"/>
                  </a:cubicBezTo>
                  <a:cubicBezTo>
                    <a:pt x="1366" y="21421"/>
                    <a:pt x="2117" y="21487"/>
                    <a:pt x="2752" y="21186"/>
                  </a:cubicBezTo>
                  <a:lnTo>
                    <a:pt x="20596" y="12359"/>
                  </a:lnTo>
                  <a:cubicBezTo>
                    <a:pt x="21202" y="12022"/>
                    <a:pt x="21579" y="11388"/>
                    <a:pt x="21583" y="10699"/>
                  </a:cubicBezTo>
                  <a:cubicBezTo>
                    <a:pt x="21587" y="10002"/>
                    <a:pt x="21209" y="9357"/>
                    <a:pt x="20596" y="9016"/>
                  </a:cubicBezTo>
                  <a:lnTo>
                    <a:pt x="2750" y="187"/>
                  </a:lnTo>
                  <a:cubicBezTo>
                    <a:pt x="2118" y="-113"/>
                    <a:pt x="1370" y="-49"/>
                    <a:pt x="800" y="356"/>
                  </a:cubicBezTo>
                  <a:cubicBezTo>
                    <a:pt x="286" y="720"/>
                    <a:pt x="-13" y="1312"/>
                    <a:pt x="1" y="1938"/>
                  </a:cubicBezTo>
                  <a:close/>
                </a:path>
              </a:pathLst>
            </a:custGeom>
            <a:gradFill>
              <a:gsLst>
                <a:gs pos="100000">
                  <a:schemeClr val="accent3">
                    <a:alpha val="0"/>
                  </a:schemeClr>
                </a:gs>
                <a:gs pos="0">
                  <a:schemeClr val="accent1">
                    <a:alpha val="15000"/>
                  </a:schemeClr>
                </a:gs>
              </a:gsLst>
              <a:lin ang="0" scaled="0"/>
            </a:gradFill>
            <a:ln w="127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71" name="Shape">
              <a:extLst>
                <a:ext uri="{FF2B5EF4-FFF2-40B4-BE49-F238E27FC236}">
                  <a16:creationId xmlns:a16="http://schemas.microsoft.com/office/drawing/2014/main" id="{3A921C8A-105F-4B48-A68B-5EFDFB6B23E5}"/>
                </a:ext>
              </a:extLst>
            </p:cNvPr>
            <p:cNvSpPr/>
            <p:nvPr/>
          </p:nvSpPr>
          <p:spPr>
            <a:xfrm rot="10800000">
              <a:off x="4971894" y="1634108"/>
              <a:ext cx="4269227" cy="4263572"/>
            </a:xfrm>
            <a:custGeom>
              <a:avLst/>
              <a:gdLst/>
              <a:ahLst/>
              <a:cxnLst>
                <a:cxn ang="0">
                  <a:pos x="wd2" y="hd2"/>
                </a:cxn>
                <a:cxn ang="5400000">
                  <a:pos x="wd2" y="hd2"/>
                </a:cxn>
                <a:cxn ang="10800000">
                  <a:pos x="wd2" y="hd2"/>
                </a:cxn>
                <a:cxn ang="16200000">
                  <a:pos x="wd2" y="hd2"/>
                </a:cxn>
              </a:cxnLst>
              <a:rect l="0" t="0" r="r" b="b"/>
              <a:pathLst>
                <a:path w="21583" h="21373" extrusionOk="0">
                  <a:moveTo>
                    <a:pt x="1" y="1938"/>
                  </a:moveTo>
                  <a:lnTo>
                    <a:pt x="1" y="19589"/>
                  </a:lnTo>
                  <a:cubicBezTo>
                    <a:pt x="35" y="20159"/>
                    <a:pt x="326" y="20682"/>
                    <a:pt x="794" y="21014"/>
                  </a:cubicBezTo>
                  <a:cubicBezTo>
                    <a:pt x="1366" y="21421"/>
                    <a:pt x="2117" y="21487"/>
                    <a:pt x="2752" y="21186"/>
                  </a:cubicBezTo>
                  <a:lnTo>
                    <a:pt x="20596" y="12359"/>
                  </a:lnTo>
                  <a:cubicBezTo>
                    <a:pt x="21202" y="12022"/>
                    <a:pt x="21579" y="11388"/>
                    <a:pt x="21583" y="10699"/>
                  </a:cubicBezTo>
                  <a:cubicBezTo>
                    <a:pt x="21587" y="10002"/>
                    <a:pt x="21209" y="9357"/>
                    <a:pt x="20596" y="9016"/>
                  </a:cubicBezTo>
                  <a:lnTo>
                    <a:pt x="2750" y="187"/>
                  </a:lnTo>
                  <a:cubicBezTo>
                    <a:pt x="2118" y="-113"/>
                    <a:pt x="1370" y="-49"/>
                    <a:pt x="800" y="356"/>
                  </a:cubicBezTo>
                  <a:cubicBezTo>
                    <a:pt x="286" y="720"/>
                    <a:pt x="-13" y="1312"/>
                    <a:pt x="1" y="1938"/>
                  </a:cubicBezTo>
                  <a:close/>
                </a:path>
              </a:pathLst>
            </a:custGeom>
            <a:gradFill>
              <a:gsLst>
                <a:gs pos="100000">
                  <a:schemeClr val="accent4">
                    <a:alpha val="0"/>
                  </a:schemeClr>
                </a:gs>
                <a:gs pos="0">
                  <a:schemeClr val="accent2">
                    <a:lumMod val="50000"/>
                    <a:lumOff val="50000"/>
                    <a:alpha val="15000"/>
                  </a:schemeClr>
                </a:gs>
              </a:gsLst>
              <a:lin ang="0" scaled="0"/>
            </a:gradFill>
            <a:ln w="127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grpSp>
      <p:sp>
        <p:nvSpPr>
          <p:cNvPr id="58" name="TextBox 57">
            <a:extLst>
              <a:ext uri="{FF2B5EF4-FFF2-40B4-BE49-F238E27FC236}">
                <a16:creationId xmlns:a16="http://schemas.microsoft.com/office/drawing/2014/main" id="{4DEF4DFA-3456-4FF3-8EBB-86690DA58ADB}"/>
              </a:ext>
            </a:extLst>
          </p:cNvPr>
          <p:cNvSpPr txBox="1"/>
          <p:nvPr/>
        </p:nvSpPr>
        <p:spPr>
          <a:xfrm>
            <a:off x="4307858" y="807837"/>
            <a:ext cx="3576284" cy="553998"/>
          </a:xfrm>
          <a:prstGeom prst="rect">
            <a:avLst/>
          </a:prstGeom>
          <a:noFill/>
        </p:spPr>
        <p:txBody>
          <a:bodyPr wrap="square" rtlCol="0">
            <a:spAutoFit/>
          </a:bodyPr>
          <a:lstStyle/>
          <a:p>
            <a:pPr algn="ctr"/>
            <a:r>
              <a:rPr lang="en-US" sz="3000" b="1" dirty="0">
                <a:solidFill>
                  <a:schemeClr val="tx2">
                    <a:lumMod val="40000"/>
                    <a:lumOff val="60000"/>
                  </a:schemeClr>
                </a:solidFill>
                <a:latin typeface="Montserrat" panose="00000500000000000000" pitchFamily="50" charset="0"/>
              </a:rPr>
              <a:t>VENN DIAGRAM</a:t>
            </a:r>
          </a:p>
        </p:txBody>
      </p:sp>
      <p:sp>
        <p:nvSpPr>
          <p:cNvPr id="1984" name="Shape"/>
          <p:cNvSpPr/>
          <p:nvPr/>
        </p:nvSpPr>
        <p:spPr>
          <a:xfrm>
            <a:off x="3564924" y="1945550"/>
            <a:ext cx="3645517" cy="3640689"/>
          </a:xfrm>
          <a:custGeom>
            <a:avLst/>
            <a:gdLst/>
            <a:ahLst/>
            <a:cxnLst>
              <a:cxn ang="0">
                <a:pos x="wd2" y="hd2"/>
              </a:cxn>
              <a:cxn ang="5400000">
                <a:pos x="wd2" y="hd2"/>
              </a:cxn>
              <a:cxn ang="10800000">
                <a:pos x="wd2" y="hd2"/>
              </a:cxn>
              <a:cxn ang="16200000">
                <a:pos x="wd2" y="hd2"/>
              </a:cxn>
            </a:cxnLst>
            <a:rect l="0" t="0" r="r" b="b"/>
            <a:pathLst>
              <a:path w="21583" h="21373" extrusionOk="0">
                <a:moveTo>
                  <a:pt x="1" y="1938"/>
                </a:moveTo>
                <a:lnTo>
                  <a:pt x="1" y="19589"/>
                </a:lnTo>
                <a:cubicBezTo>
                  <a:pt x="35" y="20159"/>
                  <a:pt x="326" y="20682"/>
                  <a:pt x="794" y="21014"/>
                </a:cubicBezTo>
                <a:cubicBezTo>
                  <a:pt x="1366" y="21421"/>
                  <a:pt x="2117" y="21487"/>
                  <a:pt x="2752" y="21186"/>
                </a:cubicBezTo>
                <a:lnTo>
                  <a:pt x="20596" y="12359"/>
                </a:lnTo>
                <a:cubicBezTo>
                  <a:pt x="21202" y="12022"/>
                  <a:pt x="21579" y="11388"/>
                  <a:pt x="21583" y="10699"/>
                </a:cubicBezTo>
                <a:cubicBezTo>
                  <a:pt x="21587" y="10002"/>
                  <a:pt x="21209" y="9357"/>
                  <a:pt x="20596" y="9016"/>
                </a:cubicBezTo>
                <a:lnTo>
                  <a:pt x="2750" y="187"/>
                </a:lnTo>
                <a:cubicBezTo>
                  <a:pt x="2118" y="-113"/>
                  <a:pt x="1370" y="-49"/>
                  <a:pt x="800" y="356"/>
                </a:cubicBezTo>
                <a:cubicBezTo>
                  <a:pt x="286" y="720"/>
                  <a:pt x="-13" y="1312"/>
                  <a:pt x="1" y="1938"/>
                </a:cubicBezTo>
                <a:close/>
              </a:path>
            </a:pathLst>
          </a:custGeom>
          <a:gradFill>
            <a:gsLst>
              <a:gs pos="100000">
                <a:schemeClr val="accent1">
                  <a:alpha val="30000"/>
                </a:schemeClr>
              </a:gs>
              <a:gs pos="0">
                <a:schemeClr val="accent1"/>
              </a:gs>
            </a:gsLst>
            <a:lin ang="0" scaled="0"/>
          </a:gradFill>
          <a:ln w="127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1987" name="Shape"/>
          <p:cNvSpPr/>
          <p:nvPr/>
        </p:nvSpPr>
        <p:spPr>
          <a:xfrm rot="10800000">
            <a:off x="4981557" y="1945550"/>
            <a:ext cx="3645517" cy="3640689"/>
          </a:xfrm>
          <a:custGeom>
            <a:avLst/>
            <a:gdLst/>
            <a:ahLst/>
            <a:cxnLst>
              <a:cxn ang="0">
                <a:pos x="wd2" y="hd2"/>
              </a:cxn>
              <a:cxn ang="5400000">
                <a:pos x="wd2" y="hd2"/>
              </a:cxn>
              <a:cxn ang="10800000">
                <a:pos x="wd2" y="hd2"/>
              </a:cxn>
              <a:cxn ang="16200000">
                <a:pos x="wd2" y="hd2"/>
              </a:cxn>
            </a:cxnLst>
            <a:rect l="0" t="0" r="r" b="b"/>
            <a:pathLst>
              <a:path w="21583" h="21373" extrusionOk="0">
                <a:moveTo>
                  <a:pt x="1" y="1938"/>
                </a:moveTo>
                <a:lnTo>
                  <a:pt x="1" y="19589"/>
                </a:lnTo>
                <a:cubicBezTo>
                  <a:pt x="35" y="20159"/>
                  <a:pt x="326" y="20682"/>
                  <a:pt x="794" y="21014"/>
                </a:cubicBezTo>
                <a:cubicBezTo>
                  <a:pt x="1366" y="21421"/>
                  <a:pt x="2117" y="21487"/>
                  <a:pt x="2752" y="21186"/>
                </a:cubicBezTo>
                <a:lnTo>
                  <a:pt x="20596" y="12359"/>
                </a:lnTo>
                <a:cubicBezTo>
                  <a:pt x="21202" y="12022"/>
                  <a:pt x="21579" y="11388"/>
                  <a:pt x="21583" y="10699"/>
                </a:cubicBezTo>
                <a:cubicBezTo>
                  <a:pt x="21587" y="10002"/>
                  <a:pt x="21209" y="9357"/>
                  <a:pt x="20596" y="9016"/>
                </a:cubicBezTo>
                <a:lnTo>
                  <a:pt x="2750" y="187"/>
                </a:lnTo>
                <a:cubicBezTo>
                  <a:pt x="2118" y="-113"/>
                  <a:pt x="1370" y="-49"/>
                  <a:pt x="800" y="356"/>
                </a:cubicBezTo>
                <a:cubicBezTo>
                  <a:pt x="286" y="720"/>
                  <a:pt x="-13" y="1312"/>
                  <a:pt x="1" y="1938"/>
                </a:cubicBezTo>
                <a:close/>
              </a:path>
            </a:pathLst>
          </a:custGeom>
          <a:gradFill>
            <a:gsLst>
              <a:gs pos="100000">
                <a:schemeClr val="accent4">
                  <a:alpha val="10000"/>
                </a:schemeClr>
              </a:gs>
              <a:gs pos="0">
                <a:schemeClr val="accent4"/>
              </a:gs>
            </a:gsLst>
            <a:lin ang="0" scaled="0"/>
          </a:gradFill>
          <a:ln w="127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65" name="Placeholder Text">
            <a:extLst>
              <a:ext uri="{FF2B5EF4-FFF2-40B4-BE49-F238E27FC236}">
                <a16:creationId xmlns:a16="http://schemas.microsoft.com/office/drawing/2014/main" id="{9B857385-546A-4A24-87C6-A357834C6E53}"/>
              </a:ext>
            </a:extLst>
          </p:cNvPr>
          <p:cNvSpPr txBox="1"/>
          <p:nvPr/>
        </p:nvSpPr>
        <p:spPr>
          <a:xfrm>
            <a:off x="5373774" y="3547886"/>
            <a:ext cx="1352748" cy="43601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defRPr sz="2500" b="0">
                <a:solidFill>
                  <a:srgbClr val="9FA09E"/>
                </a:solidFill>
                <a:latin typeface="Barlow Medium"/>
                <a:ea typeface="Barlow Medium"/>
                <a:cs typeface="Barlow Medium"/>
                <a:sym typeface="Barlow Medium"/>
              </a:defRPr>
            </a:lvl1pPr>
          </a:lstStyle>
          <a:p>
            <a:pPr algn="ctr"/>
            <a:r>
              <a:rPr lang="en-US" sz="1250" b="1" dirty="0">
                <a:solidFill>
                  <a:schemeClr val="bg1"/>
                </a:solidFill>
                <a:latin typeface="Montserrat" panose="00000500000000000000" pitchFamily="50" charset="0"/>
              </a:rPr>
              <a:t>Common Ground</a:t>
            </a:r>
          </a:p>
        </p:txBody>
      </p:sp>
      <p:sp>
        <p:nvSpPr>
          <p:cNvPr id="68" name="Placeholder Text">
            <a:extLst>
              <a:ext uri="{FF2B5EF4-FFF2-40B4-BE49-F238E27FC236}">
                <a16:creationId xmlns:a16="http://schemas.microsoft.com/office/drawing/2014/main" id="{21B59617-8D4C-44CB-B20C-F1A4E675D6A3}"/>
              </a:ext>
            </a:extLst>
          </p:cNvPr>
          <p:cNvSpPr txBox="1"/>
          <p:nvPr/>
        </p:nvSpPr>
        <p:spPr>
          <a:xfrm>
            <a:off x="7360420" y="3547886"/>
            <a:ext cx="1096855" cy="2436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lgn="l">
              <a:defRPr sz="2500" b="0">
                <a:solidFill>
                  <a:srgbClr val="9FA09E"/>
                </a:solidFill>
                <a:latin typeface="Barlow Medium"/>
                <a:ea typeface="Barlow Medium"/>
                <a:cs typeface="Barlow Medium"/>
                <a:sym typeface="Barlow Medium"/>
              </a:defRPr>
            </a:lvl1pPr>
          </a:lstStyle>
          <a:p>
            <a:pPr algn="r"/>
            <a:r>
              <a:rPr lang="en-US" sz="1250" b="1" dirty="0">
                <a:solidFill>
                  <a:schemeClr val="bg1"/>
                </a:solidFill>
                <a:latin typeface="Montserrat" panose="00000500000000000000" pitchFamily="50" charset="0"/>
              </a:rPr>
              <a:t>Topic B</a:t>
            </a:r>
            <a:endParaRPr sz="1250" b="1" dirty="0">
              <a:solidFill>
                <a:schemeClr val="bg1"/>
              </a:solidFill>
              <a:latin typeface="Montserrat" panose="00000500000000000000" pitchFamily="50" charset="0"/>
            </a:endParaRPr>
          </a:p>
        </p:txBody>
      </p:sp>
      <p:sp>
        <p:nvSpPr>
          <p:cNvPr id="69" name="Placeholder Text">
            <a:extLst>
              <a:ext uri="{FF2B5EF4-FFF2-40B4-BE49-F238E27FC236}">
                <a16:creationId xmlns:a16="http://schemas.microsoft.com/office/drawing/2014/main" id="{4E7795D4-47E2-40B1-8AD8-A341B7D3CD89}"/>
              </a:ext>
            </a:extLst>
          </p:cNvPr>
          <p:cNvSpPr txBox="1"/>
          <p:nvPr/>
        </p:nvSpPr>
        <p:spPr>
          <a:xfrm>
            <a:off x="3734722" y="3547886"/>
            <a:ext cx="1096855" cy="24365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algn="l"/>
            <a:r>
              <a:rPr lang="en-US" sz="1250" b="1" dirty="0">
                <a:solidFill>
                  <a:schemeClr val="bg1"/>
                </a:solidFill>
                <a:latin typeface="Montserrat" panose="00000500000000000000" pitchFamily="50" charset="0"/>
              </a:rPr>
              <a:t>Topic A</a:t>
            </a:r>
            <a:endParaRPr sz="1250" b="1" dirty="0">
              <a:solidFill>
                <a:schemeClr val="bg1"/>
              </a:solidFill>
              <a:latin typeface="Montserrat" panose="00000500000000000000" pitchFamily="50" charset="0"/>
            </a:endParaRPr>
          </a:p>
        </p:txBody>
      </p:sp>
      <p:grpSp>
        <p:nvGrpSpPr>
          <p:cNvPr id="8" name="Group 7">
            <a:extLst>
              <a:ext uri="{FF2B5EF4-FFF2-40B4-BE49-F238E27FC236}">
                <a16:creationId xmlns:a16="http://schemas.microsoft.com/office/drawing/2014/main" id="{35260055-6BE8-4EA6-A57C-6C8EC768A2C8}"/>
              </a:ext>
            </a:extLst>
          </p:cNvPr>
          <p:cNvGrpSpPr/>
          <p:nvPr/>
        </p:nvGrpSpPr>
        <p:grpSpPr>
          <a:xfrm>
            <a:off x="3085285" y="1767788"/>
            <a:ext cx="368224" cy="3996213"/>
            <a:chOff x="3013898" y="1823206"/>
            <a:chExt cx="368224" cy="3996213"/>
          </a:xfrm>
        </p:grpSpPr>
        <p:cxnSp>
          <p:nvCxnSpPr>
            <p:cNvPr id="7" name="Straight Connector 6">
              <a:extLst>
                <a:ext uri="{FF2B5EF4-FFF2-40B4-BE49-F238E27FC236}">
                  <a16:creationId xmlns:a16="http://schemas.microsoft.com/office/drawing/2014/main" id="{CCB9DAC7-B0BF-47BE-8CFA-2FECCFEA2819}"/>
                </a:ext>
              </a:extLst>
            </p:cNvPr>
            <p:cNvCxnSpPr>
              <a:stCxn id="4" idx="4"/>
              <a:endCxn id="80" idx="0"/>
            </p:cNvCxnSpPr>
            <p:nvPr/>
          </p:nvCxnSpPr>
          <p:spPr>
            <a:xfrm>
              <a:off x="3198010" y="2191430"/>
              <a:ext cx="0" cy="3259765"/>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5D326F9F-382B-4040-8414-1AE4ADD8AB43}"/>
                </a:ext>
              </a:extLst>
            </p:cNvPr>
            <p:cNvSpPr/>
            <p:nvPr/>
          </p:nvSpPr>
          <p:spPr>
            <a:xfrm flipH="1">
              <a:off x="3013898" y="1823206"/>
              <a:ext cx="368224" cy="3682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latin typeface="Montserrat" panose="00000500000000000000" pitchFamily="50" charset="0"/>
                </a:rPr>
                <a:t>1</a:t>
              </a:r>
            </a:p>
          </p:txBody>
        </p:sp>
        <p:sp>
          <p:nvSpPr>
            <p:cNvPr id="78" name="Oval 77">
              <a:extLst>
                <a:ext uri="{FF2B5EF4-FFF2-40B4-BE49-F238E27FC236}">
                  <a16:creationId xmlns:a16="http://schemas.microsoft.com/office/drawing/2014/main" id="{E5B505DE-5B12-4E3C-A709-10517E87726E}"/>
                </a:ext>
              </a:extLst>
            </p:cNvPr>
            <p:cNvSpPr/>
            <p:nvPr/>
          </p:nvSpPr>
          <p:spPr>
            <a:xfrm flipH="1">
              <a:off x="3013898" y="3032536"/>
              <a:ext cx="368224" cy="3682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latin typeface="Montserrat" panose="00000500000000000000" pitchFamily="50" charset="0"/>
                </a:rPr>
                <a:t>2</a:t>
              </a:r>
            </a:p>
          </p:txBody>
        </p:sp>
        <p:sp>
          <p:nvSpPr>
            <p:cNvPr id="79" name="Oval 78">
              <a:extLst>
                <a:ext uri="{FF2B5EF4-FFF2-40B4-BE49-F238E27FC236}">
                  <a16:creationId xmlns:a16="http://schemas.microsoft.com/office/drawing/2014/main" id="{B99F6029-330E-4023-8C76-69E9C2DB62BF}"/>
                </a:ext>
              </a:extLst>
            </p:cNvPr>
            <p:cNvSpPr/>
            <p:nvPr/>
          </p:nvSpPr>
          <p:spPr>
            <a:xfrm flipH="1">
              <a:off x="3013898" y="4241866"/>
              <a:ext cx="368224" cy="3682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latin typeface="Montserrat" panose="00000500000000000000" pitchFamily="50" charset="0"/>
                </a:rPr>
                <a:t>3</a:t>
              </a:r>
            </a:p>
          </p:txBody>
        </p:sp>
        <p:sp>
          <p:nvSpPr>
            <p:cNvPr id="80" name="Oval 79">
              <a:extLst>
                <a:ext uri="{FF2B5EF4-FFF2-40B4-BE49-F238E27FC236}">
                  <a16:creationId xmlns:a16="http://schemas.microsoft.com/office/drawing/2014/main" id="{3644DAA5-D0A6-467B-8D7F-26F2C5FDBD23}"/>
                </a:ext>
              </a:extLst>
            </p:cNvPr>
            <p:cNvSpPr/>
            <p:nvPr/>
          </p:nvSpPr>
          <p:spPr>
            <a:xfrm flipH="1">
              <a:off x="3013898" y="5451195"/>
              <a:ext cx="368224" cy="3682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latin typeface="Montserrat" panose="00000500000000000000" pitchFamily="50" charset="0"/>
                </a:rPr>
                <a:t>4</a:t>
              </a:r>
            </a:p>
          </p:txBody>
        </p:sp>
      </p:grpSp>
      <p:grpSp>
        <p:nvGrpSpPr>
          <p:cNvPr id="85" name="Group 84">
            <a:extLst>
              <a:ext uri="{FF2B5EF4-FFF2-40B4-BE49-F238E27FC236}">
                <a16:creationId xmlns:a16="http://schemas.microsoft.com/office/drawing/2014/main" id="{2E3708B9-5BC0-44C6-8691-1DD812E393E9}"/>
              </a:ext>
            </a:extLst>
          </p:cNvPr>
          <p:cNvGrpSpPr/>
          <p:nvPr/>
        </p:nvGrpSpPr>
        <p:grpSpPr>
          <a:xfrm>
            <a:off x="8738491" y="1767788"/>
            <a:ext cx="368224" cy="3996213"/>
            <a:chOff x="3013898" y="1823206"/>
            <a:chExt cx="368224" cy="3996213"/>
          </a:xfrm>
        </p:grpSpPr>
        <p:cxnSp>
          <p:nvCxnSpPr>
            <p:cNvPr id="86" name="Straight Connector 85">
              <a:extLst>
                <a:ext uri="{FF2B5EF4-FFF2-40B4-BE49-F238E27FC236}">
                  <a16:creationId xmlns:a16="http://schemas.microsoft.com/office/drawing/2014/main" id="{DA3C8AED-3AE3-4C78-A369-EAB6B424640B}"/>
                </a:ext>
              </a:extLst>
            </p:cNvPr>
            <p:cNvCxnSpPr>
              <a:stCxn id="87" idx="4"/>
              <a:endCxn id="90" idx="0"/>
            </p:cNvCxnSpPr>
            <p:nvPr/>
          </p:nvCxnSpPr>
          <p:spPr>
            <a:xfrm>
              <a:off x="3198010" y="2191430"/>
              <a:ext cx="0" cy="3259765"/>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87" name="Oval 86">
              <a:extLst>
                <a:ext uri="{FF2B5EF4-FFF2-40B4-BE49-F238E27FC236}">
                  <a16:creationId xmlns:a16="http://schemas.microsoft.com/office/drawing/2014/main" id="{2BB7BF17-CAAF-4F75-BDFC-0D3C321E0ED4}"/>
                </a:ext>
              </a:extLst>
            </p:cNvPr>
            <p:cNvSpPr/>
            <p:nvPr/>
          </p:nvSpPr>
          <p:spPr>
            <a:xfrm flipH="1">
              <a:off x="3013898" y="1823206"/>
              <a:ext cx="368224" cy="3682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4"/>
                  </a:solidFill>
                  <a:latin typeface="Montserrat" panose="00000500000000000000" pitchFamily="50" charset="0"/>
                </a:rPr>
                <a:t>1</a:t>
              </a:r>
            </a:p>
          </p:txBody>
        </p:sp>
        <p:sp>
          <p:nvSpPr>
            <p:cNvPr id="88" name="Oval 87">
              <a:extLst>
                <a:ext uri="{FF2B5EF4-FFF2-40B4-BE49-F238E27FC236}">
                  <a16:creationId xmlns:a16="http://schemas.microsoft.com/office/drawing/2014/main" id="{DA127641-487A-42D4-BE84-75523ED146CF}"/>
                </a:ext>
              </a:extLst>
            </p:cNvPr>
            <p:cNvSpPr/>
            <p:nvPr/>
          </p:nvSpPr>
          <p:spPr>
            <a:xfrm flipH="1">
              <a:off x="3013898" y="3032536"/>
              <a:ext cx="368224" cy="3682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4"/>
                  </a:solidFill>
                  <a:latin typeface="Montserrat" panose="00000500000000000000" pitchFamily="50" charset="0"/>
                </a:rPr>
                <a:t>2</a:t>
              </a:r>
            </a:p>
          </p:txBody>
        </p:sp>
        <p:sp>
          <p:nvSpPr>
            <p:cNvPr id="89" name="Oval 88">
              <a:extLst>
                <a:ext uri="{FF2B5EF4-FFF2-40B4-BE49-F238E27FC236}">
                  <a16:creationId xmlns:a16="http://schemas.microsoft.com/office/drawing/2014/main" id="{8E6C7093-ECE9-4819-B76A-6101950C4702}"/>
                </a:ext>
              </a:extLst>
            </p:cNvPr>
            <p:cNvSpPr/>
            <p:nvPr/>
          </p:nvSpPr>
          <p:spPr>
            <a:xfrm flipH="1">
              <a:off x="3013898" y="4241866"/>
              <a:ext cx="368224" cy="3682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4"/>
                  </a:solidFill>
                  <a:latin typeface="Montserrat" panose="00000500000000000000" pitchFamily="50" charset="0"/>
                </a:rPr>
                <a:t>3</a:t>
              </a:r>
            </a:p>
          </p:txBody>
        </p:sp>
        <p:sp>
          <p:nvSpPr>
            <p:cNvPr id="90" name="Oval 89">
              <a:extLst>
                <a:ext uri="{FF2B5EF4-FFF2-40B4-BE49-F238E27FC236}">
                  <a16:creationId xmlns:a16="http://schemas.microsoft.com/office/drawing/2014/main" id="{B9F3AFFB-C19A-4E48-81D9-EBC5D8FC2DD7}"/>
                </a:ext>
              </a:extLst>
            </p:cNvPr>
            <p:cNvSpPr/>
            <p:nvPr/>
          </p:nvSpPr>
          <p:spPr>
            <a:xfrm flipH="1">
              <a:off x="3013898" y="5451195"/>
              <a:ext cx="368224" cy="3682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4"/>
                  </a:solidFill>
                  <a:latin typeface="Montserrat" panose="00000500000000000000" pitchFamily="50" charset="0"/>
                </a:rPr>
                <a:t>4</a:t>
              </a:r>
            </a:p>
          </p:txBody>
        </p:sp>
      </p:grpSp>
      <p:sp>
        <p:nvSpPr>
          <p:cNvPr id="104" name="Freeform: Shape 103">
            <a:extLst>
              <a:ext uri="{FF2B5EF4-FFF2-40B4-BE49-F238E27FC236}">
                <a16:creationId xmlns:a16="http://schemas.microsoft.com/office/drawing/2014/main" id="{AA694A0F-3B25-4FEE-BE35-3A33FC6F0537}"/>
              </a:ext>
            </a:extLst>
          </p:cNvPr>
          <p:cNvSpPr/>
          <p:nvPr/>
        </p:nvSpPr>
        <p:spPr>
          <a:xfrm>
            <a:off x="4981551" y="3008344"/>
            <a:ext cx="2228895" cy="1515101"/>
          </a:xfrm>
          <a:custGeom>
            <a:avLst/>
            <a:gdLst>
              <a:gd name="connsiteX0" fmla="*/ 1114161 w 2228895"/>
              <a:gd name="connsiteY0" fmla="*/ 0 h 1515101"/>
              <a:gd name="connsiteX1" fmla="*/ 2062179 w 2228895"/>
              <a:gd name="connsiteY1" fmla="*/ 472997 h 1515101"/>
              <a:gd name="connsiteX2" fmla="*/ 2228890 w 2228895"/>
              <a:gd name="connsiteY2" fmla="*/ 759680 h 1515101"/>
              <a:gd name="connsiteX3" fmla="*/ 2062179 w 2228895"/>
              <a:gd name="connsiteY3" fmla="*/ 1042445 h 1515101"/>
              <a:gd name="connsiteX4" fmla="*/ 1114735 w 2228895"/>
              <a:gd name="connsiteY4" fmla="*/ 1515101 h 1515101"/>
              <a:gd name="connsiteX5" fmla="*/ 166717 w 2228895"/>
              <a:gd name="connsiteY5" fmla="*/ 1042105 h 1515101"/>
              <a:gd name="connsiteX6" fmla="*/ 6 w 2228895"/>
              <a:gd name="connsiteY6" fmla="*/ 755421 h 1515101"/>
              <a:gd name="connsiteX7" fmla="*/ 166717 w 2228895"/>
              <a:gd name="connsiteY7" fmla="*/ 472656 h 1515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8895" h="1515101">
                <a:moveTo>
                  <a:pt x="1114161" y="0"/>
                </a:moveTo>
                <a:lnTo>
                  <a:pt x="2062179" y="472997"/>
                </a:lnTo>
                <a:cubicBezTo>
                  <a:pt x="2165719" y="531083"/>
                  <a:pt x="2229566" y="640953"/>
                  <a:pt x="2228890" y="759680"/>
                </a:cubicBezTo>
                <a:cubicBezTo>
                  <a:pt x="2228214" y="877045"/>
                  <a:pt x="2164537" y="985041"/>
                  <a:pt x="2062179" y="1042445"/>
                </a:cubicBezTo>
                <a:lnTo>
                  <a:pt x="1114735" y="1515101"/>
                </a:lnTo>
                <a:lnTo>
                  <a:pt x="166717" y="1042105"/>
                </a:lnTo>
                <a:cubicBezTo>
                  <a:pt x="63177" y="984018"/>
                  <a:pt x="-670" y="874149"/>
                  <a:pt x="6" y="755421"/>
                </a:cubicBezTo>
                <a:cubicBezTo>
                  <a:pt x="682" y="638057"/>
                  <a:pt x="64360" y="530061"/>
                  <a:pt x="166717" y="472656"/>
                </a:cubicBezTo>
                <a:close/>
              </a:path>
            </a:pathLst>
          </a:custGeom>
          <a:noFill/>
          <a:ln w="38100" cap="flat">
            <a:solidFill>
              <a:schemeClr val="bg1"/>
            </a:solidFill>
            <a:miter lim="400000"/>
          </a:ln>
          <a:effectLst/>
        </p:spPr>
        <p:txBody>
          <a:bodyPr wrap="square" lIns="0" tIns="274320" rIns="0" bIns="0" numCol="1" anchor="ctr">
            <a:noAutofit/>
          </a:bodyPr>
          <a:lstStyle/>
          <a:p>
            <a:pPr algn="ctr" defTabSz="412750" hangingPunct="0"/>
            <a:endParaRPr sz="1400" b="1" kern="0">
              <a:solidFill>
                <a:srgbClr val="FFFFFF"/>
              </a:solidFill>
              <a:latin typeface="Montserrat" panose="00000500000000000000" pitchFamily="50" charset="0"/>
              <a:sym typeface="Helvetica Neue Medium"/>
            </a:endParaRPr>
          </a:p>
        </p:txBody>
      </p:sp>
      <p:grpSp>
        <p:nvGrpSpPr>
          <p:cNvPr id="10" name="Group 9">
            <a:extLst>
              <a:ext uri="{FF2B5EF4-FFF2-40B4-BE49-F238E27FC236}">
                <a16:creationId xmlns:a16="http://schemas.microsoft.com/office/drawing/2014/main" id="{9B962F04-AB2E-4D68-88EE-6B36850DAF25}"/>
              </a:ext>
            </a:extLst>
          </p:cNvPr>
          <p:cNvGrpSpPr/>
          <p:nvPr/>
        </p:nvGrpSpPr>
        <p:grpSpPr>
          <a:xfrm>
            <a:off x="454758" y="1580741"/>
            <a:ext cx="2267406" cy="720382"/>
            <a:chOff x="412821" y="1612635"/>
            <a:chExt cx="2267406" cy="720382"/>
          </a:xfrm>
        </p:grpSpPr>
        <p:sp>
          <p:nvSpPr>
            <p:cNvPr id="2040" name="Lorem Ipsum is simply dummy text of the printing typesetting"/>
            <p:cNvSpPr txBox="1"/>
            <p:nvPr/>
          </p:nvSpPr>
          <p:spPr>
            <a:xfrm>
              <a:off x="412821" y="1867056"/>
              <a:ext cx="226740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defTabSz="412750" hangingPunct="0">
                <a:lnSpc>
                  <a:spcPts val="1700"/>
                </a:lnSpc>
              </a:pPr>
              <a:r>
                <a:rPr sz="1000" kern="0" dirty="0">
                  <a:solidFill>
                    <a:schemeClr val="tx1"/>
                  </a:solidFill>
                  <a:latin typeface="Montserrat" panose="00000500000000000000" pitchFamily="50" charset="0"/>
                </a:rPr>
                <a:t>Lorem Ipsum is simply dummy text of the printing typesetting</a:t>
              </a:r>
            </a:p>
          </p:txBody>
        </p:sp>
        <p:sp>
          <p:nvSpPr>
            <p:cNvPr id="2041" name="Placeholder text"/>
            <p:cNvSpPr txBox="1"/>
            <p:nvPr/>
          </p:nvSpPr>
          <p:spPr>
            <a:xfrm>
              <a:off x="486979" y="1612635"/>
              <a:ext cx="2193248" cy="2359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b="0">
                  <a:solidFill>
                    <a:srgbClr val="535454"/>
                  </a:solidFill>
                  <a:latin typeface="Barlow Bold"/>
                  <a:ea typeface="Barlow Bold"/>
                  <a:cs typeface="Barlow Bold"/>
                  <a:sym typeface="Barlow Bold"/>
                </a:defRPr>
              </a:lvl1pPr>
            </a:lstStyle>
            <a:p>
              <a:pPr defTabSz="412750" hangingPunct="0"/>
              <a:r>
                <a:rPr lang="en-US" sz="1200" b="1" kern="0" dirty="0">
                  <a:solidFill>
                    <a:schemeClr val="accent1"/>
                  </a:solidFill>
                  <a:latin typeface="Montserrat" panose="00000500000000000000" pitchFamily="50" charset="0"/>
                </a:rPr>
                <a:t>Topic A Detail 1</a:t>
              </a:r>
              <a:endParaRPr sz="1200" b="1" kern="0" dirty="0">
                <a:solidFill>
                  <a:schemeClr val="accent1"/>
                </a:solidFill>
                <a:latin typeface="Montserrat" panose="00000500000000000000" pitchFamily="50" charset="0"/>
              </a:endParaRPr>
            </a:p>
          </p:txBody>
        </p:sp>
      </p:grpSp>
      <p:grpSp>
        <p:nvGrpSpPr>
          <p:cNvPr id="93" name="Group 92">
            <a:extLst>
              <a:ext uri="{FF2B5EF4-FFF2-40B4-BE49-F238E27FC236}">
                <a16:creationId xmlns:a16="http://schemas.microsoft.com/office/drawing/2014/main" id="{39E48F07-B077-4629-8804-B25E2F105BAF}"/>
              </a:ext>
            </a:extLst>
          </p:cNvPr>
          <p:cNvGrpSpPr/>
          <p:nvPr/>
        </p:nvGrpSpPr>
        <p:grpSpPr>
          <a:xfrm>
            <a:off x="454758" y="5221430"/>
            <a:ext cx="2267406" cy="720382"/>
            <a:chOff x="412821" y="1612635"/>
            <a:chExt cx="2267406" cy="720382"/>
          </a:xfrm>
        </p:grpSpPr>
        <p:sp>
          <p:nvSpPr>
            <p:cNvPr id="94" name="Lorem Ipsum is simply dummy text of the printing typesetting">
              <a:extLst>
                <a:ext uri="{FF2B5EF4-FFF2-40B4-BE49-F238E27FC236}">
                  <a16:creationId xmlns:a16="http://schemas.microsoft.com/office/drawing/2014/main" id="{96EF24D7-0149-4160-8769-507A6E40F850}"/>
                </a:ext>
              </a:extLst>
            </p:cNvPr>
            <p:cNvSpPr txBox="1"/>
            <p:nvPr/>
          </p:nvSpPr>
          <p:spPr>
            <a:xfrm>
              <a:off x="412821" y="1867056"/>
              <a:ext cx="226740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defTabSz="412750" hangingPunct="0">
                <a:lnSpc>
                  <a:spcPts val="1700"/>
                </a:lnSpc>
              </a:pPr>
              <a:r>
                <a:rPr sz="1000" kern="0" dirty="0">
                  <a:solidFill>
                    <a:schemeClr val="tx1"/>
                  </a:solidFill>
                  <a:latin typeface="Montserrat" panose="00000500000000000000" pitchFamily="50" charset="0"/>
                </a:rPr>
                <a:t>Lorem Ipsum is simply dummy text of the printing typesetting</a:t>
              </a:r>
            </a:p>
          </p:txBody>
        </p:sp>
        <p:sp>
          <p:nvSpPr>
            <p:cNvPr id="95" name="Placeholder text">
              <a:extLst>
                <a:ext uri="{FF2B5EF4-FFF2-40B4-BE49-F238E27FC236}">
                  <a16:creationId xmlns:a16="http://schemas.microsoft.com/office/drawing/2014/main" id="{1AAC3303-CD39-490F-9F1D-2916ACE3E252}"/>
                </a:ext>
              </a:extLst>
            </p:cNvPr>
            <p:cNvSpPr txBox="1"/>
            <p:nvPr/>
          </p:nvSpPr>
          <p:spPr>
            <a:xfrm>
              <a:off x="486979" y="1612635"/>
              <a:ext cx="2193248" cy="2359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b="0">
                  <a:solidFill>
                    <a:srgbClr val="535454"/>
                  </a:solidFill>
                  <a:latin typeface="Barlow Bold"/>
                  <a:ea typeface="Barlow Bold"/>
                  <a:cs typeface="Barlow Bold"/>
                  <a:sym typeface="Barlow Bold"/>
                </a:defRPr>
              </a:lvl1pPr>
            </a:lstStyle>
            <a:p>
              <a:pPr defTabSz="412750" hangingPunct="0"/>
              <a:r>
                <a:rPr lang="en-US" sz="1200" b="1" kern="0" dirty="0">
                  <a:solidFill>
                    <a:schemeClr val="accent1"/>
                  </a:solidFill>
                  <a:latin typeface="Montserrat" panose="00000500000000000000" pitchFamily="50" charset="0"/>
                </a:rPr>
                <a:t>Topic A Detail 4</a:t>
              </a:r>
            </a:p>
          </p:txBody>
        </p:sp>
      </p:grpSp>
      <p:grpSp>
        <p:nvGrpSpPr>
          <p:cNvPr id="96" name="Group 95">
            <a:extLst>
              <a:ext uri="{FF2B5EF4-FFF2-40B4-BE49-F238E27FC236}">
                <a16:creationId xmlns:a16="http://schemas.microsoft.com/office/drawing/2014/main" id="{8F87852B-4F96-4839-882E-A322C6204382}"/>
              </a:ext>
            </a:extLst>
          </p:cNvPr>
          <p:cNvGrpSpPr/>
          <p:nvPr/>
        </p:nvGrpSpPr>
        <p:grpSpPr>
          <a:xfrm>
            <a:off x="454758" y="4007867"/>
            <a:ext cx="2267406" cy="720382"/>
            <a:chOff x="412821" y="1612635"/>
            <a:chExt cx="2267406" cy="720382"/>
          </a:xfrm>
        </p:grpSpPr>
        <p:sp>
          <p:nvSpPr>
            <p:cNvPr id="97" name="Lorem Ipsum is simply dummy text of the printing typesetting">
              <a:extLst>
                <a:ext uri="{FF2B5EF4-FFF2-40B4-BE49-F238E27FC236}">
                  <a16:creationId xmlns:a16="http://schemas.microsoft.com/office/drawing/2014/main" id="{0ED4D823-C2B7-4ADE-A743-85FD5B813DE2}"/>
                </a:ext>
              </a:extLst>
            </p:cNvPr>
            <p:cNvSpPr txBox="1"/>
            <p:nvPr/>
          </p:nvSpPr>
          <p:spPr>
            <a:xfrm>
              <a:off x="412821" y="1867056"/>
              <a:ext cx="226740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defTabSz="412750" hangingPunct="0">
                <a:lnSpc>
                  <a:spcPts val="1700"/>
                </a:lnSpc>
              </a:pPr>
              <a:r>
                <a:rPr sz="1000" kern="0" dirty="0">
                  <a:solidFill>
                    <a:schemeClr val="tx1"/>
                  </a:solidFill>
                  <a:latin typeface="Montserrat" panose="00000500000000000000" pitchFamily="50" charset="0"/>
                </a:rPr>
                <a:t>Lorem Ipsum is simply dummy text of the printing typesetting</a:t>
              </a:r>
            </a:p>
          </p:txBody>
        </p:sp>
        <p:sp>
          <p:nvSpPr>
            <p:cNvPr id="98" name="Placeholder text">
              <a:extLst>
                <a:ext uri="{FF2B5EF4-FFF2-40B4-BE49-F238E27FC236}">
                  <a16:creationId xmlns:a16="http://schemas.microsoft.com/office/drawing/2014/main" id="{BC12BB18-1AEE-4BA2-9743-F10BC83BF382}"/>
                </a:ext>
              </a:extLst>
            </p:cNvPr>
            <p:cNvSpPr txBox="1"/>
            <p:nvPr/>
          </p:nvSpPr>
          <p:spPr>
            <a:xfrm>
              <a:off x="486979" y="1612635"/>
              <a:ext cx="2193248" cy="2359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b="0">
                  <a:solidFill>
                    <a:srgbClr val="535454"/>
                  </a:solidFill>
                  <a:latin typeface="Barlow Bold"/>
                  <a:ea typeface="Barlow Bold"/>
                  <a:cs typeface="Barlow Bold"/>
                  <a:sym typeface="Barlow Bold"/>
                </a:defRPr>
              </a:lvl1pPr>
            </a:lstStyle>
            <a:p>
              <a:pPr defTabSz="412750" hangingPunct="0"/>
              <a:r>
                <a:rPr lang="en-US" sz="1200" b="1" kern="0" dirty="0">
                  <a:solidFill>
                    <a:schemeClr val="accent1"/>
                  </a:solidFill>
                  <a:latin typeface="Montserrat" panose="00000500000000000000" pitchFamily="50" charset="0"/>
                </a:rPr>
                <a:t>Topic A Detail 3</a:t>
              </a:r>
            </a:p>
          </p:txBody>
        </p:sp>
      </p:grpSp>
      <p:grpSp>
        <p:nvGrpSpPr>
          <p:cNvPr id="99" name="Group 98">
            <a:extLst>
              <a:ext uri="{FF2B5EF4-FFF2-40B4-BE49-F238E27FC236}">
                <a16:creationId xmlns:a16="http://schemas.microsoft.com/office/drawing/2014/main" id="{062A5AE8-85B6-4E7A-BA2F-037AC24CB10A}"/>
              </a:ext>
            </a:extLst>
          </p:cNvPr>
          <p:cNvGrpSpPr/>
          <p:nvPr/>
        </p:nvGrpSpPr>
        <p:grpSpPr>
          <a:xfrm>
            <a:off x="454758" y="2794304"/>
            <a:ext cx="2267406" cy="720382"/>
            <a:chOff x="412821" y="1612635"/>
            <a:chExt cx="2267406" cy="720382"/>
          </a:xfrm>
        </p:grpSpPr>
        <p:sp>
          <p:nvSpPr>
            <p:cNvPr id="100" name="Lorem Ipsum is simply dummy text of the printing typesetting">
              <a:extLst>
                <a:ext uri="{FF2B5EF4-FFF2-40B4-BE49-F238E27FC236}">
                  <a16:creationId xmlns:a16="http://schemas.microsoft.com/office/drawing/2014/main" id="{4DEB549B-F9E5-4715-9533-7DD7C55E3B52}"/>
                </a:ext>
              </a:extLst>
            </p:cNvPr>
            <p:cNvSpPr txBox="1"/>
            <p:nvPr/>
          </p:nvSpPr>
          <p:spPr>
            <a:xfrm>
              <a:off x="412821" y="1867056"/>
              <a:ext cx="226740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defTabSz="412750" hangingPunct="0">
                <a:lnSpc>
                  <a:spcPts val="1700"/>
                </a:lnSpc>
              </a:pPr>
              <a:r>
                <a:rPr sz="1000" kern="0" dirty="0">
                  <a:solidFill>
                    <a:schemeClr val="tx1"/>
                  </a:solidFill>
                  <a:latin typeface="Montserrat" panose="00000500000000000000" pitchFamily="50" charset="0"/>
                </a:rPr>
                <a:t>Lorem Ipsum is simply dummy text of the printing typesetting</a:t>
              </a:r>
            </a:p>
          </p:txBody>
        </p:sp>
        <p:sp>
          <p:nvSpPr>
            <p:cNvPr id="101" name="Placeholder text">
              <a:extLst>
                <a:ext uri="{FF2B5EF4-FFF2-40B4-BE49-F238E27FC236}">
                  <a16:creationId xmlns:a16="http://schemas.microsoft.com/office/drawing/2014/main" id="{E67F0648-D6E2-4912-8237-45193C64E638}"/>
                </a:ext>
              </a:extLst>
            </p:cNvPr>
            <p:cNvSpPr txBox="1"/>
            <p:nvPr/>
          </p:nvSpPr>
          <p:spPr>
            <a:xfrm>
              <a:off x="486979" y="1612635"/>
              <a:ext cx="2193248" cy="2359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b="0">
                  <a:solidFill>
                    <a:srgbClr val="535454"/>
                  </a:solidFill>
                  <a:latin typeface="Barlow Bold"/>
                  <a:ea typeface="Barlow Bold"/>
                  <a:cs typeface="Barlow Bold"/>
                  <a:sym typeface="Barlow Bold"/>
                </a:defRPr>
              </a:lvl1pPr>
            </a:lstStyle>
            <a:p>
              <a:pPr defTabSz="412750" hangingPunct="0"/>
              <a:r>
                <a:rPr lang="en-US" sz="1200" b="1" kern="0" dirty="0">
                  <a:solidFill>
                    <a:schemeClr val="accent1"/>
                  </a:solidFill>
                  <a:latin typeface="Montserrat" panose="00000500000000000000" pitchFamily="50" charset="0"/>
                </a:rPr>
                <a:t>Topic A Detail 2</a:t>
              </a:r>
            </a:p>
          </p:txBody>
        </p:sp>
      </p:grpSp>
      <p:grpSp>
        <p:nvGrpSpPr>
          <p:cNvPr id="108" name="Group 107">
            <a:extLst>
              <a:ext uri="{FF2B5EF4-FFF2-40B4-BE49-F238E27FC236}">
                <a16:creationId xmlns:a16="http://schemas.microsoft.com/office/drawing/2014/main" id="{1C22C198-9244-4DA3-8BE8-9ABA4122504B}"/>
              </a:ext>
            </a:extLst>
          </p:cNvPr>
          <p:cNvGrpSpPr/>
          <p:nvPr/>
        </p:nvGrpSpPr>
        <p:grpSpPr>
          <a:xfrm flipH="1">
            <a:off x="9469836" y="1580741"/>
            <a:ext cx="2267406" cy="720382"/>
            <a:chOff x="412821" y="1612635"/>
            <a:chExt cx="2267406" cy="720382"/>
          </a:xfrm>
        </p:grpSpPr>
        <p:sp>
          <p:nvSpPr>
            <p:cNvPr id="118" name="Lorem Ipsum is simply dummy text of the printing typesetting">
              <a:extLst>
                <a:ext uri="{FF2B5EF4-FFF2-40B4-BE49-F238E27FC236}">
                  <a16:creationId xmlns:a16="http://schemas.microsoft.com/office/drawing/2014/main" id="{F9C81116-DB2F-4E12-8330-FF380E86ED09}"/>
                </a:ext>
              </a:extLst>
            </p:cNvPr>
            <p:cNvSpPr txBox="1"/>
            <p:nvPr/>
          </p:nvSpPr>
          <p:spPr>
            <a:xfrm>
              <a:off x="412821" y="1867056"/>
              <a:ext cx="226740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algn="l" defTabSz="412750" hangingPunct="0">
                <a:lnSpc>
                  <a:spcPts val="1700"/>
                </a:lnSpc>
              </a:pPr>
              <a:r>
                <a:rPr sz="1000" kern="0" dirty="0">
                  <a:solidFill>
                    <a:schemeClr val="tx1"/>
                  </a:solidFill>
                  <a:latin typeface="Montserrat" panose="00000500000000000000" pitchFamily="50" charset="0"/>
                </a:rPr>
                <a:t>Lorem Ipsum is simply dummy text of the printing typesetting</a:t>
              </a:r>
            </a:p>
          </p:txBody>
        </p:sp>
        <p:sp>
          <p:nvSpPr>
            <p:cNvPr id="119" name="Placeholder text">
              <a:extLst>
                <a:ext uri="{FF2B5EF4-FFF2-40B4-BE49-F238E27FC236}">
                  <a16:creationId xmlns:a16="http://schemas.microsoft.com/office/drawing/2014/main" id="{42B57F5A-5815-4B07-A8F7-EFCB7E455289}"/>
                </a:ext>
              </a:extLst>
            </p:cNvPr>
            <p:cNvSpPr txBox="1"/>
            <p:nvPr/>
          </p:nvSpPr>
          <p:spPr>
            <a:xfrm>
              <a:off x="486979" y="1612635"/>
              <a:ext cx="2193248" cy="2359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b="0">
                  <a:solidFill>
                    <a:srgbClr val="535454"/>
                  </a:solidFill>
                  <a:latin typeface="Barlow Bold"/>
                  <a:ea typeface="Barlow Bold"/>
                  <a:cs typeface="Barlow Bold"/>
                  <a:sym typeface="Barlow Bold"/>
                </a:defRPr>
              </a:lvl1pPr>
            </a:lstStyle>
            <a:p>
              <a:pPr algn="l" defTabSz="412750" hangingPunct="0"/>
              <a:r>
                <a:rPr lang="en-US" sz="1200" b="1" kern="0" dirty="0">
                  <a:solidFill>
                    <a:schemeClr val="accent4"/>
                  </a:solidFill>
                  <a:latin typeface="Montserrat" panose="00000500000000000000" pitchFamily="50" charset="0"/>
                </a:rPr>
                <a:t>Topic B Detail 1</a:t>
              </a:r>
              <a:endParaRPr sz="1200" b="1" kern="0" dirty="0">
                <a:solidFill>
                  <a:schemeClr val="accent4"/>
                </a:solidFill>
                <a:latin typeface="Montserrat" panose="00000500000000000000" pitchFamily="50" charset="0"/>
              </a:endParaRPr>
            </a:p>
          </p:txBody>
        </p:sp>
      </p:grpSp>
      <p:grpSp>
        <p:nvGrpSpPr>
          <p:cNvPr id="109" name="Group 108">
            <a:extLst>
              <a:ext uri="{FF2B5EF4-FFF2-40B4-BE49-F238E27FC236}">
                <a16:creationId xmlns:a16="http://schemas.microsoft.com/office/drawing/2014/main" id="{5DA2E82E-F999-426B-9F57-63B207664CD7}"/>
              </a:ext>
            </a:extLst>
          </p:cNvPr>
          <p:cNvGrpSpPr/>
          <p:nvPr/>
        </p:nvGrpSpPr>
        <p:grpSpPr>
          <a:xfrm flipH="1">
            <a:off x="9469836" y="5221430"/>
            <a:ext cx="2267406" cy="720382"/>
            <a:chOff x="412821" y="1612635"/>
            <a:chExt cx="2267406" cy="720382"/>
          </a:xfrm>
        </p:grpSpPr>
        <p:sp>
          <p:nvSpPr>
            <p:cNvPr id="116" name="Lorem Ipsum is simply dummy text of the printing typesetting">
              <a:extLst>
                <a:ext uri="{FF2B5EF4-FFF2-40B4-BE49-F238E27FC236}">
                  <a16:creationId xmlns:a16="http://schemas.microsoft.com/office/drawing/2014/main" id="{0B3177B6-D991-4AA8-8EE2-3A291736F089}"/>
                </a:ext>
              </a:extLst>
            </p:cNvPr>
            <p:cNvSpPr txBox="1"/>
            <p:nvPr/>
          </p:nvSpPr>
          <p:spPr>
            <a:xfrm>
              <a:off x="412821" y="1867056"/>
              <a:ext cx="226740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algn="l" defTabSz="412750" hangingPunct="0">
                <a:lnSpc>
                  <a:spcPts val="1700"/>
                </a:lnSpc>
              </a:pPr>
              <a:r>
                <a:rPr sz="1000" kern="0" dirty="0">
                  <a:solidFill>
                    <a:schemeClr val="tx1"/>
                  </a:solidFill>
                  <a:latin typeface="Montserrat" panose="00000500000000000000" pitchFamily="50" charset="0"/>
                </a:rPr>
                <a:t>Lorem Ipsum is simply dummy text of the printing typesetting</a:t>
              </a:r>
            </a:p>
          </p:txBody>
        </p:sp>
        <p:sp>
          <p:nvSpPr>
            <p:cNvPr id="117" name="Placeholder text">
              <a:extLst>
                <a:ext uri="{FF2B5EF4-FFF2-40B4-BE49-F238E27FC236}">
                  <a16:creationId xmlns:a16="http://schemas.microsoft.com/office/drawing/2014/main" id="{49D79CCD-B89E-43AC-981A-FC5531FF03EE}"/>
                </a:ext>
              </a:extLst>
            </p:cNvPr>
            <p:cNvSpPr txBox="1"/>
            <p:nvPr/>
          </p:nvSpPr>
          <p:spPr>
            <a:xfrm>
              <a:off x="486979" y="1612635"/>
              <a:ext cx="2193248" cy="2359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b="0">
                  <a:solidFill>
                    <a:srgbClr val="535454"/>
                  </a:solidFill>
                  <a:latin typeface="Barlow Bold"/>
                  <a:ea typeface="Barlow Bold"/>
                  <a:cs typeface="Barlow Bold"/>
                  <a:sym typeface="Barlow Bold"/>
                </a:defRPr>
              </a:lvl1pPr>
            </a:lstStyle>
            <a:p>
              <a:pPr algn="l" defTabSz="412750" hangingPunct="0"/>
              <a:r>
                <a:rPr lang="en-US" sz="1200" b="1" kern="0" dirty="0">
                  <a:solidFill>
                    <a:schemeClr val="accent4"/>
                  </a:solidFill>
                  <a:latin typeface="Montserrat" panose="00000500000000000000" pitchFamily="50" charset="0"/>
                </a:rPr>
                <a:t>Topic B Detail 4</a:t>
              </a:r>
            </a:p>
          </p:txBody>
        </p:sp>
      </p:grpSp>
      <p:grpSp>
        <p:nvGrpSpPr>
          <p:cNvPr id="110" name="Group 109">
            <a:extLst>
              <a:ext uri="{FF2B5EF4-FFF2-40B4-BE49-F238E27FC236}">
                <a16:creationId xmlns:a16="http://schemas.microsoft.com/office/drawing/2014/main" id="{587F2357-F638-4E7E-92F2-F89B4AE6968F}"/>
              </a:ext>
            </a:extLst>
          </p:cNvPr>
          <p:cNvGrpSpPr/>
          <p:nvPr/>
        </p:nvGrpSpPr>
        <p:grpSpPr>
          <a:xfrm flipH="1">
            <a:off x="9469836" y="4007867"/>
            <a:ext cx="2267406" cy="720382"/>
            <a:chOff x="412821" y="1612635"/>
            <a:chExt cx="2267406" cy="720382"/>
          </a:xfrm>
        </p:grpSpPr>
        <p:sp>
          <p:nvSpPr>
            <p:cNvPr id="114" name="Lorem Ipsum is simply dummy text of the printing typesetting">
              <a:extLst>
                <a:ext uri="{FF2B5EF4-FFF2-40B4-BE49-F238E27FC236}">
                  <a16:creationId xmlns:a16="http://schemas.microsoft.com/office/drawing/2014/main" id="{5B601C0A-A62C-4BCD-ABD5-6C74F182D62B}"/>
                </a:ext>
              </a:extLst>
            </p:cNvPr>
            <p:cNvSpPr txBox="1"/>
            <p:nvPr/>
          </p:nvSpPr>
          <p:spPr>
            <a:xfrm>
              <a:off x="412821" y="1867056"/>
              <a:ext cx="226740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algn="l" defTabSz="412750" hangingPunct="0">
                <a:lnSpc>
                  <a:spcPts val="1700"/>
                </a:lnSpc>
              </a:pPr>
              <a:r>
                <a:rPr sz="1000" kern="0" dirty="0">
                  <a:solidFill>
                    <a:schemeClr val="tx1"/>
                  </a:solidFill>
                  <a:latin typeface="Montserrat" panose="00000500000000000000" pitchFamily="50" charset="0"/>
                </a:rPr>
                <a:t>Lorem Ipsum is simply dummy text of the printing typesetting</a:t>
              </a:r>
            </a:p>
          </p:txBody>
        </p:sp>
        <p:sp>
          <p:nvSpPr>
            <p:cNvPr id="115" name="Placeholder text">
              <a:extLst>
                <a:ext uri="{FF2B5EF4-FFF2-40B4-BE49-F238E27FC236}">
                  <a16:creationId xmlns:a16="http://schemas.microsoft.com/office/drawing/2014/main" id="{BD093438-E79F-4863-B083-81C104C47DF3}"/>
                </a:ext>
              </a:extLst>
            </p:cNvPr>
            <p:cNvSpPr txBox="1"/>
            <p:nvPr/>
          </p:nvSpPr>
          <p:spPr>
            <a:xfrm>
              <a:off x="486979" y="1612635"/>
              <a:ext cx="2193248" cy="2359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b="0">
                  <a:solidFill>
                    <a:srgbClr val="535454"/>
                  </a:solidFill>
                  <a:latin typeface="Barlow Bold"/>
                  <a:ea typeface="Barlow Bold"/>
                  <a:cs typeface="Barlow Bold"/>
                  <a:sym typeface="Barlow Bold"/>
                </a:defRPr>
              </a:lvl1pPr>
            </a:lstStyle>
            <a:p>
              <a:pPr algn="l" defTabSz="412750" hangingPunct="0"/>
              <a:r>
                <a:rPr lang="en-US" sz="1200" b="1" kern="0" dirty="0">
                  <a:solidFill>
                    <a:schemeClr val="accent4"/>
                  </a:solidFill>
                  <a:latin typeface="Montserrat" panose="00000500000000000000" pitchFamily="50" charset="0"/>
                </a:rPr>
                <a:t>Topic B Detail 3</a:t>
              </a:r>
            </a:p>
          </p:txBody>
        </p:sp>
      </p:grpSp>
      <p:grpSp>
        <p:nvGrpSpPr>
          <p:cNvPr id="111" name="Group 110">
            <a:extLst>
              <a:ext uri="{FF2B5EF4-FFF2-40B4-BE49-F238E27FC236}">
                <a16:creationId xmlns:a16="http://schemas.microsoft.com/office/drawing/2014/main" id="{D9BF9BD9-13CD-4C2F-AC8E-59D59750490C}"/>
              </a:ext>
            </a:extLst>
          </p:cNvPr>
          <p:cNvGrpSpPr/>
          <p:nvPr/>
        </p:nvGrpSpPr>
        <p:grpSpPr>
          <a:xfrm flipH="1">
            <a:off x="9469836" y="2794304"/>
            <a:ext cx="2267406" cy="720382"/>
            <a:chOff x="412821" y="1612635"/>
            <a:chExt cx="2267406" cy="720382"/>
          </a:xfrm>
        </p:grpSpPr>
        <p:sp>
          <p:nvSpPr>
            <p:cNvPr id="112" name="Lorem Ipsum is simply dummy text of the printing typesetting">
              <a:extLst>
                <a:ext uri="{FF2B5EF4-FFF2-40B4-BE49-F238E27FC236}">
                  <a16:creationId xmlns:a16="http://schemas.microsoft.com/office/drawing/2014/main" id="{58591A19-2464-44F3-AA38-AABB8E67AF94}"/>
                </a:ext>
              </a:extLst>
            </p:cNvPr>
            <p:cNvSpPr txBox="1"/>
            <p:nvPr/>
          </p:nvSpPr>
          <p:spPr>
            <a:xfrm>
              <a:off x="412821" y="1867056"/>
              <a:ext cx="226740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algn="l" defTabSz="412750" hangingPunct="0">
                <a:lnSpc>
                  <a:spcPts val="1700"/>
                </a:lnSpc>
              </a:pPr>
              <a:r>
                <a:rPr sz="1000" kern="0" dirty="0">
                  <a:solidFill>
                    <a:schemeClr val="tx1"/>
                  </a:solidFill>
                  <a:latin typeface="Montserrat" panose="00000500000000000000" pitchFamily="50" charset="0"/>
                </a:rPr>
                <a:t>Lorem Ipsum is simply dummy text of the printing typesetting</a:t>
              </a:r>
            </a:p>
          </p:txBody>
        </p:sp>
        <p:sp>
          <p:nvSpPr>
            <p:cNvPr id="113" name="Placeholder text">
              <a:extLst>
                <a:ext uri="{FF2B5EF4-FFF2-40B4-BE49-F238E27FC236}">
                  <a16:creationId xmlns:a16="http://schemas.microsoft.com/office/drawing/2014/main" id="{FA36A2D6-3150-4827-8FAA-9A989F468F90}"/>
                </a:ext>
              </a:extLst>
            </p:cNvPr>
            <p:cNvSpPr txBox="1"/>
            <p:nvPr/>
          </p:nvSpPr>
          <p:spPr>
            <a:xfrm>
              <a:off x="486979" y="1612635"/>
              <a:ext cx="2193248" cy="2359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lgn="r">
                <a:defRPr b="0">
                  <a:solidFill>
                    <a:srgbClr val="535454"/>
                  </a:solidFill>
                  <a:latin typeface="Barlow Bold"/>
                  <a:ea typeface="Barlow Bold"/>
                  <a:cs typeface="Barlow Bold"/>
                  <a:sym typeface="Barlow Bold"/>
                </a:defRPr>
              </a:lvl1pPr>
            </a:lstStyle>
            <a:p>
              <a:pPr algn="l" defTabSz="412750" hangingPunct="0"/>
              <a:r>
                <a:rPr lang="en-US" sz="1200" b="1" kern="0" dirty="0">
                  <a:solidFill>
                    <a:schemeClr val="accent4"/>
                  </a:solidFill>
                  <a:latin typeface="Montserrat" panose="00000500000000000000" pitchFamily="50" charset="0"/>
                </a:rPr>
                <a:t>Topic B Detail 2</a:t>
              </a:r>
            </a:p>
          </p:txBody>
        </p:sp>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104"/>
                                        </p:tgtEl>
                                        <p:attrNameLst>
                                          <p:attrName>style.visibility</p:attrName>
                                        </p:attrNameLst>
                                      </p:cBhvr>
                                      <p:to>
                                        <p:strVal val="visible"/>
                                      </p:to>
                                    </p:set>
                                    <p:animEffect transition="in" filter="fade">
                                      <p:cBhvr>
                                        <p:cTn id="7" dur="1000"/>
                                        <p:tgtEl>
                                          <p:spTgt spid="104"/>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69"/>
                                        </p:tgtEl>
                                        <p:attrNameLst>
                                          <p:attrName>style.visibility</p:attrName>
                                        </p:attrNameLst>
                                      </p:cBhvr>
                                      <p:to>
                                        <p:strVal val="visible"/>
                                      </p:to>
                                    </p:set>
                                    <p:animEffect transition="in" filter="fade">
                                      <p:cBhvr>
                                        <p:cTn id="10" dur="1000"/>
                                        <p:tgtEl>
                                          <p:spTgt spid="69"/>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65"/>
                                        </p:tgtEl>
                                        <p:attrNameLst>
                                          <p:attrName>style.visibility</p:attrName>
                                        </p:attrNameLst>
                                      </p:cBhvr>
                                      <p:to>
                                        <p:strVal val="visible"/>
                                      </p:to>
                                    </p:set>
                                    <p:animEffect transition="in" filter="fade">
                                      <p:cBhvr>
                                        <p:cTn id="13" dur="1000"/>
                                        <p:tgtEl>
                                          <p:spTgt spid="65"/>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68"/>
                                        </p:tgtEl>
                                        <p:attrNameLst>
                                          <p:attrName>style.visibility</p:attrName>
                                        </p:attrNameLst>
                                      </p:cBhvr>
                                      <p:to>
                                        <p:strVal val="visible"/>
                                      </p:to>
                                    </p:set>
                                    <p:animEffect transition="in" filter="fade">
                                      <p:cBhvr>
                                        <p:cTn id="16" dur="1000"/>
                                        <p:tgtEl>
                                          <p:spTgt spid="68"/>
                                        </p:tgtEl>
                                      </p:cBhvr>
                                    </p:animEffect>
                                  </p:childTnLst>
                                </p:cTn>
                              </p:par>
                              <p:par>
                                <p:cTn id="17" presetID="10" presetClass="entr" presetSubtype="0" fill="hold" nodeType="withEffect">
                                  <p:stCondLst>
                                    <p:cond delay="100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1000"/>
                                        <p:tgtEl>
                                          <p:spTgt spid="2"/>
                                        </p:tgtEl>
                                      </p:cBhvr>
                                    </p:animEffect>
                                  </p:childTnLst>
                                </p:cTn>
                              </p:par>
                              <p:par>
                                <p:cTn id="20" presetID="23" presetClass="entr" presetSubtype="272" fill="hold" nodeType="withEffect">
                                  <p:stCondLst>
                                    <p:cond delay="1000"/>
                                  </p:stCondLst>
                                  <p:childTnLst>
                                    <p:set>
                                      <p:cBhvr>
                                        <p:cTn id="21" dur="1" fill="hold">
                                          <p:stCondLst>
                                            <p:cond delay="0"/>
                                          </p:stCondLst>
                                        </p:cTn>
                                        <p:tgtEl>
                                          <p:spTgt spid="2"/>
                                        </p:tgtEl>
                                        <p:attrNameLst>
                                          <p:attrName>style.visibility</p:attrName>
                                        </p:attrNameLst>
                                      </p:cBhvr>
                                      <p:to>
                                        <p:strVal val="visible"/>
                                      </p:to>
                                    </p:set>
                                    <p:anim calcmode="lin" valueType="num">
                                      <p:cBhvr>
                                        <p:cTn id="22" dur="1000" fill="hold"/>
                                        <p:tgtEl>
                                          <p:spTgt spid="2"/>
                                        </p:tgtEl>
                                        <p:attrNameLst>
                                          <p:attrName>ppt_w</p:attrName>
                                        </p:attrNameLst>
                                      </p:cBhvr>
                                      <p:tavLst>
                                        <p:tav tm="0">
                                          <p:val>
                                            <p:strVal val="2/3*#ppt_w"/>
                                          </p:val>
                                        </p:tav>
                                        <p:tav tm="100000">
                                          <p:val>
                                            <p:strVal val="#ppt_w"/>
                                          </p:val>
                                        </p:tav>
                                      </p:tavLst>
                                    </p:anim>
                                    <p:anim calcmode="lin" valueType="num">
                                      <p:cBhvr>
                                        <p:cTn id="23" dur="1000" fill="hold"/>
                                        <p:tgtEl>
                                          <p:spTgt spid="2"/>
                                        </p:tgtEl>
                                        <p:attrNameLst>
                                          <p:attrName>ppt_h</p:attrName>
                                        </p:attrNameLst>
                                      </p:cBhvr>
                                      <p:tavLst>
                                        <p:tav tm="0">
                                          <p:val>
                                            <p:strVal val="2/3*#ppt_h"/>
                                          </p:val>
                                        </p:tav>
                                        <p:tav tm="100000">
                                          <p:val>
                                            <p:strVal val="#ppt_h"/>
                                          </p:val>
                                        </p:tav>
                                      </p:tavLst>
                                    </p:anim>
                                  </p:childTnLst>
                                </p:cTn>
                              </p:par>
                              <p:par>
                                <p:cTn id="24" presetID="22" presetClass="entr" presetSubtype="1" fill="hold" nodeType="withEffect">
                                  <p:stCondLst>
                                    <p:cond delay="2000"/>
                                  </p:stCondLst>
                                  <p:childTnLst>
                                    <p:set>
                                      <p:cBhvr>
                                        <p:cTn id="25" dur="1" fill="hold">
                                          <p:stCondLst>
                                            <p:cond delay="0"/>
                                          </p:stCondLst>
                                        </p:cTn>
                                        <p:tgtEl>
                                          <p:spTgt spid="8"/>
                                        </p:tgtEl>
                                        <p:attrNameLst>
                                          <p:attrName>style.visibility</p:attrName>
                                        </p:attrNameLst>
                                      </p:cBhvr>
                                      <p:to>
                                        <p:strVal val="visible"/>
                                      </p:to>
                                    </p:set>
                                    <p:animEffect transition="in" filter="wipe(up)">
                                      <p:cBhvr>
                                        <p:cTn id="26" dur="1250"/>
                                        <p:tgtEl>
                                          <p:spTgt spid="8"/>
                                        </p:tgtEl>
                                      </p:cBhvr>
                                    </p:animEffect>
                                  </p:childTnLst>
                                </p:cTn>
                              </p:par>
                              <p:par>
                                <p:cTn id="27" presetID="22" presetClass="entr" presetSubtype="1" fill="hold" nodeType="withEffect">
                                  <p:stCondLst>
                                    <p:cond delay="2000"/>
                                  </p:stCondLst>
                                  <p:childTnLst>
                                    <p:set>
                                      <p:cBhvr>
                                        <p:cTn id="28" dur="1" fill="hold">
                                          <p:stCondLst>
                                            <p:cond delay="0"/>
                                          </p:stCondLst>
                                        </p:cTn>
                                        <p:tgtEl>
                                          <p:spTgt spid="85"/>
                                        </p:tgtEl>
                                        <p:attrNameLst>
                                          <p:attrName>style.visibility</p:attrName>
                                        </p:attrNameLst>
                                      </p:cBhvr>
                                      <p:to>
                                        <p:strVal val="visible"/>
                                      </p:to>
                                    </p:set>
                                    <p:animEffect transition="in" filter="wipe(up)">
                                      <p:cBhvr>
                                        <p:cTn id="29" dur="1250"/>
                                        <p:tgtEl>
                                          <p:spTgt spid="85"/>
                                        </p:tgtEl>
                                      </p:cBhvr>
                                    </p:animEffect>
                                  </p:childTnLst>
                                </p:cTn>
                              </p:par>
                              <p:par>
                                <p:cTn id="30" presetID="22" presetClass="entr" presetSubtype="2" fill="hold" nodeType="withEffect">
                                  <p:stCondLst>
                                    <p:cond delay="2000"/>
                                  </p:stCondLst>
                                  <p:childTnLst>
                                    <p:set>
                                      <p:cBhvr>
                                        <p:cTn id="31" dur="1" fill="hold">
                                          <p:stCondLst>
                                            <p:cond delay="0"/>
                                          </p:stCondLst>
                                        </p:cTn>
                                        <p:tgtEl>
                                          <p:spTgt spid="10"/>
                                        </p:tgtEl>
                                        <p:attrNameLst>
                                          <p:attrName>style.visibility</p:attrName>
                                        </p:attrNameLst>
                                      </p:cBhvr>
                                      <p:to>
                                        <p:strVal val="visible"/>
                                      </p:to>
                                    </p:set>
                                    <p:animEffect transition="in" filter="wipe(right)">
                                      <p:cBhvr>
                                        <p:cTn id="32" dur="2000"/>
                                        <p:tgtEl>
                                          <p:spTgt spid="10"/>
                                        </p:tgtEl>
                                      </p:cBhvr>
                                    </p:animEffect>
                                  </p:childTnLst>
                                </p:cTn>
                              </p:par>
                              <p:par>
                                <p:cTn id="33" presetID="22" presetClass="entr" presetSubtype="2" fill="hold" nodeType="withEffect">
                                  <p:stCondLst>
                                    <p:cond delay="2000"/>
                                  </p:stCondLst>
                                  <p:childTnLst>
                                    <p:set>
                                      <p:cBhvr>
                                        <p:cTn id="34" dur="1" fill="hold">
                                          <p:stCondLst>
                                            <p:cond delay="0"/>
                                          </p:stCondLst>
                                        </p:cTn>
                                        <p:tgtEl>
                                          <p:spTgt spid="99"/>
                                        </p:tgtEl>
                                        <p:attrNameLst>
                                          <p:attrName>style.visibility</p:attrName>
                                        </p:attrNameLst>
                                      </p:cBhvr>
                                      <p:to>
                                        <p:strVal val="visible"/>
                                      </p:to>
                                    </p:set>
                                    <p:animEffect transition="in" filter="wipe(right)">
                                      <p:cBhvr>
                                        <p:cTn id="35" dur="2000"/>
                                        <p:tgtEl>
                                          <p:spTgt spid="99"/>
                                        </p:tgtEl>
                                      </p:cBhvr>
                                    </p:animEffect>
                                  </p:childTnLst>
                                </p:cTn>
                              </p:par>
                              <p:par>
                                <p:cTn id="36" presetID="22" presetClass="entr" presetSubtype="2" fill="hold" nodeType="withEffect">
                                  <p:stCondLst>
                                    <p:cond delay="2000"/>
                                  </p:stCondLst>
                                  <p:childTnLst>
                                    <p:set>
                                      <p:cBhvr>
                                        <p:cTn id="37" dur="1" fill="hold">
                                          <p:stCondLst>
                                            <p:cond delay="0"/>
                                          </p:stCondLst>
                                        </p:cTn>
                                        <p:tgtEl>
                                          <p:spTgt spid="96"/>
                                        </p:tgtEl>
                                        <p:attrNameLst>
                                          <p:attrName>style.visibility</p:attrName>
                                        </p:attrNameLst>
                                      </p:cBhvr>
                                      <p:to>
                                        <p:strVal val="visible"/>
                                      </p:to>
                                    </p:set>
                                    <p:animEffect transition="in" filter="wipe(right)">
                                      <p:cBhvr>
                                        <p:cTn id="38" dur="2000"/>
                                        <p:tgtEl>
                                          <p:spTgt spid="96"/>
                                        </p:tgtEl>
                                      </p:cBhvr>
                                    </p:animEffect>
                                  </p:childTnLst>
                                </p:cTn>
                              </p:par>
                              <p:par>
                                <p:cTn id="39" presetID="22" presetClass="entr" presetSubtype="2" fill="hold" nodeType="withEffect">
                                  <p:stCondLst>
                                    <p:cond delay="2000"/>
                                  </p:stCondLst>
                                  <p:childTnLst>
                                    <p:set>
                                      <p:cBhvr>
                                        <p:cTn id="40" dur="1" fill="hold">
                                          <p:stCondLst>
                                            <p:cond delay="0"/>
                                          </p:stCondLst>
                                        </p:cTn>
                                        <p:tgtEl>
                                          <p:spTgt spid="93"/>
                                        </p:tgtEl>
                                        <p:attrNameLst>
                                          <p:attrName>style.visibility</p:attrName>
                                        </p:attrNameLst>
                                      </p:cBhvr>
                                      <p:to>
                                        <p:strVal val="visible"/>
                                      </p:to>
                                    </p:set>
                                    <p:animEffect transition="in" filter="wipe(right)">
                                      <p:cBhvr>
                                        <p:cTn id="41" dur="2000"/>
                                        <p:tgtEl>
                                          <p:spTgt spid="93"/>
                                        </p:tgtEl>
                                      </p:cBhvr>
                                    </p:animEffect>
                                  </p:childTnLst>
                                </p:cTn>
                              </p:par>
                              <p:par>
                                <p:cTn id="42" presetID="22" presetClass="entr" presetSubtype="8" fill="hold" nodeType="withEffect">
                                  <p:stCondLst>
                                    <p:cond delay="2000"/>
                                  </p:stCondLst>
                                  <p:childTnLst>
                                    <p:set>
                                      <p:cBhvr>
                                        <p:cTn id="43" dur="1" fill="hold">
                                          <p:stCondLst>
                                            <p:cond delay="0"/>
                                          </p:stCondLst>
                                        </p:cTn>
                                        <p:tgtEl>
                                          <p:spTgt spid="108"/>
                                        </p:tgtEl>
                                        <p:attrNameLst>
                                          <p:attrName>style.visibility</p:attrName>
                                        </p:attrNameLst>
                                      </p:cBhvr>
                                      <p:to>
                                        <p:strVal val="visible"/>
                                      </p:to>
                                    </p:set>
                                    <p:animEffect transition="in" filter="wipe(left)">
                                      <p:cBhvr>
                                        <p:cTn id="44" dur="2000"/>
                                        <p:tgtEl>
                                          <p:spTgt spid="108"/>
                                        </p:tgtEl>
                                      </p:cBhvr>
                                    </p:animEffect>
                                  </p:childTnLst>
                                </p:cTn>
                              </p:par>
                              <p:par>
                                <p:cTn id="45" presetID="22" presetClass="entr" presetSubtype="8" fill="hold" nodeType="withEffect">
                                  <p:stCondLst>
                                    <p:cond delay="2000"/>
                                  </p:stCondLst>
                                  <p:childTnLst>
                                    <p:set>
                                      <p:cBhvr>
                                        <p:cTn id="46" dur="1" fill="hold">
                                          <p:stCondLst>
                                            <p:cond delay="0"/>
                                          </p:stCondLst>
                                        </p:cTn>
                                        <p:tgtEl>
                                          <p:spTgt spid="111"/>
                                        </p:tgtEl>
                                        <p:attrNameLst>
                                          <p:attrName>style.visibility</p:attrName>
                                        </p:attrNameLst>
                                      </p:cBhvr>
                                      <p:to>
                                        <p:strVal val="visible"/>
                                      </p:to>
                                    </p:set>
                                    <p:animEffect transition="in" filter="wipe(left)">
                                      <p:cBhvr>
                                        <p:cTn id="47" dur="2000"/>
                                        <p:tgtEl>
                                          <p:spTgt spid="111"/>
                                        </p:tgtEl>
                                      </p:cBhvr>
                                    </p:animEffect>
                                  </p:childTnLst>
                                </p:cTn>
                              </p:par>
                              <p:par>
                                <p:cTn id="48" presetID="22" presetClass="entr" presetSubtype="8" fill="hold" nodeType="withEffect">
                                  <p:stCondLst>
                                    <p:cond delay="2000"/>
                                  </p:stCondLst>
                                  <p:childTnLst>
                                    <p:set>
                                      <p:cBhvr>
                                        <p:cTn id="49" dur="1" fill="hold">
                                          <p:stCondLst>
                                            <p:cond delay="0"/>
                                          </p:stCondLst>
                                        </p:cTn>
                                        <p:tgtEl>
                                          <p:spTgt spid="110"/>
                                        </p:tgtEl>
                                        <p:attrNameLst>
                                          <p:attrName>style.visibility</p:attrName>
                                        </p:attrNameLst>
                                      </p:cBhvr>
                                      <p:to>
                                        <p:strVal val="visible"/>
                                      </p:to>
                                    </p:set>
                                    <p:animEffect transition="in" filter="wipe(left)">
                                      <p:cBhvr>
                                        <p:cTn id="50" dur="2000"/>
                                        <p:tgtEl>
                                          <p:spTgt spid="110"/>
                                        </p:tgtEl>
                                      </p:cBhvr>
                                    </p:animEffect>
                                  </p:childTnLst>
                                </p:cTn>
                              </p:par>
                              <p:par>
                                <p:cTn id="51" presetID="22" presetClass="entr" presetSubtype="8" fill="hold" nodeType="withEffect">
                                  <p:stCondLst>
                                    <p:cond delay="2000"/>
                                  </p:stCondLst>
                                  <p:childTnLst>
                                    <p:set>
                                      <p:cBhvr>
                                        <p:cTn id="52" dur="1" fill="hold">
                                          <p:stCondLst>
                                            <p:cond delay="0"/>
                                          </p:stCondLst>
                                        </p:cTn>
                                        <p:tgtEl>
                                          <p:spTgt spid="109"/>
                                        </p:tgtEl>
                                        <p:attrNameLst>
                                          <p:attrName>style.visibility</p:attrName>
                                        </p:attrNameLst>
                                      </p:cBhvr>
                                      <p:to>
                                        <p:strVal val="visible"/>
                                      </p:to>
                                    </p:set>
                                    <p:animEffect transition="in" filter="wipe(left)">
                                      <p:cBhvr>
                                        <p:cTn id="53" dur="2000"/>
                                        <p:tgtEl>
                                          <p:spTgt spid="10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984"/>
                                        </p:tgtEl>
                                        <p:attrNameLst>
                                          <p:attrName>style.visibility</p:attrName>
                                        </p:attrNameLst>
                                      </p:cBhvr>
                                      <p:to>
                                        <p:strVal val="visible"/>
                                      </p:to>
                                    </p:set>
                                    <p:animEffect transition="in" filter="fade">
                                      <p:cBhvr>
                                        <p:cTn id="56" dur="1000"/>
                                        <p:tgtEl>
                                          <p:spTgt spid="198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987"/>
                                        </p:tgtEl>
                                        <p:attrNameLst>
                                          <p:attrName>style.visibility</p:attrName>
                                        </p:attrNameLst>
                                      </p:cBhvr>
                                      <p:to>
                                        <p:strVal val="visible"/>
                                      </p:to>
                                    </p:set>
                                    <p:animEffect transition="in" filter="fade">
                                      <p:cBhvr>
                                        <p:cTn id="59" dur="1000"/>
                                        <p:tgtEl>
                                          <p:spTgt spid="1987"/>
                                        </p:tgtEl>
                                      </p:cBhvr>
                                    </p:animEffect>
                                  </p:childTnLst>
                                </p:cTn>
                              </p:par>
                              <p:par>
                                <p:cTn id="60" presetID="0" presetClass="path" presetSubtype="0" decel="50000" fill="hold" grpId="1" nodeType="withEffect">
                                  <p:stCondLst>
                                    <p:cond delay="0"/>
                                  </p:stCondLst>
                                  <p:childTnLst>
                                    <p:animMotion origin="layout" path="M -0.07995 -4.07407E-6 L -4.375E-6 -4.07407E-6 " pathEditMode="relative" rAng="0" ptsTypes="AA">
                                      <p:cBhvr>
                                        <p:cTn id="61" dur="1500" fill="hold"/>
                                        <p:tgtEl>
                                          <p:spTgt spid="1984"/>
                                        </p:tgtEl>
                                        <p:attrNameLst>
                                          <p:attrName>ppt_x</p:attrName>
                                          <p:attrName>ppt_y</p:attrName>
                                        </p:attrNameLst>
                                      </p:cBhvr>
                                      <p:rCtr x="3594" y="0"/>
                                    </p:animMotion>
                                  </p:childTnLst>
                                </p:cTn>
                              </p:par>
                              <p:par>
                                <p:cTn id="62" presetID="0" presetClass="path" presetSubtype="0" decel="50000" fill="hold" grpId="1" nodeType="withEffect">
                                  <p:stCondLst>
                                    <p:cond delay="0"/>
                                  </p:stCondLst>
                                  <p:childTnLst>
                                    <p:animMotion origin="layout" path="M 0.07188 -4.07407E-6 L -2.91667E-6 -4.07407E-6 " pathEditMode="relative" rAng="0" ptsTypes="AA">
                                      <p:cBhvr>
                                        <p:cTn id="63" dur="1500" fill="hold"/>
                                        <p:tgtEl>
                                          <p:spTgt spid="1987"/>
                                        </p:tgtEl>
                                        <p:attrNameLst>
                                          <p:attrName>ppt_x</p:attrName>
                                          <p:attrName>ppt_y</p:attrName>
                                        </p:attrNameLst>
                                      </p:cBhvr>
                                      <p:rCtr x="-35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84" grpId="0" animBg="1"/>
      <p:bldP spid="1984" grpId="1" animBg="1"/>
      <p:bldP spid="1987" grpId="0" animBg="1"/>
      <p:bldP spid="1987" grpId="1" animBg="1"/>
      <p:bldP spid="65" grpId="0" animBg="1"/>
      <p:bldP spid="68" grpId="0" animBg="1"/>
      <p:bldP spid="69" grpId="0" animBg="1"/>
      <p:bldP spid="10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Circle">
            <a:extLst>
              <a:ext uri="{FF2B5EF4-FFF2-40B4-BE49-F238E27FC236}">
                <a16:creationId xmlns:a16="http://schemas.microsoft.com/office/drawing/2014/main" id="{CDA6ECFE-B21F-4A9E-B7BA-055B4900D26C}"/>
              </a:ext>
            </a:extLst>
          </p:cNvPr>
          <p:cNvSpPr/>
          <p:nvPr/>
        </p:nvSpPr>
        <p:spPr>
          <a:xfrm>
            <a:off x="-2430738" y="840326"/>
            <a:ext cx="5891938" cy="5891934"/>
          </a:xfrm>
          <a:prstGeom prst="ellipse">
            <a:avLst/>
          </a:prstGeom>
          <a:gradFill flip="none" rotWithShape="1">
            <a:gsLst>
              <a:gs pos="80000">
                <a:schemeClr val="tx2">
                  <a:lumMod val="20000"/>
                  <a:lumOff val="80000"/>
                  <a:alpha val="0"/>
                </a:schemeClr>
              </a:gs>
              <a:gs pos="0">
                <a:schemeClr val="tx2">
                  <a:lumMod val="20000"/>
                  <a:lumOff val="80000"/>
                  <a:alpha val="30000"/>
                </a:schemeClr>
              </a:gs>
            </a:gsLst>
            <a:lin ang="10800000" scaled="0"/>
            <a:tileRect/>
          </a:gradFill>
          <a:ln w="254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40" name="Circle">
            <a:extLst>
              <a:ext uri="{FF2B5EF4-FFF2-40B4-BE49-F238E27FC236}">
                <a16:creationId xmlns:a16="http://schemas.microsoft.com/office/drawing/2014/main" id="{C99487E4-9C7D-4D17-B367-763A5CBADFC7}"/>
              </a:ext>
            </a:extLst>
          </p:cNvPr>
          <p:cNvSpPr/>
          <p:nvPr/>
        </p:nvSpPr>
        <p:spPr>
          <a:xfrm>
            <a:off x="8730801" y="840326"/>
            <a:ext cx="5891938" cy="5891934"/>
          </a:xfrm>
          <a:prstGeom prst="ellipse">
            <a:avLst/>
          </a:prstGeom>
          <a:gradFill flip="none" rotWithShape="1">
            <a:gsLst>
              <a:gs pos="80000">
                <a:schemeClr val="tx2">
                  <a:lumMod val="20000"/>
                  <a:lumOff val="80000"/>
                  <a:alpha val="0"/>
                </a:schemeClr>
              </a:gs>
              <a:gs pos="0">
                <a:schemeClr val="tx2">
                  <a:lumMod val="20000"/>
                  <a:lumOff val="80000"/>
                  <a:alpha val="30000"/>
                </a:schemeClr>
              </a:gs>
            </a:gsLst>
            <a:lin ang="0" scaled="0"/>
            <a:tileRect/>
          </a:gradFill>
          <a:ln w="254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17" name="Rectangle 16">
            <a:extLst>
              <a:ext uri="{FF2B5EF4-FFF2-40B4-BE49-F238E27FC236}">
                <a16:creationId xmlns:a16="http://schemas.microsoft.com/office/drawing/2014/main" id="{034BF3EF-C119-434B-B779-4C9F45087B38}"/>
              </a:ext>
            </a:extLst>
          </p:cNvPr>
          <p:cNvSpPr/>
          <p:nvPr/>
        </p:nvSpPr>
        <p:spPr>
          <a:xfrm>
            <a:off x="388230" y="3377271"/>
            <a:ext cx="2627422" cy="818044"/>
          </a:xfrm>
          <a:prstGeom prst="rect">
            <a:avLst/>
          </a:prstGeom>
        </p:spPr>
        <p:txBody>
          <a:bodyPr wrap="square" lIns="0" tIns="0" rIns="0" bIns="0">
            <a:spAutoFit/>
          </a:bodyPr>
          <a:lstStyle/>
          <a:p>
            <a:pPr marL="0" marR="0" lvl="0" indent="0" algn="r" defTabSz="914400" rtl="0" eaLnBrk="1" fontAlgn="auto" latinLnBrk="0" hangingPunct="1">
              <a:lnSpc>
                <a:spcPts val="22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23232"/>
                </a:solidFill>
                <a:uLnTx/>
                <a:uFillTx/>
                <a:latin typeface="Montserrat" panose="00000500000000000000" pitchFamily="50" charset="0"/>
              </a:rPr>
              <a:t>A Venn diagram shows the similarities and differences between two sets of data. </a:t>
            </a:r>
          </a:p>
        </p:txBody>
      </p:sp>
      <p:sp>
        <p:nvSpPr>
          <p:cNvPr id="23" name="Rectangle 22">
            <a:extLst>
              <a:ext uri="{FF2B5EF4-FFF2-40B4-BE49-F238E27FC236}">
                <a16:creationId xmlns:a16="http://schemas.microsoft.com/office/drawing/2014/main" id="{DFFD4E29-B14F-459E-9CF8-AB37843EE1AC}"/>
              </a:ext>
            </a:extLst>
          </p:cNvPr>
          <p:cNvSpPr/>
          <p:nvPr/>
        </p:nvSpPr>
        <p:spPr>
          <a:xfrm>
            <a:off x="9176349" y="3377271"/>
            <a:ext cx="2462321" cy="818044"/>
          </a:xfrm>
          <a:prstGeom prst="rect">
            <a:avLst/>
          </a:prstGeom>
        </p:spPr>
        <p:txBody>
          <a:bodyPr wrap="square" lIns="0" tIns="0" rIns="0" bIns="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23232"/>
                </a:solidFill>
                <a:uLnTx/>
                <a:uFillTx/>
                <a:latin typeface="Montserrat" panose="00000500000000000000" pitchFamily="50" charset="0"/>
              </a:rPr>
              <a:t>A Venn diagram shows the similarities and differences between two sets of data. </a:t>
            </a:r>
          </a:p>
        </p:txBody>
      </p:sp>
      <p:sp>
        <p:nvSpPr>
          <p:cNvPr id="19" name="Circle">
            <a:extLst>
              <a:ext uri="{FF2B5EF4-FFF2-40B4-BE49-F238E27FC236}">
                <a16:creationId xmlns:a16="http://schemas.microsoft.com/office/drawing/2014/main" id="{CAF9D758-432F-41E7-8E86-D6870290CB99}"/>
              </a:ext>
            </a:extLst>
          </p:cNvPr>
          <p:cNvSpPr/>
          <p:nvPr/>
        </p:nvSpPr>
        <p:spPr>
          <a:xfrm>
            <a:off x="3461200" y="2120360"/>
            <a:ext cx="3331866" cy="3331865"/>
          </a:xfrm>
          <a:prstGeom prst="ellipse">
            <a:avLst/>
          </a:prstGeom>
          <a:gradFill>
            <a:gsLst>
              <a:gs pos="100000">
                <a:schemeClr val="accent3"/>
              </a:gs>
              <a:gs pos="0">
                <a:schemeClr val="accent1"/>
              </a:gs>
            </a:gsLst>
            <a:path path="circle">
              <a:fillToRect r="100000" b="100000"/>
            </a:path>
          </a:gradFill>
          <a:ln w="254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20" name="Circle">
            <a:extLst>
              <a:ext uri="{FF2B5EF4-FFF2-40B4-BE49-F238E27FC236}">
                <a16:creationId xmlns:a16="http://schemas.microsoft.com/office/drawing/2014/main" id="{F329B6E4-0127-45F1-B2FD-523DB449FC54}"/>
              </a:ext>
            </a:extLst>
          </p:cNvPr>
          <p:cNvSpPr/>
          <p:nvPr/>
        </p:nvSpPr>
        <p:spPr>
          <a:xfrm>
            <a:off x="5398935" y="2120360"/>
            <a:ext cx="3331866" cy="3331865"/>
          </a:xfrm>
          <a:prstGeom prst="ellipse">
            <a:avLst/>
          </a:prstGeom>
          <a:gradFill flip="none" rotWithShape="1">
            <a:gsLst>
              <a:gs pos="100000">
                <a:schemeClr val="accent2">
                  <a:lumMod val="50000"/>
                  <a:lumOff val="50000"/>
                </a:schemeClr>
              </a:gs>
              <a:gs pos="0">
                <a:schemeClr val="accent4"/>
              </a:gs>
            </a:gsLst>
            <a:path path="circle">
              <a:fillToRect l="100000" b="100000"/>
            </a:path>
            <a:tileRect t="-100000" r="-100000"/>
          </a:gradFill>
          <a:ln w="254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30" name="Freeform: Shape 29">
            <a:extLst>
              <a:ext uri="{FF2B5EF4-FFF2-40B4-BE49-F238E27FC236}">
                <a16:creationId xmlns:a16="http://schemas.microsoft.com/office/drawing/2014/main" id="{53ECD676-FD0E-4BF7-8433-4F2EC0F80594}"/>
              </a:ext>
            </a:extLst>
          </p:cNvPr>
          <p:cNvSpPr/>
          <p:nvPr/>
        </p:nvSpPr>
        <p:spPr>
          <a:xfrm>
            <a:off x="5398935" y="2432861"/>
            <a:ext cx="1394133" cy="2706862"/>
          </a:xfrm>
          <a:custGeom>
            <a:avLst/>
            <a:gdLst>
              <a:gd name="connsiteX0" fmla="*/ 514882 w 1029763"/>
              <a:gd name="connsiteY0" fmla="*/ 0 h 1999398"/>
              <a:gd name="connsiteX1" fmla="*/ 581966 w 1029763"/>
              <a:gd name="connsiteY1" fmla="*/ 50165 h 1999398"/>
              <a:gd name="connsiteX2" fmla="*/ 1029763 w 1029763"/>
              <a:gd name="connsiteY2" fmla="*/ 999699 h 1999398"/>
              <a:gd name="connsiteX3" fmla="*/ 581966 w 1029763"/>
              <a:gd name="connsiteY3" fmla="*/ 1949233 h 1999398"/>
              <a:gd name="connsiteX4" fmla="*/ 514882 w 1029763"/>
              <a:gd name="connsiteY4" fmla="*/ 1999398 h 1999398"/>
              <a:gd name="connsiteX5" fmla="*/ 447797 w 1029763"/>
              <a:gd name="connsiteY5" fmla="*/ 1949233 h 1999398"/>
              <a:gd name="connsiteX6" fmla="*/ 0 w 1029763"/>
              <a:gd name="connsiteY6" fmla="*/ 999699 h 1999398"/>
              <a:gd name="connsiteX7" fmla="*/ 447797 w 1029763"/>
              <a:gd name="connsiteY7" fmla="*/ 50165 h 1999398"/>
              <a:gd name="connsiteX8" fmla="*/ 514882 w 1029763"/>
              <a:gd name="connsiteY8" fmla="*/ 0 h 1999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9763" h="1999398">
                <a:moveTo>
                  <a:pt x="514882" y="0"/>
                </a:moveTo>
                <a:lnTo>
                  <a:pt x="581966" y="50165"/>
                </a:lnTo>
                <a:cubicBezTo>
                  <a:pt x="855447" y="275862"/>
                  <a:pt x="1029763" y="617424"/>
                  <a:pt x="1029763" y="999699"/>
                </a:cubicBezTo>
                <a:cubicBezTo>
                  <a:pt x="1029763" y="1381975"/>
                  <a:pt x="855447" y="1723536"/>
                  <a:pt x="581966" y="1949233"/>
                </a:cubicBezTo>
                <a:lnTo>
                  <a:pt x="514882" y="1999398"/>
                </a:lnTo>
                <a:lnTo>
                  <a:pt x="447797" y="1949233"/>
                </a:lnTo>
                <a:cubicBezTo>
                  <a:pt x="174316" y="1723536"/>
                  <a:pt x="0" y="1381975"/>
                  <a:pt x="0" y="999699"/>
                </a:cubicBezTo>
                <a:cubicBezTo>
                  <a:pt x="0" y="617424"/>
                  <a:pt x="174316" y="275862"/>
                  <a:pt x="447797" y="50165"/>
                </a:cubicBezTo>
                <a:lnTo>
                  <a:pt x="514882" y="0"/>
                </a:lnTo>
                <a:close/>
              </a:path>
            </a:pathLst>
          </a:custGeom>
          <a:solidFill>
            <a:schemeClr val="bg1"/>
          </a:solidFill>
          <a:ln w="254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15" name="Rectangle 32">
            <a:extLst>
              <a:ext uri="{FF2B5EF4-FFF2-40B4-BE49-F238E27FC236}">
                <a16:creationId xmlns:a16="http://schemas.microsoft.com/office/drawing/2014/main" id="{08A1BE1B-13AA-4AB1-8872-CC28AD79D1AF}"/>
              </a:ext>
            </a:extLst>
          </p:cNvPr>
          <p:cNvSpPr>
            <a:spLocks noChangeArrowheads="1"/>
          </p:cNvSpPr>
          <p:nvPr/>
        </p:nvSpPr>
        <p:spPr bwMode="auto">
          <a:xfrm>
            <a:off x="5514109" y="3570849"/>
            <a:ext cx="1163780" cy="430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172" rtl="0" eaLnBrk="0" fontAlgn="base" latinLnBrk="0" hangingPunct="0">
              <a:spcBef>
                <a:spcPct val="0"/>
              </a:spcBef>
              <a:spcAft>
                <a:spcPct val="0"/>
              </a:spcAft>
              <a:buClrTx/>
              <a:buSzTx/>
              <a:buFontTx/>
              <a:buNone/>
              <a:tabLst/>
              <a:defRPr/>
            </a:pPr>
            <a:r>
              <a:rPr kumimoji="0" lang="en-US" altLang="en-US" sz="1400" b="1" i="0" u="none" strike="noStrike" kern="1200" cap="none" spc="-75" normalizeH="0" baseline="0" noProof="0" dirty="0">
                <a:ln>
                  <a:noFill/>
                </a:ln>
                <a:uLnTx/>
                <a:uFillTx/>
                <a:latin typeface="Montserrat" panose="00000500000000000000" pitchFamily="50" charset="0"/>
              </a:rPr>
              <a:t>COMPANY</a:t>
            </a:r>
          </a:p>
          <a:p>
            <a:pPr marL="0" marR="0" lvl="0" indent="0" algn="ctr" defTabSz="914172" rtl="0" eaLnBrk="0" fontAlgn="base" latinLnBrk="0" hangingPunct="0">
              <a:spcBef>
                <a:spcPct val="0"/>
              </a:spcBef>
              <a:spcAft>
                <a:spcPct val="0"/>
              </a:spcAft>
              <a:buClrTx/>
              <a:buSzTx/>
              <a:buFontTx/>
              <a:buNone/>
              <a:tabLst/>
              <a:defRPr/>
            </a:pPr>
            <a:r>
              <a:rPr kumimoji="0" lang="en-US" altLang="en-US" sz="1400" b="1" i="0" u="none" strike="noStrike" kern="1200" cap="none" spc="-75" normalizeH="0" baseline="0" noProof="0" dirty="0">
                <a:ln>
                  <a:noFill/>
                </a:ln>
                <a:uLnTx/>
                <a:uFillTx/>
                <a:latin typeface="Montserrat" panose="00000500000000000000" pitchFamily="50" charset="0"/>
              </a:rPr>
              <a:t>PHILOSOPHY</a:t>
            </a:r>
          </a:p>
        </p:txBody>
      </p:sp>
      <p:sp>
        <p:nvSpPr>
          <p:cNvPr id="24" name="Rectangle 32">
            <a:extLst>
              <a:ext uri="{FF2B5EF4-FFF2-40B4-BE49-F238E27FC236}">
                <a16:creationId xmlns:a16="http://schemas.microsoft.com/office/drawing/2014/main" id="{A5030B3B-FA47-47C3-A33D-8F331EFB2652}"/>
              </a:ext>
            </a:extLst>
          </p:cNvPr>
          <p:cNvSpPr>
            <a:spLocks noChangeArrowheads="1"/>
          </p:cNvSpPr>
          <p:nvPr/>
        </p:nvSpPr>
        <p:spPr bwMode="auto">
          <a:xfrm>
            <a:off x="6936676" y="3967518"/>
            <a:ext cx="1590656" cy="4401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172" rtl="0" eaLnBrk="0" fontAlgn="base" latinLnBrk="0" hangingPunct="0">
              <a:lnSpc>
                <a:spcPts val="1800"/>
              </a:lnSpc>
              <a:spcBef>
                <a:spcPct val="0"/>
              </a:spcBef>
              <a:spcAft>
                <a:spcPct val="0"/>
              </a:spcAft>
              <a:buClrTx/>
              <a:buSzTx/>
              <a:buFontTx/>
              <a:buNone/>
              <a:tabLst/>
              <a:defRPr/>
            </a:pPr>
            <a:r>
              <a:rPr kumimoji="0" lang="en-US" altLang="en-US" sz="1200" b="1" i="0" u="none" strike="noStrike" kern="1200" cap="none" spc="-75" normalizeH="0" baseline="0" noProof="0" dirty="0">
                <a:ln>
                  <a:noFill/>
                </a:ln>
                <a:solidFill>
                  <a:schemeClr val="bg1"/>
                </a:solidFill>
                <a:uLnTx/>
                <a:uFillTx/>
                <a:latin typeface="Montserrat" panose="00000500000000000000" pitchFamily="50" charset="0"/>
              </a:rPr>
              <a:t>PEOPLE WHO ONLY WORK SMART</a:t>
            </a:r>
          </a:p>
        </p:txBody>
      </p:sp>
      <p:sp>
        <p:nvSpPr>
          <p:cNvPr id="11" name="Freeform: Shape 10">
            <a:extLst>
              <a:ext uri="{FF2B5EF4-FFF2-40B4-BE49-F238E27FC236}">
                <a16:creationId xmlns:a16="http://schemas.microsoft.com/office/drawing/2014/main" id="{C961AF09-2380-4C89-8BA5-B6A8269DD99F}"/>
              </a:ext>
            </a:extLst>
          </p:cNvPr>
          <p:cNvSpPr/>
          <p:nvPr/>
        </p:nvSpPr>
        <p:spPr>
          <a:xfrm>
            <a:off x="7365885" y="3190724"/>
            <a:ext cx="548868" cy="575794"/>
          </a:xfrm>
          <a:custGeom>
            <a:avLst/>
            <a:gdLst>
              <a:gd name="connsiteX0" fmla="*/ 217723 w 2524125"/>
              <a:gd name="connsiteY0" fmla="*/ 0 h 2647950"/>
              <a:gd name="connsiteX1" fmla="*/ 339167 w 2524125"/>
              <a:gd name="connsiteY1" fmla="*/ 115253 h 2647950"/>
              <a:gd name="connsiteX2" fmla="*/ 331642 w 2524125"/>
              <a:gd name="connsiteY2" fmla="*/ 205359 h 2647950"/>
              <a:gd name="connsiteX3" fmla="*/ 241250 w 2524125"/>
              <a:gd name="connsiteY3" fmla="*/ 213265 h 2647950"/>
              <a:gd name="connsiteX4" fmla="*/ 135713 w 2524125"/>
              <a:gd name="connsiteY4" fmla="*/ 107061 h 2647950"/>
              <a:gd name="connsiteX5" fmla="*/ 171146 w 2524125"/>
              <a:gd name="connsiteY5" fmla="*/ 0 h 2647950"/>
              <a:gd name="connsiteX6" fmla="*/ 217723 w 2524125"/>
              <a:gd name="connsiteY6" fmla="*/ 0 h 2647950"/>
              <a:gd name="connsiteX7" fmla="*/ 1183844 w 2524125"/>
              <a:gd name="connsiteY7" fmla="*/ 1397603 h 2647950"/>
              <a:gd name="connsiteX8" fmla="*/ 1193750 w 2524125"/>
              <a:gd name="connsiteY8" fmla="*/ 1323308 h 2647950"/>
              <a:gd name="connsiteX9" fmla="*/ 1221753 w 2524125"/>
              <a:gd name="connsiteY9" fmla="*/ 1307021 h 2647950"/>
              <a:gd name="connsiteX10" fmla="*/ 1279094 w 2524125"/>
              <a:gd name="connsiteY10" fmla="*/ 1330738 h 2647950"/>
              <a:gd name="connsiteX11" fmla="*/ 1417397 w 2524125"/>
              <a:gd name="connsiteY11" fmla="*/ 1268730 h 2647950"/>
              <a:gd name="connsiteX12" fmla="*/ 1481405 w 2524125"/>
              <a:gd name="connsiteY12" fmla="*/ 1096613 h 2647950"/>
              <a:gd name="connsiteX13" fmla="*/ 1486453 w 2524125"/>
              <a:gd name="connsiteY13" fmla="*/ 1061180 h 2647950"/>
              <a:gd name="connsiteX14" fmla="*/ 1425779 w 2524125"/>
              <a:gd name="connsiteY14" fmla="*/ 998696 h 2647950"/>
              <a:gd name="connsiteX15" fmla="*/ 1347769 w 2524125"/>
              <a:gd name="connsiteY15" fmla="*/ 1045845 h 2647950"/>
              <a:gd name="connsiteX16" fmla="*/ 1306145 w 2524125"/>
              <a:gd name="connsiteY16" fmla="*/ 1160145 h 2647950"/>
              <a:gd name="connsiteX17" fmla="*/ 1275950 w 2524125"/>
              <a:gd name="connsiteY17" fmla="*/ 1174528 h 2647950"/>
              <a:gd name="connsiteX18" fmla="*/ 1198893 w 2524125"/>
              <a:gd name="connsiteY18" fmla="*/ 1132237 h 2647950"/>
              <a:gd name="connsiteX19" fmla="*/ 1085546 w 2524125"/>
              <a:gd name="connsiteY19" fmla="*/ 1174337 h 2647950"/>
              <a:gd name="connsiteX20" fmla="*/ 1045255 w 2524125"/>
              <a:gd name="connsiteY20" fmla="*/ 1551432 h 2647950"/>
              <a:gd name="connsiteX21" fmla="*/ 1448448 w 2524125"/>
              <a:gd name="connsiteY21" fmla="*/ 2109026 h 2647950"/>
              <a:gd name="connsiteX22" fmla="*/ 1692003 w 2524125"/>
              <a:gd name="connsiteY22" fmla="*/ 2141696 h 2647950"/>
              <a:gd name="connsiteX23" fmla="*/ 1967656 w 2524125"/>
              <a:gd name="connsiteY23" fmla="*/ 1989201 h 2647950"/>
              <a:gd name="connsiteX24" fmla="*/ 2146917 w 2524125"/>
              <a:gd name="connsiteY24" fmla="*/ 1167003 h 2647950"/>
              <a:gd name="connsiteX25" fmla="*/ 2042999 w 2524125"/>
              <a:gd name="connsiteY25" fmla="*/ 1128427 h 2647950"/>
              <a:gd name="connsiteX26" fmla="*/ 1984706 w 2524125"/>
              <a:gd name="connsiteY26" fmla="*/ 1162050 h 2647950"/>
              <a:gd name="connsiteX27" fmla="*/ 1623899 w 2524125"/>
              <a:gd name="connsiteY27" fmla="*/ 1241679 h 2647950"/>
              <a:gd name="connsiteX28" fmla="*/ 1547889 w 2524125"/>
              <a:gd name="connsiteY28" fmla="*/ 1313021 h 2647950"/>
              <a:gd name="connsiteX29" fmla="*/ 1627423 w 2524125"/>
              <a:gd name="connsiteY29" fmla="*/ 1384554 h 2647950"/>
              <a:gd name="connsiteX30" fmla="*/ 1784490 w 2524125"/>
              <a:gd name="connsiteY30" fmla="*/ 1371600 h 2647950"/>
              <a:gd name="connsiteX31" fmla="*/ 2017662 w 2524125"/>
              <a:gd name="connsiteY31" fmla="*/ 1305306 h 2647950"/>
              <a:gd name="connsiteX32" fmla="*/ 2039856 w 2524125"/>
              <a:gd name="connsiteY32" fmla="*/ 1314164 h 2647950"/>
              <a:gd name="connsiteX33" fmla="*/ 2048428 w 2524125"/>
              <a:gd name="connsiteY33" fmla="*/ 1532858 h 2647950"/>
              <a:gd name="connsiteX34" fmla="*/ 1787919 w 2524125"/>
              <a:gd name="connsiteY34" fmla="*/ 1945672 h 2647950"/>
              <a:gd name="connsiteX35" fmla="*/ 1489025 w 2524125"/>
              <a:gd name="connsiteY35" fmla="*/ 1969770 h 2647950"/>
              <a:gd name="connsiteX36" fmla="*/ 1183463 w 2524125"/>
              <a:gd name="connsiteY36" fmla="*/ 1451801 h 2647950"/>
              <a:gd name="connsiteX37" fmla="*/ 1183844 w 2524125"/>
              <a:gd name="connsiteY37" fmla="*/ 1397603 h 2647950"/>
              <a:gd name="connsiteX38" fmla="*/ 2529250 w 2524125"/>
              <a:gd name="connsiteY38" fmla="*/ 1303020 h 2647950"/>
              <a:gd name="connsiteX39" fmla="*/ 2511724 w 2524125"/>
              <a:gd name="connsiteY39" fmla="*/ 1115282 h 2647950"/>
              <a:gd name="connsiteX40" fmla="*/ 2328749 w 2524125"/>
              <a:gd name="connsiteY40" fmla="*/ 719804 h 2647950"/>
              <a:gd name="connsiteX41" fmla="*/ 1869072 w 2524125"/>
              <a:gd name="connsiteY41" fmla="*/ 412433 h 2647950"/>
              <a:gd name="connsiteX42" fmla="*/ 1477214 w 2524125"/>
              <a:gd name="connsiteY42" fmla="*/ 387572 h 2647950"/>
              <a:gd name="connsiteX43" fmla="*/ 1280618 w 2524125"/>
              <a:gd name="connsiteY43" fmla="*/ 441865 h 2647950"/>
              <a:gd name="connsiteX44" fmla="*/ 1239851 w 2524125"/>
              <a:gd name="connsiteY44" fmla="*/ 531971 h 2647950"/>
              <a:gd name="connsiteX45" fmla="*/ 1325862 w 2524125"/>
              <a:gd name="connsiteY45" fmla="*/ 576263 h 2647950"/>
              <a:gd name="connsiteX46" fmla="*/ 1375106 w 2524125"/>
              <a:gd name="connsiteY46" fmla="*/ 560451 h 2647950"/>
              <a:gd name="connsiteX47" fmla="*/ 1752677 w 2524125"/>
              <a:gd name="connsiteY47" fmla="*/ 532638 h 2647950"/>
              <a:gd name="connsiteX48" fmla="*/ 2208067 w 2524125"/>
              <a:gd name="connsiteY48" fmla="*/ 798671 h 2647950"/>
              <a:gd name="connsiteX49" fmla="*/ 2379898 w 2524125"/>
              <a:gd name="connsiteY49" fmla="*/ 1218057 h 2647950"/>
              <a:gd name="connsiteX50" fmla="*/ 2382184 w 2524125"/>
              <a:gd name="connsiteY50" fmla="*/ 1966627 h 2647950"/>
              <a:gd name="connsiteX51" fmla="*/ 2298935 w 2524125"/>
              <a:gd name="connsiteY51" fmla="*/ 2139029 h 2647950"/>
              <a:gd name="connsiteX52" fmla="*/ 2117675 w 2524125"/>
              <a:gd name="connsiteY52" fmla="*/ 2210943 h 2647950"/>
              <a:gd name="connsiteX53" fmla="*/ 2050809 w 2524125"/>
              <a:gd name="connsiteY53" fmla="*/ 2285619 h 2647950"/>
              <a:gd name="connsiteX54" fmla="*/ 2126724 w 2524125"/>
              <a:gd name="connsiteY54" fmla="*/ 2352961 h 2647950"/>
              <a:gd name="connsiteX55" fmla="*/ 2193494 w 2524125"/>
              <a:gd name="connsiteY55" fmla="*/ 2345912 h 2647950"/>
              <a:gd name="connsiteX56" fmla="*/ 2529345 w 2524125"/>
              <a:gd name="connsiteY56" fmla="*/ 1940338 h 2647950"/>
              <a:gd name="connsiteX57" fmla="*/ 2529536 w 2524125"/>
              <a:gd name="connsiteY57" fmla="*/ 1616488 h 2647950"/>
              <a:gd name="connsiteX58" fmla="*/ 2529250 w 2524125"/>
              <a:gd name="connsiteY58" fmla="*/ 1303020 h 2647950"/>
              <a:gd name="connsiteX59" fmla="*/ 936956 w 2524125"/>
              <a:gd name="connsiteY59" fmla="*/ 757809 h 2647950"/>
              <a:gd name="connsiteX60" fmla="*/ 1021252 w 2524125"/>
              <a:gd name="connsiteY60" fmla="*/ 679704 h 2647950"/>
              <a:gd name="connsiteX61" fmla="*/ 1051351 w 2524125"/>
              <a:gd name="connsiteY61" fmla="*/ 610457 h 2647950"/>
              <a:gd name="connsiteX62" fmla="*/ 1120026 w 2524125"/>
              <a:gd name="connsiteY62" fmla="*/ 501968 h 2647950"/>
              <a:gd name="connsiteX63" fmla="*/ 753885 w 2524125"/>
              <a:gd name="connsiteY63" fmla="*/ 56674 h 2647950"/>
              <a:gd name="connsiteX64" fmla="*/ 483566 w 2524125"/>
              <a:gd name="connsiteY64" fmla="*/ 263366 h 2647950"/>
              <a:gd name="connsiteX65" fmla="*/ 533763 w 2524125"/>
              <a:gd name="connsiteY65" fmla="*/ 601694 h 2647950"/>
              <a:gd name="connsiteX66" fmla="*/ 573005 w 2524125"/>
              <a:gd name="connsiteY66" fmla="*/ 686467 h 2647950"/>
              <a:gd name="connsiteX67" fmla="*/ 654635 w 2524125"/>
              <a:gd name="connsiteY67" fmla="*/ 757714 h 2647950"/>
              <a:gd name="connsiteX68" fmla="*/ 797129 w 2524125"/>
              <a:gd name="connsiteY68" fmla="*/ 757809 h 2647950"/>
              <a:gd name="connsiteX69" fmla="*/ 936956 w 2524125"/>
              <a:gd name="connsiteY69" fmla="*/ 757809 h 2647950"/>
              <a:gd name="connsiteX70" fmla="*/ 675875 w 2524125"/>
              <a:gd name="connsiteY70" fmla="*/ 551879 h 2647950"/>
              <a:gd name="connsiteX71" fmla="*/ 646253 w 2524125"/>
              <a:gd name="connsiteY71" fmla="*/ 513207 h 2647950"/>
              <a:gd name="connsiteX72" fmla="*/ 616344 w 2524125"/>
              <a:gd name="connsiteY72" fmla="*/ 318421 h 2647950"/>
              <a:gd name="connsiteX73" fmla="*/ 783413 w 2524125"/>
              <a:gd name="connsiteY73" fmla="*/ 198977 h 2647950"/>
              <a:gd name="connsiteX74" fmla="*/ 992105 w 2524125"/>
              <a:gd name="connsiteY74" fmla="*/ 391382 h 2647950"/>
              <a:gd name="connsiteX75" fmla="*/ 952767 w 2524125"/>
              <a:gd name="connsiteY75" fmla="*/ 505492 h 2647950"/>
              <a:gd name="connsiteX76" fmla="*/ 891236 w 2524125"/>
              <a:gd name="connsiteY76" fmla="*/ 600075 h 2647950"/>
              <a:gd name="connsiteX77" fmla="*/ 867328 w 2524125"/>
              <a:gd name="connsiteY77" fmla="*/ 614839 h 2647950"/>
              <a:gd name="connsiteX78" fmla="*/ 783889 w 2524125"/>
              <a:gd name="connsiteY78" fmla="*/ 614744 h 2647950"/>
              <a:gd name="connsiteX79" fmla="*/ 675875 w 2524125"/>
              <a:gd name="connsiteY79" fmla="*/ 551879 h 2647950"/>
              <a:gd name="connsiteX80" fmla="*/ 708165 w 2524125"/>
              <a:gd name="connsiteY80" fmla="*/ 1599914 h 2647950"/>
              <a:gd name="connsiteX81" fmla="*/ 708165 w 2524125"/>
              <a:gd name="connsiteY81" fmla="*/ 1946815 h 2647950"/>
              <a:gd name="connsiteX82" fmla="*/ 862946 w 2524125"/>
              <a:gd name="connsiteY82" fmla="*/ 2265617 h 2647950"/>
              <a:gd name="connsiteX83" fmla="*/ 1104500 w 2524125"/>
              <a:gd name="connsiteY83" fmla="*/ 2353056 h 2647950"/>
              <a:gd name="connsiteX84" fmla="*/ 1183082 w 2524125"/>
              <a:gd name="connsiteY84" fmla="*/ 2287048 h 2647950"/>
              <a:gd name="connsiteX85" fmla="*/ 1116407 w 2524125"/>
              <a:gd name="connsiteY85" fmla="*/ 2210372 h 2647950"/>
              <a:gd name="connsiteX86" fmla="*/ 1060019 w 2524125"/>
              <a:gd name="connsiteY86" fmla="*/ 2203228 h 2647950"/>
              <a:gd name="connsiteX87" fmla="*/ 851326 w 2524125"/>
              <a:gd name="connsiteY87" fmla="*/ 1944910 h 2647950"/>
              <a:gd name="connsiteX88" fmla="*/ 851421 w 2524125"/>
              <a:gd name="connsiteY88" fmla="*/ 1289971 h 2647950"/>
              <a:gd name="connsiteX89" fmla="*/ 855612 w 2524125"/>
              <a:gd name="connsiteY89" fmla="*/ 1202246 h 2647950"/>
              <a:gd name="connsiteX90" fmla="*/ 786461 w 2524125"/>
              <a:gd name="connsiteY90" fmla="*/ 1125474 h 2647950"/>
              <a:gd name="connsiteX91" fmla="*/ 712737 w 2524125"/>
              <a:gd name="connsiteY91" fmla="*/ 1191197 h 2647950"/>
              <a:gd name="connsiteX92" fmla="*/ 708356 w 2524125"/>
              <a:gd name="connsiteY92" fmla="*/ 1250442 h 2647950"/>
              <a:gd name="connsiteX93" fmla="*/ 708356 w 2524125"/>
              <a:gd name="connsiteY93" fmla="*/ 1599914 h 2647950"/>
              <a:gd name="connsiteX94" fmla="*/ 708165 w 2524125"/>
              <a:gd name="connsiteY94" fmla="*/ 1599914 h 2647950"/>
              <a:gd name="connsiteX95" fmla="*/ 1145363 w 2524125"/>
              <a:gd name="connsiteY95" fmla="*/ 2650712 h 2647950"/>
              <a:gd name="connsiteX96" fmla="*/ 1336911 w 2524125"/>
              <a:gd name="connsiteY96" fmla="*/ 2567083 h 2647950"/>
              <a:gd name="connsiteX97" fmla="*/ 1516457 w 2524125"/>
              <a:gd name="connsiteY97" fmla="*/ 2357152 h 2647950"/>
              <a:gd name="connsiteX98" fmla="*/ 1476166 w 2524125"/>
              <a:gd name="connsiteY98" fmla="*/ 2262854 h 2647950"/>
              <a:gd name="connsiteX99" fmla="*/ 1384631 w 2524125"/>
              <a:gd name="connsiteY99" fmla="*/ 2303526 h 2647950"/>
              <a:gd name="connsiteX100" fmla="*/ 1239184 w 2524125"/>
              <a:gd name="connsiteY100" fmla="*/ 2458022 h 2647950"/>
              <a:gd name="connsiteX101" fmla="*/ 1093356 w 2524125"/>
              <a:gd name="connsiteY101" fmla="*/ 2517934 h 2647950"/>
              <a:gd name="connsiteX102" fmla="*/ 1049922 w 2524125"/>
              <a:gd name="connsiteY102" fmla="*/ 2597468 h 2647950"/>
              <a:gd name="connsiteX103" fmla="*/ 1125456 w 2524125"/>
              <a:gd name="connsiteY103" fmla="*/ 2654332 h 2647950"/>
              <a:gd name="connsiteX104" fmla="*/ 1145363 w 2524125"/>
              <a:gd name="connsiteY104" fmla="*/ 2650712 h 2647950"/>
              <a:gd name="connsiteX105" fmla="*/ 2181778 w 2524125"/>
              <a:gd name="connsiteY105" fmla="*/ 2598991 h 2647950"/>
              <a:gd name="connsiteX106" fmla="*/ 2141487 w 2524125"/>
              <a:gd name="connsiteY106" fmla="*/ 2519648 h 2647950"/>
              <a:gd name="connsiteX107" fmla="*/ 2087957 w 2524125"/>
              <a:gd name="connsiteY107" fmla="*/ 2500503 h 2647950"/>
              <a:gd name="connsiteX108" fmla="*/ 1889456 w 2524125"/>
              <a:gd name="connsiteY108" fmla="*/ 2378678 h 2647950"/>
              <a:gd name="connsiteX109" fmla="*/ 1845450 w 2524125"/>
              <a:gd name="connsiteY109" fmla="*/ 2300097 h 2647950"/>
              <a:gd name="connsiteX110" fmla="*/ 1754010 w 2524125"/>
              <a:gd name="connsiteY110" fmla="*/ 2263521 h 2647950"/>
              <a:gd name="connsiteX111" fmla="*/ 1713720 w 2524125"/>
              <a:gd name="connsiteY111" fmla="*/ 2353532 h 2647950"/>
              <a:gd name="connsiteX112" fmla="*/ 1766012 w 2524125"/>
              <a:gd name="connsiteY112" fmla="*/ 2454116 h 2647950"/>
              <a:gd name="connsiteX113" fmla="*/ 2094719 w 2524125"/>
              <a:gd name="connsiteY113" fmla="*/ 2653284 h 2647950"/>
              <a:gd name="connsiteX114" fmla="*/ 2109198 w 2524125"/>
              <a:gd name="connsiteY114" fmla="*/ 2654713 h 2647950"/>
              <a:gd name="connsiteX115" fmla="*/ 2181778 w 2524125"/>
              <a:gd name="connsiteY115" fmla="*/ 2598991 h 2647950"/>
              <a:gd name="connsiteX116" fmla="*/ 697688 w 2524125"/>
              <a:gd name="connsiteY116" fmla="*/ 822579 h 2647950"/>
              <a:gd name="connsiteX117" fmla="*/ 692544 w 2524125"/>
              <a:gd name="connsiteY117" fmla="*/ 822674 h 2647950"/>
              <a:gd name="connsiteX118" fmla="*/ 615868 w 2524125"/>
              <a:gd name="connsiteY118" fmla="*/ 894969 h 2647950"/>
              <a:gd name="connsiteX119" fmla="*/ 692830 w 2524125"/>
              <a:gd name="connsiteY119" fmla="*/ 964978 h 2647950"/>
              <a:gd name="connsiteX120" fmla="*/ 728644 w 2524125"/>
              <a:gd name="connsiteY120" fmla="*/ 991076 h 2647950"/>
              <a:gd name="connsiteX121" fmla="*/ 797605 w 2524125"/>
              <a:gd name="connsiteY121" fmla="*/ 1039749 h 2647950"/>
              <a:gd name="connsiteX122" fmla="*/ 864756 w 2524125"/>
              <a:gd name="connsiteY122" fmla="*/ 988600 h 2647950"/>
              <a:gd name="connsiteX123" fmla="*/ 896379 w 2524125"/>
              <a:gd name="connsiteY123" fmla="*/ 965263 h 2647950"/>
              <a:gd name="connsiteX124" fmla="*/ 975722 w 2524125"/>
              <a:gd name="connsiteY124" fmla="*/ 895350 h 2647950"/>
              <a:gd name="connsiteX125" fmla="*/ 894570 w 2524125"/>
              <a:gd name="connsiteY125" fmla="*/ 822674 h 2647950"/>
              <a:gd name="connsiteX126" fmla="*/ 796176 w 2524125"/>
              <a:gd name="connsiteY126" fmla="*/ 822579 h 2647950"/>
              <a:gd name="connsiteX127" fmla="*/ 697688 w 2524125"/>
              <a:gd name="connsiteY127" fmla="*/ 822579 h 2647950"/>
              <a:gd name="connsiteX128" fmla="*/ 75229 w 2524125"/>
              <a:gd name="connsiteY128" fmla="*/ 304038 h 2647950"/>
              <a:gd name="connsiteX129" fmla="*/ 172 w 2524125"/>
              <a:gd name="connsiteY129" fmla="*/ 370904 h 2647950"/>
              <a:gd name="connsiteX130" fmla="*/ 63037 w 2524125"/>
              <a:gd name="connsiteY130" fmla="*/ 444722 h 2647950"/>
              <a:gd name="connsiteX131" fmla="*/ 223057 w 2524125"/>
              <a:gd name="connsiteY131" fmla="*/ 445008 h 2647950"/>
              <a:gd name="connsiteX132" fmla="*/ 286113 w 2524125"/>
              <a:gd name="connsiteY132" fmla="*/ 368999 h 2647950"/>
              <a:gd name="connsiteX133" fmla="*/ 212294 w 2524125"/>
              <a:gd name="connsiteY133" fmla="*/ 304038 h 2647950"/>
              <a:gd name="connsiteX134" fmla="*/ 145142 w 2524125"/>
              <a:gd name="connsiteY134" fmla="*/ 303943 h 2647950"/>
              <a:gd name="connsiteX135" fmla="*/ 75229 w 2524125"/>
              <a:gd name="connsiteY135" fmla="*/ 304038 h 2647950"/>
              <a:gd name="connsiteX136" fmla="*/ 312687 w 2524125"/>
              <a:gd name="connsiteY136" fmla="*/ 530257 h 2647950"/>
              <a:gd name="connsiteX137" fmla="*/ 231153 w 2524125"/>
              <a:gd name="connsiteY137" fmla="*/ 542544 h 2647950"/>
              <a:gd name="connsiteX138" fmla="*/ 150381 w 2524125"/>
              <a:gd name="connsiteY138" fmla="*/ 622649 h 2647950"/>
              <a:gd name="connsiteX139" fmla="*/ 143142 w 2524125"/>
              <a:gd name="connsiteY139" fmla="*/ 728567 h 2647950"/>
              <a:gd name="connsiteX140" fmla="*/ 249060 w 2524125"/>
              <a:gd name="connsiteY140" fmla="*/ 726567 h 2647950"/>
              <a:gd name="connsiteX141" fmla="*/ 329546 w 2524125"/>
              <a:gd name="connsiteY141" fmla="*/ 646176 h 2647950"/>
              <a:gd name="connsiteX142" fmla="*/ 351740 w 2524125"/>
              <a:gd name="connsiteY142" fmla="*/ 594074 h 2647950"/>
              <a:gd name="connsiteX143" fmla="*/ 312687 w 2524125"/>
              <a:gd name="connsiteY143" fmla="*/ 530257 h 264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524125" h="2647950">
                <a:moveTo>
                  <a:pt x="217723" y="0"/>
                </a:moveTo>
                <a:cubicBezTo>
                  <a:pt x="266110" y="30004"/>
                  <a:pt x="302400" y="73343"/>
                  <a:pt x="339167" y="115253"/>
                </a:cubicBezTo>
                <a:cubicBezTo>
                  <a:pt x="361074" y="140303"/>
                  <a:pt x="354692" y="182499"/>
                  <a:pt x="331642" y="205359"/>
                </a:cubicBezTo>
                <a:cubicBezTo>
                  <a:pt x="308401" y="228410"/>
                  <a:pt x="267444" y="233839"/>
                  <a:pt x="241250" y="213265"/>
                </a:cubicBezTo>
                <a:cubicBezTo>
                  <a:pt x="201912" y="182309"/>
                  <a:pt x="165621" y="147161"/>
                  <a:pt x="135713" y="107061"/>
                </a:cubicBezTo>
                <a:cubicBezTo>
                  <a:pt x="112853" y="76486"/>
                  <a:pt x="118949" y="24003"/>
                  <a:pt x="171146" y="0"/>
                </a:cubicBezTo>
                <a:cubicBezTo>
                  <a:pt x="186576" y="0"/>
                  <a:pt x="202197" y="0"/>
                  <a:pt x="217723" y="0"/>
                </a:cubicBezTo>
                <a:close/>
                <a:moveTo>
                  <a:pt x="1183844" y="1397603"/>
                </a:moveTo>
                <a:cubicBezTo>
                  <a:pt x="1186035" y="1372743"/>
                  <a:pt x="1190606" y="1348073"/>
                  <a:pt x="1193750" y="1323308"/>
                </a:cubicBezTo>
                <a:cubicBezTo>
                  <a:pt x="1196036" y="1305306"/>
                  <a:pt x="1201560" y="1296448"/>
                  <a:pt x="1221753" y="1307021"/>
                </a:cubicBezTo>
                <a:cubicBezTo>
                  <a:pt x="1240041" y="1316641"/>
                  <a:pt x="1259472" y="1324261"/>
                  <a:pt x="1279094" y="1330738"/>
                </a:cubicBezTo>
                <a:cubicBezTo>
                  <a:pt x="1344149" y="1352455"/>
                  <a:pt x="1390346" y="1331976"/>
                  <a:pt x="1417397" y="1268730"/>
                </a:cubicBezTo>
                <a:cubicBezTo>
                  <a:pt x="1441495" y="1212437"/>
                  <a:pt x="1462926" y="1155002"/>
                  <a:pt x="1481405" y="1096613"/>
                </a:cubicBezTo>
                <a:cubicBezTo>
                  <a:pt x="1485024" y="1085279"/>
                  <a:pt x="1488739" y="1073753"/>
                  <a:pt x="1486453" y="1061180"/>
                </a:cubicBezTo>
                <a:cubicBezTo>
                  <a:pt x="1480357" y="1028033"/>
                  <a:pt x="1455402" y="1002030"/>
                  <a:pt x="1425779" y="998696"/>
                </a:cubicBezTo>
                <a:cubicBezTo>
                  <a:pt x="1391298" y="994791"/>
                  <a:pt x="1360723" y="1012508"/>
                  <a:pt x="1347769" y="1045845"/>
                </a:cubicBezTo>
                <a:cubicBezTo>
                  <a:pt x="1333100" y="1083659"/>
                  <a:pt x="1319385" y="1121855"/>
                  <a:pt x="1306145" y="1160145"/>
                </a:cubicBezTo>
                <a:cubicBezTo>
                  <a:pt x="1300525" y="1176242"/>
                  <a:pt x="1293762" y="1182624"/>
                  <a:pt x="1275950" y="1174528"/>
                </a:cubicBezTo>
                <a:cubicBezTo>
                  <a:pt x="1249185" y="1162241"/>
                  <a:pt x="1224230" y="1146905"/>
                  <a:pt x="1198893" y="1132237"/>
                </a:cubicBezTo>
                <a:cubicBezTo>
                  <a:pt x="1149744" y="1103757"/>
                  <a:pt x="1104691" y="1120807"/>
                  <a:pt x="1085546" y="1174337"/>
                </a:cubicBezTo>
                <a:cubicBezTo>
                  <a:pt x="1041636" y="1296829"/>
                  <a:pt x="1027634" y="1423226"/>
                  <a:pt x="1045255" y="1551432"/>
                </a:cubicBezTo>
                <a:cubicBezTo>
                  <a:pt x="1080593" y="1807940"/>
                  <a:pt x="1214038" y="1995868"/>
                  <a:pt x="1448448" y="2109026"/>
                </a:cubicBezTo>
                <a:cubicBezTo>
                  <a:pt x="1525506" y="2146268"/>
                  <a:pt x="1606468" y="2162556"/>
                  <a:pt x="1692003" y="2141696"/>
                </a:cubicBezTo>
                <a:cubicBezTo>
                  <a:pt x="1797825" y="2115979"/>
                  <a:pt x="1888694" y="2062353"/>
                  <a:pt x="1967656" y="1989201"/>
                </a:cubicBezTo>
                <a:cubicBezTo>
                  <a:pt x="2202638" y="1771364"/>
                  <a:pt x="2248358" y="1446752"/>
                  <a:pt x="2146917" y="1167003"/>
                </a:cubicBezTo>
                <a:cubicBezTo>
                  <a:pt x="2130915" y="1122902"/>
                  <a:pt x="2084337" y="1106329"/>
                  <a:pt x="2042999" y="1128427"/>
                </a:cubicBezTo>
                <a:cubicBezTo>
                  <a:pt x="2023187" y="1139000"/>
                  <a:pt x="2004613" y="1151763"/>
                  <a:pt x="1984706" y="1162050"/>
                </a:cubicBezTo>
                <a:cubicBezTo>
                  <a:pt x="1871549" y="1220438"/>
                  <a:pt x="1748772" y="1236059"/>
                  <a:pt x="1623899" y="1241679"/>
                </a:cubicBezTo>
                <a:cubicBezTo>
                  <a:pt x="1578750" y="1243679"/>
                  <a:pt x="1547318" y="1273112"/>
                  <a:pt x="1547889" y="1313021"/>
                </a:cubicBezTo>
                <a:cubicBezTo>
                  <a:pt x="1548461" y="1353598"/>
                  <a:pt x="1582179" y="1384268"/>
                  <a:pt x="1627423" y="1384554"/>
                </a:cubicBezTo>
                <a:cubicBezTo>
                  <a:pt x="1680096" y="1384935"/>
                  <a:pt x="1732484" y="1379220"/>
                  <a:pt x="1784490" y="1371600"/>
                </a:cubicBezTo>
                <a:cubicBezTo>
                  <a:pt x="1865072" y="1359789"/>
                  <a:pt x="1943081" y="1338453"/>
                  <a:pt x="2017662" y="1305306"/>
                </a:cubicBezTo>
                <a:cubicBezTo>
                  <a:pt x="2028616" y="1300448"/>
                  <a:pt x="2036617" y="1297781"/>
                  <a:pt x="2039856" y="1314164"/>
                </a:cubicBezTo>
                <a:cubicBezTo>
                  <a:pt x="2054048" y="1386650"/>
                  <a:pt x="2058620" y="1460373"/>
                  <a:pt x="2048428" y="1532858"/>
                </a:cubicBezTo>
                <a:cubicBezTo>
                  <a:pt x="2023759" y="1708499"/>
                  <a:pt x="1939367" y="1848517"/>
                  <a:pt x="1787919" y="1945672"/>
                </a:cubicBezTo>
                <a:cubicBezTo>
                  <a:pt x="1692098" y="2007203"/>
                  <a:pt x="1595800" y="2028635"/>
                  <a:pt x="1489025" y="1969770"/>
                </a:cubicBezTo>
                <a:cubicBezTo>
                  <a:pt x="1284142" y="1856804"/>
                  <a:pt x="1189273" y="1680877"/>
                  <a:pt x="1183463" y="1451801"/>
                </a:cubicBezTo>
                <a:cubicBezTo>
                  <a:pt x="1183558" y="1433798"/>
                  <a:pt x="1182320" y="1415606"/>
                  <a:pt x="1183844" y="1397603"/>
                </a:cubicBezTo>
                <a:close/>
                <a:moveTo>
                  <a:pt x="2529250" y="1303020"/>
                </a:moveTo>
                <a:cubicBezTo>
                  <a:pt x="2528393" y="1240155"/>
                  <a:pt x="2523916" y="1177290"/>
                  <a:pt x="2511724" y="1115282"/>
                </a:cubicBezTo>
                <a:cubicBezTo>
                  <a:pt x="2482863" y="968597"/>
                  <a:pt x="2422284" y="836295"/>
                  <a:pt x="2328749" y="719804"/>
                </a:cubicBezTo>
                <a:cubicBezTo>
                  <a:pt x="2207876" y="569405"/>
                  <a:pt x="2054619" y="466439"/>
                  <a:pt x="1869072" y="412433"/>
                </a:cubicBezTo>
                <a:cubicBezTo>
                  <a:pt x="1740485" y="374999"/>
                  <a:pt x="1609611" y="366713"/>
                  <a:pt x="1477214" y="387572"/>
                </a:cubicBezTo>
                <a:cubicBezTo>
                  <a:pt x="1409681" y="398240"/>
                  <a:pt x="1343864" y="415671"/>
                  <a:pt x="1280618" y="441865"/>
                </a:cubicBezTo>
                <a:cubicBezTo>
                  <a:pt x="1244518" y="456819"/>
                  <a:pt x="1227373" y="496634"/>
                  <a:pt x="1239851" y="531971"/>
                </a:cubicBezTo>
                <a:cubicBezTo>
                  <a:pt x="1251662" y="565595"/>
                  <a:pt x="1289095" y="585311"/>
                  <a:pt x="1325862" y="576263"/>
                </a:cubicBezTo>
                <a:cubicBezTo>
                  <a:pt x="1342530" y="572167"/>
                  <a:pt x="1358818" y="566071"/>
                  <a:pt x="1375106" y="560451"/>
                </a:cubicBezTo>
                <a:cubicBezTo>
                  <a:pt x="1498550" y="517970"/>
                  <a:pt x="1624756" y="509492"/>
                  <a:pt x="1752677" y="532638"/>
                </a:cubicBezTo>
                <a:cubicBezTo>
                  <a:pt x="1936509" y="565880"/>
                  <a:pt x="2088624" y="655606"/>
                  <a:pt x="2208067" y="798671"/>
                </a:cubicBezTo>
                <a:cubicBezTo>
                  <a:pt x="2309318" y="919925"/>
                  <a:pt x="2373421" y="1060609"/>
                  <a:pt x="2379898" y="1218057"/>
                </a:cubicBezTo>
                <a:cubicBezTo>
                  <a:pt x="2390185" y="1467326"/>
                  <a:pt x="2384565" y="1717072"/>
                  <a:pt x="2382184" y="1966627"/>
                </a:cubicBezTo>
                <a:cubicBezTo>
                  <a:pt x="2381518" y="2036064"/>
                  <a:pt x="2348370" y="2092166"/>
                  <a:pt x="2298935" y="2139029"/>
                </a:cubicBezTo>
                <a:cubicBezTo>
                  <a:pt x="2248168" y="2187131"/>
                  <a:pt x="2186064" y="2205990"/>
                  <a:pt x="2117675" y="2210943"/>
                </a:cubicBezTo>
                <a:cubicBezTo>
                  <a:pt x="2077194" y="2213896"/>
                  <a:pt x="2048047" y="2248757"/>
                  <a:pt x="2050809" y="2285619"/>
                </a:cubicBezTo>
                <a:cubicBezTo>
                  <a:pt x="2053476" y="2322576"/>
                  <a:pt x="2087004" y="2353437"/>
                  <a:pt x="2126724" y="2352961"/>
                </a:cubicBezTo>
                <a:cubicBezTo>
                  <a:pt x="2149012" y="2352675"/>
                  <a:pt x="2171586" y="2350294"/>
                  <a:pt x="2193494" y="2345912"/>
                </a:cubicBezTo>
                <a:cubicBezTo>
                  <a:pt x="2392947" y="2306384"/>
                  <a:pt x="2527726" y="2143887"/>
                  <a:pt x="2529345" y="1940338"/>
                </a:cubicBezTo>
                <a:cubicBezTo>
                  <a:pt x="2530203" y="1832420"/>
                  <a:pt x="2529536" y="1724501"/>
                  <a:pt x="2529536" y="1616488"/>
                </a:cubicBezTo>
                <a:cubicBezTo>
                  <a:pt x="2529631" y="1511903"/>
                  <a:pt x="2530583" y="1407414"/>
                  <a:pt x="2529250" y="1303020"/>
                </a:cubicBezTo>
                <a:close/>
                <a:moveTo>
                  <a:pt x="936956" y="757809"/>
                </a:moveTo>
                <a:cubicBezTo>
                  <a:pt x="987914" y="757523"/>
                  <a:pt x="1018585" y="730377"/>
                  <a:pt x="1021252" y="679704"/>
                </a:cubicBezTo>
                <a:cubicBezTo>
                  <a:pt x="1022776" y="651986"/>
                  <a:pt x="1033063" y="630269"/>
                  <a:pt x="1051351" y="610457"/>
                </a:cubicBezTo>
                <a:cubicBezTo>
                  <a:pt x="1080783" y="578549"/>
                  <a:pt x="1106310" y="544163"/>
                  <a:pt x="1120026" y="501968"/>
                </a:cubicBezTo>
                <a:cubicBezTo>
                  <a:pt x="1196988" y="264224"/>
                  <a:pt x="1001821" y="25146"/>
                  <a:pt x="753885" y="56674"/>
                </a:cubicBezTo>
                <a:cubicBezTo>
                  <a:pt x="625488" y="72962"/>
                  <a:pt x="531762" y="143828"/>
                  <a:pt x="483566" y="263366"/>
                </a:cubicBezTo>
                <a:cubicBezTo>
                  <a:pt x="435179" y="383286"/>
                  <a:pt x="442799" y="500348"/>
                  <a:pt x="533763" y="601694"/>
                </a:cubicBezTo>
                <a:cubicBezTo>
                  <a:pt x="555956" y="626459"/>
                  <a:pt x="569100" y="653034"/>
                  <a:pt x="573005" y="686467"/>
                </a:cubicBezTo>
                <a:cubicBezTo>
                  <a:pt x="578721" y="735616"/>
                  <a:pt x="605295" y="757333"/>
                  <a:pt x="654635" y="757714"/>
                </a:cubicBezTo>
                <a:cubicBezTo>
                  <a:pt x="702164" y="758095"/>
                  <a:pt x="749599" y="757809"/>
                  <a:pt x="797129" y="757809"/>
                </a:cubicBezTo>
                <a:cubicBezTo>
                  <a:pt x="843706" y="757904"/>
                  <a:pt x="890379" y="758095"/>
                  <a:pt x="936956" y="757809"/>
                </a:cubicBezTo>
                <a:close/>
                <a:moveTo>
                  <a:pt x="675875" y="551879"/>
                </a:moveTo>
                <a:cubicBezTo>
                  <a:pt x="671304" y="537305"/>
                  <a:pt x="657588" y="524732"/>
                  <a:pt x="646253" y="513207"/>
                </a:cubicBezTo>
                <a:cubicBezTo>
                  <a:pt x="589388" y="455295"/>
                  <a:pt x="589579" y="386239"/>
                  <a:pt x="616344" y="318421"/>
                </a:cubicBezTo>
                <a:cubicBezTo>
                  <a:pt x="645110" y="245555"/>
                  <a:pt x="703688" y="202883"/>
                  <a:pt x="783413" y="198977"/>
                </a:cubicBezTo>
                <a:cubicBezTo>
                  <a:pt x="899141" y="193262"/>
                  <a:pt x="988391" y="275844"/>
                  <a:pt x="992105" y="391382"/>
                </a:cubicBezTo>
                <a:cubicBezTo>
                  <a:pt x="993439" y="433007"/>
                  <a:pt x="984390" y="473107"/>
                  <a:pt x="952767" y="505492"/>
                </a:cubicBezTo>
                <a:cubicBezTo>
                  <a:pt x="926192" y="532638"/>
                  <a:pt x="903142" y="563023"/>
                  <a:pt x="891236" y="600075"/>
                </a:cubicBezTo>
                <a:cubicBezTo>
                  <a:pt x="887235" y="612458"/>
                  <a:pt x="878663" y="614934"/>
                  <a:pt x="867328" y="614839"/>
                </a:cubicBezTo>
                <a:cubicBezTo>
                  <a:pt x="843230" y="614553"/>
                  <a:pt x="819036" y="614744"/>
                  <a:pt x="783889" y="614744"/>
                </a:cubicBezTo>
                <a:cubicBezTo>
                  <a:pt x="737502" y="627221"/>
                  <a:pt x="695211" y="613410"/>
                  <a:pt x="675875" y="551879"/>
                </a:cubicBezTo>
                <a:close/>
                <a:moveTo>
                  <a:pt x="708165" y="1599914"/>
                </a:moveTo>
                <a:cubicBezTo>
                  <a:pt x="708165" y="1715548"/>
                  <a:pt x="708070" y="1831181"/>
                  <a:pt x="708165" y="1946815"/>
                </a:cubicBezTo>
                <a:cubicBezTo>
                  <a:pt x="708261" y="2078069"/>
                  <a:pt x="761600" y="2183892"/>
                  <a:pt x="862946" y="2265617"/>
                </a:cubicBezTo>
                <a:cubicBezTo>
                  <a:pt x="933050" y="2322195"/>
                  <a:pt x="1014965" y="2349246"/>
                  <a:pt x="1104500" y="2353056"/>
                </a:cubicBezTo>
                <a:cubicBezTo>
                  <a:pt x="1147077" y="2354866"/>
                  <a:pt x="1180891" y="2325434"/>
                  <a:pt x="1183082" y="2287048"/>
                </a:cubicBezTo>
                <a:cubicBezTo>
                  <a:pt x="1185463" y="2245328"/>
                  <a:pt x="1159841" y="2215801"/>
                  <a:pt x="1116407" y="2210372"/>
                </a:cubicBezTo>
                <a:cubicBezTo>
                  <a:pt x="1097642" y="2208086"/>
                  <a:pt x="1078497" y="2207228"/>
                  <a:pt x="1060019" y="2203228"/>
                </a:cubicBezTo>
                <a:cubicBezTo>
                  <a:pt x="937337" y="2176558"/>
                  <a:pt x="851516" y="2070640"/>
                  <a:pt x="851326" y="1944910"/>
                </a:cubicBezTo>
                <a:cubicBezTo>
                  <a:pt x="850945" y="1726597"/>
                  <a:pt x="851040" y="1508284"/>
                  <a:pt x="851421" y="1289971"/>
                </a:cubicBezTo>
                <a:cubicBezTo>
                  <a:pt x="851516" y="1260729"/>
                  <a:pt x="855422" y="1231487"/>
                  <a:pt x="855612" y="1202246"/>
                </a:cubicBezTo>
                <a:cubicBezTo>
                  <a:pt x="855898" y="1161002"/>
                  <a:pt x="825132" y="1127855"/>
                  <a:pt x="786461" y="1125474"/>
                </a:cubicBezTo>
                <a:cubicBezTo>
                  <a:pt x="750266" y="1123283"/>
                  <a:pt x="719976" y="1150811"/>
                  <a:pt x="712737" y="1191197"/>
                </a:cubicBezTo>
                <a:cubicBezTo>
                  <a:pt x="709213" y="1210913"/>
                  <a:pt x="708356" y="1230630"/>
                  <a:pt x="708356" y="1250442"/>
                </a:cubicBezTo>
                <a:cubicBezTo>
                  <a:pt x="708356" y="1366933"/>
                  <a:pt x="708356" y="1483424"/>
                  <a:pt x="708356" y="1599914"/>
                </a:cubicBezTo>
                <a:cubicBezTo>
                  <a:pt x="708261" y="1599914"/>
                  <a:pt x="708261" y="1599914"/>
                  <a:pt x="708165" y="1599914"/>
                </a:cubicBezTo>
                <a:close/>
                <a:moveTo>
                  <a:pt x="1145363" y="2650712"/>
                </a:moveTo>
                <a:cubicBezTo>
                  <a:pt x="1212514" y="2630520"/>
                  <a:pt x="1277094" y="2603849"/>
                  <a:pt x="1336911" y="2567083"/>
                </a:cubicBezTo>
                <a:cubicBezTo>
                  <a:pt x="1419111" y="2516505"/>
                  <a:pt x="1484548" y="2451068"/>
                  <a:pt x="1516457" y="2357152"/>
                </a:cubicBezTo>
                <a:cubicBezTo>
                  <a:pt x="1529982" y="2317337"/>
                  <a:pt x="1513218" y="2277809"/>
                  <a:pt x="1476166" y="2262854"/>
                </a:cubicBezTo>
                <a:cubicBezTo>
                  <a:pt x="1441114" y="2248757"/>
                  <a:pt x="1398537" y="2265521"/>
                  <a:pt x="1384631" y="2303526"/>
                </a:cubicBezTo>
                <a:cubicBezTo>
                  <a:pt x="1357961" y="2376488"/>
                  <a:pt x="1304430" y="2422017"/>
                  <a:pt x="1239184" y="2458022"/>
                </a:cubicBezTo>
                <a:cubicBezTo>
                  <a:pt x="1192797" y="2483644"/>
                  <a:pt x="1142315" y="2498789"/>
                  <a:pt x="1093356" y="2517934"/>
                </a:cubicBezTo>
                <a:cubicBezTo>
                  <a:pt x="1061257" y="2530507"/>
                  <a:pt x="1043445" y="2564892"/>
                  <a:pt x="1049922" y="2597468"/>
                </a:cubicBezTo>
                <a:cubicBezTo>
                  <a:pt x="1056590" y="2631567"/>
                  <a:pt x="1084879" y="2654522"/>
                  <a:pt x="1125456" y="2654332"/>
                </a:cubicBezTo>
                <a:cubicBezTo>
                  <a:pt x="1128504" y="2653951"/>
                  <a:pt x="1137171" y="2653189"/>
                  <a:pt x="1145363" y="2650712"/>
                </a:cubicBezTo>
                <a:close/>
                <a:moveTo>
                  <a:pt x="2181778" y="2598991"/>
                </a:moveTo>
                <a:cubicBezTo>
                  <a:pt x="2188541" y="2568702"/>
                  <a:pt x="2171205" y="2533079"/>
                  <a:pt x="2141487" y="2519648"/>
                </a:cubicBezTo>
                <a:cubicBezTo>
                  <a:pt x="2124247" y="2511838"/>
                  <a:pt x="2105673" y="2507171"/>
                  <a:pt x="2087957" y="2500503"/>
                </a:cubicBezTo>
                <a:cubicBezTo>
                  <a:pt x="2013947" y="2472690"/>
                  <a:pt x="1943081" y="2439924"/>
                  <a:pt x="1889456" y="2378678"/>
                </a:cubicBezTo>
                <a:cubicBezTo>
                  <a:pt x="1869072" y="2355342"/>
                  <a:pt x="1858309" y="2327339"/>
                  <a:pt x="1845450" y="2300097"/>
                </a:cubicBezTo>
                <a:cubicBezTo>
                  <a:pt x="1828686" y="2264664"/>
                  <a:pt x="1788396" y="2249234"/>
                  <a:pt x="1754010" y="2263521"/>
                </a:cubicBezTo>
                <a:cubicBezTo>
                  <a:pt x="1719435" y="2277809"/>
                  <a:pt x="1701718" y="2316956"/>
                  <a:pt x="1713720" y="2353532"/>
                </a:cubicBezTo>
                <a:cubicBezTo>
                  <a:pt x="1725721" y="2389823"/>
                  <a:pt x="1742390" y="2423922"/>
                  <a:pt x="1766012" y="2454116"/>
                </a:cubicBezTo>
                <a:cubicBezTo>
                  <a:pt x="1850308" y="2562130"/>
                  <a:pt x="1968608" y="2614232"/>
                  <a:pt x="2094719" y="2653284"/>
                </a:cubicBezTo>
                <a:cubicBezTo>
                  <a:pt x="2100339" y="2654999"/>
                  <a:pt x="2106721" y="2654522"/>
                  <a:pt x="2109198" y="2654713"/>
                </a:cubicBezTo>
                <a:cubicBezTo>
                  <a:pt x="2146345" y="2654141"/>
                  <a:pt x="2174634" y="2631472"/>
                  <a:pt x="2181778" y="2598991"/>
                </a:cubicBezTo>
                <a:close/>
                <a:moveTo>
                  <a:pt x="697688" y="822579"/>
                </a:moveTo>
                <a:cubicBezTo>
                  <a:pt x="695973" y="822579"/>
                  <a:pt x="694259" y="822579"/>
                  <a:pt x="692544" y="822674"/>
                </a:cubicBezTo>
                <a:cubicBezTo>
                  <a:pt x="649682" y="824294"/>
                  <a:pt x="615678" y="856393"/>
                  <a:pt x="615868" y="894969"/>
                </a:cubicBezTo>
                <a:cubicBezTo>
                  <a:pt x="616058" y="934784"/>
                  <a:pt x="648824" y="966026"/>
                  <a:pt x="692830" y="964978"/>
                </a:cubicBezTo>
                <a:cubicBezTo>
                  <a:pt x="713690" y="964502"/>
                  <a:pt x="722548" y="970788"/>
                  <a:pt x="728644" y="991076"/>
                </a:cubicBezTo>
                <a:cubicBezTo>
                  <a:pt x="738074" y="1022509"/>
                  <a:pt x="766839" y="1040511"/>
                  <a:pt x="797605" y="1039749"/>
                </a:cubicBezTo>
                <a:cubicBezTo>
                  <a:pt x="828466" y="1038987"/>
                  <a:pt x="858946" y="1018508"/>
                  <a:pt x="864756" y="988600"/>
                </a:cubicBezTo>
                <a:cubicBezTo>
                  <a:pt x="868852" y="967550"/>
                  <a:pt x="878853" y="965168"/>
                  <a:pt x="896379" y="965263"/>
                </a:cubicBezTo>
                <a:cubicBezTo>
                  <a:pt x="944099" y="965359"/>
                  <a:pt x="975722" y="936784"/>
                  <a:pt x="975722" y="895350"/>
                </a:cubicBezTo>
                <a:cubicBezTo>
                  <a:pt x="975722" y="854107"/>
                  <a:pt x="941528" y="823246"/>
                  <a:pt x="894570" y="822674"/>
                </a:cubicBezTo>
                <a:cubicBezTo>
                  <a:pt x="861804" y="822293"/>
                  <a:pt x="828942" y="822579"/>
                  <a:pt x="796176" y="822579"/>
                </a:cubicBezTo>
                <a:cubicBezTo>
                  <a:pt x="763315" y="822579"/>
                  <a:pt x="730454" y="822579"/>
                  <a:pt x="697688" y="822579"/>
                </a:cubicBezTo>
                <a:close/>
                <a:moveTo>
                  <a:pt x="75229" y="304038"/>
                </a:moveTo>
                <a:cubicBezTo>
                  <a:pt x="34081" y="304514"/>
                  <a:pt x="3315" y="331946"/>
                  <a:pt x="172" y="370904"/>
                </a:cubicBezTo>
                <a:cubicBezTo>
                  <a:pt x="-2495" y="403860"/>
                  <a:pt x="26175" y="441103"/>
                  <a:pt x="63037" y="444722"/>
                </a:cubicBezTo>
                <a:cubicBezTo>
                  <a:pt x="116091" y="449961"/>
                  <a:pt x="169907" y="449485"/>
                  <a:pt x="223057" y="445008"/>
                </a:cubicBezTo>
                <a:cubicBezTo>
                  <a:pt x="260871" y="441865"/>
                  <a:pt x="289446" y="403955"/>
                  <a:pt x="286113" y="368999"/>
                </a:cubicBezTo>
                <a:cubicBezTo>
                  <a:pt x="282493" y="330994"/>
                  <a:pt x="252680" y="304610"/>
                  <a:pt x="212294" y="304038"/>
                </a:cubicBezTo>
                <a:cubicBezTo>
                  <a:pt x="189910" y="303752"/>
                  <a:pt x="167526" y="303943"/>
                  <a:pt x="145142" y="303943"/>
                </a:cubicBezTo>
                <a:cubicBezTo>
                  <a:pt x="121711" y="303943"/>
                  <a:pt x="98470" y="303752"/>
                  <a:pt x="75229" y="304038"/>
                </a:cubicBezTo>
                <a:close/>
                <a:moveTo>
                  <a:pt x="312687" y="530257"/>
                </a:moveTo>
                <a:cubicBezTo>
                  <a:pt x="283350" y="516541"/>
                  <a:pt x="254871" y="520541"/>
                  <a:pt x="231153" y="542544"/>
                </a:cubicBezTo>
                <a:cubicBezTo>
                  <a:pt x="203436" y="568357"/>
                  <a:pt x="176956" y="595598"/>
                  <a:pt x="150381" y="622649"/>
                </a:cubicBezTo>
                <a:cubicBezTo>
                  <a:pt x="117329" y="656368"/>
                  <a:pt x="114662" y="698945"/>
                  <a:pt x="143142" y="728567"/>
                </a:cubicBezTo>
                <a:cubicBezTo>
                  <a:pt x="172384" y="758952"/>
                  <a:pt x="214199" y="758952"/>
                  <a:pt x="249060" y="726567"/>
                </a:cubicBezTo>
                <a:cubicBezTo>
                  <a:pt x="276778" y="700754"/>
                  <a:pt x="302781" y="673132"/>
                  <a:pt x="329546" y="646176"/>
                </a:cubicBezTo>
                <a:cubicBezTo>
                  <a:pt x="344215" y="631412"/>
                  <a:pt x="350406" y="612934"/>
                  <a:pt x="351740" y="594074"/>
                </a:cubicBezTo>
                <a:cubicBezTo>
                  <a:pt x="349835" y="565023"/>
                  <a:pt x="338500" y="542354"/>
                  <a:pt x="312687" y="530257"/>
                </a:cubicBezTo>
                <a:close/>
              </a:path>
            </a:pathLst>
          </a:custGeom>
          <a:solidFill>
            <a:schemeClr val="bg1">
              <a:alpha val="50000"/>
            </a:schemeClr>
          </a:solidFill>
          <a:ln w="9525" cap="flat">
            <a:noFill/>
            <a:prstDash val="solid"/>
            <a:miter/>
          </a:ln>
        </p:spPr>
        <p:txBody>
          <a:bodyPr rtlCol="0" anchor="ctr"/>
          <a:lstStyle/>
          <a:p>
            <a:endParaRPr lang="en-US"/>
          </a:p>
        </p:txBody>
      </p:sp>
      <p:sp>
        <p:nvSpPr>
          <p:cNvPr id="22" name="Rectangle 32">
            <a:extLst>
              <a:ext uri="{FF2B5EF4-FFF2-40B4-BE49-F238E27FC236}">
                <a16:creationId xmlns:a16="http://schemas.microsoft.com/office/drawing/2014/main" id="{916C4A80-6AEF-4253-BB62-4068E31A26EA}"/>
              </a:ext>
            </a:extLst>
          </p:cNvPr>
          <p:cNvSpPr>
            <a:spLocks noChangeArrowheads="1"/>
          </p:cNvSpPr>
          <p:nvPr/>
        </p:nvSpPr>
        <p:spPr bwMode="auto">
          <a:xfrm>
            <a:off x="3804136" y="3967518"/>
            <a:ext cx="1458506" cy="4401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vl6pPr eaLnBrk="0" fontAlgn="base" hangingPunct="0">
              <a:spcBef>
                <a:spcPct val="0"/>
              </a:spcBef>
              <a:spcAft>
                <a:spcPct val="0"/>
              </a:spcAft>
              <a:defRPr>
                <a:solidFill>
                  <a:schemeClr val="tx1"/>
                </a:solidFill>
                <a:latin typeface="Calibri" panose="020F0502020204030204" pitchFamily="34" charset="0"/>
              </a:defRPr>
            </a:lvl6pPr>
            <a:lvl7pPr eaLnBrk="0" fontAlgn="base" hangingPunct="0">
              <a:spcBef>
                <a:spcPct val="0"/>
              </a:spcBef>
              <a:spcAft>
                <a:spcPct val="0"/>
              </a:spcAft>
              <a:defRPr>
                <a:solidFill>
                  <a:schemeClr val="tx1"/>
                </a:solidFill>
                <a:latin typeface="Calibri" panose="020F0502020204030204" pitchFamily="34" charset="0"/>
              </a:defRPr>
            </a:lvl7pPr>
            <a:lvl8pPr eaLnBrk="0" fontAlgn="base" hangingPunct="0">
              <a:spcBef>
                <a:spcPct val="0"/>
              </a:spcBef>
              <a:spcAft>
                <a:spcPct val="0"/>
              </a:spcAft>
              <a:defRPr>
                <a:solidFill>
                  <a:schemeClr val="tx1"/>
                </a:solidFill>
                <a:latin typeface="Calibri" panose="020F0502020204030204" pitchFamily="34" charset="0"/>
              </a:defRPr>
            </a:lvl8pPr>
            <a:lvl9pPr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172" rtl="0" eaLnBrk="0" fontAlgn="base" latinLnBrk="0" hangingPunct="0">
              <a:lnSpc>
                <a:spcPts val="1800"/>
              </a:lnSpc>
              <a:spcBef>
                <a:spcPct val="0"/>
              </a:spcBef>
              <a:spcAft>
                <a:spcPct val="0"/>
              </a:spcAft>
              <a:buClrTx/>
              <a:buSzTx/>
              <a:buFontTx/>
              <a:buNone/>
              <a:tabLst/>
              <a:defRPr/>
            </a:pPr>
            <a:r>
              <a:rPr kumimoji="0" lang="en-US" altLang="en-US" sz="1200" b="1" i="0" u="none" strike="noStrike" kern="1200" cap="none" spc="-75" normalizeH="0" baseline="0" noProof="0" dirty="0">
                <a:ln>
                  <a:noFill/>
                </a:ln>
                <a:solidFill>
                  <a:schemeClr val="bg1"/>
                </a:solidFill>
                <a:uLnTx/>
                <a:uFillTx/>
                <a:latin typeface="Montserrat" panose="00000500000000000000" pitchFamily="50" charset="0"/>
              </a:rPr>
              <a:t>PEOPLE WHO ONLY WORK HARD</a:t>
            </a:r>
          </a:p>
        </p:txBody>
      </p:sp>
      <p:sp>
        <p:nvSpPr>
          <p:cNvPr id="12" name="Freeform: Shape 11">
            <a:extLst>
              <a:ext uri="{FF2B5EF4-FFF2-40B4-BE49-F238E27FC236}">
                <a16:creationId xmlns:a16="http://schemas.microsoft.com/office/drawing/2014/main" id="{21E74B99-DF37-49ED-A812-C69AD77AEDF0}"/>
              </a:ext>
            </a:extLst>
          </p:cNvPr>
          <p:cNvSpPr/>
          <p:nvPr/>
        </p:nvSpPr>
        <p:spPr>
          <a:xfrm>
            <a:off x="4263273" y="3208505"/>
            <a:ext cx="540232" cy="540232"/>
          </a:xfrm>
          <a:custGeom>
            <a:avLst/>
            <a:gdLst>
              <a:gd name="connsiteX0" fmla="*/ 0 w 2647950"/>
              <a:gd name="connsiteY0" fmla="*/ 1416272 h 2647950"/>
              <a:gd name="connsiteX1" fmla="*/ 35624 w 2647950"/>
              <a:gd name="connsiteY1" fmla="*/ 1276064 h 2647950"/>
              <a:gd name="connsiteX2" fmla="*/ 572643 w 2647950"/>
              <a:gd name="connsiteY2" fmla="*/ 841724 h 2647950"/>
              <a:gd name="connsiteX3" fmla="*/ 1282446 w 2647950"/>
              <a:gd name="connsiteY3" fmla="*/ 1289495 h 2647950"/>
              <a:gd name="connsiteX4" fmla="*/ 1317879 w 2647950"/>
              <a:gd name="connsiteY4" fmla="*/ 1318260 h 2647950"/>
              <a:gd name="connsiteX5" fmla="*/ 1826990 w 2647950"/>
              <a:gd name="connsiteY5" fmla="*/ 1513999 h 2647950"/>
              <a:gd name="connsiteX6" fmla="*/ 1835277 w 2647950"/>
              <a:gd name="connsiteY6" fmla="*/ 1519047 h 2647950"/>
              <a:gd name="connsiteX7" fmla="*/ 1852517 w 2647950"/>
              <a:gd name="connsiteY7" fmla="*/ 1409605 h 2647950"/>
              <a:gd name="connsiteX8" fmla="*/ 1863376 w 2647950"/>
              <a:gd name="connsiteY8" fmla="*/ 1127951 h 2647950"/>
              <a:gd name="connsiteX9" fmla="*/ 1821942 w 2647950"/>
              <a:gd name="connsiteY9" fmla="*/ 781812 h 2647950"/>
              <a:gd name="connsiteX10" fmla="*/ 1793462 w 2647950"/>
              <a:gd name="connsiteY10" fmla="*/ 759428 h 2647950"/>
              <a:gd name="connsiteX11" fmla="*/ 1625441 w 2647950"/>
              <a:gd name="connsiteY11" fmla="*/ 755142 h 2647950"/>
              <a:gd name="connsiteX12" fmla="*/ 1360742 w 2647950"/>
              <a:gd name="connsiteY12" fmla="*/ 483584 h 2647950"/>
              <a:gd name="connsiteX13" fmla="*/ 1356551 w 2647950"/>
              <a:gd name="connsiteY13" fmla="*/ 250793 h 2647950"/>
              <a:gd name="connsiteX14" fmla="*/ 1371219 w 2647950"/>
              <a:gd name="connsiteY14" fmla="*/ 221837 h 2647950"/>
              <a:gd name="connsiteX15" fmla="*/ 1578007 w 2647950"/>
              <a:gd name="connsiteY15" fmla="*/ 14669 h 2647950"/>
              <a:gd name="connsiteX16" fmla="*/ 1617536 w 2647950"/>
              <a:gd name="connsiteY16" fmla="*/ 0 h 2647950"/>
              <a:gd name="connsiteX17" fmla="*/ 1967198 w 2647950"/>
              <a:gd name="connsiteY17" fmla="*/ 286 h 2647950"/>
              <a:gd name="connsiteX18" fmla="*/ 2299526 w 2647950"/>
              <a:gd name="connsiteY18" fmla="*/ 223361 h 2647950"/>
              <a:gd name="connsiteX19" fmla="*/ 2572226 w 2647950"/>
              <a:gd name="connsiteY19" fmla="*/ 1187291 h 2647950"/>
              <a:gd name="connsiteX20" fmla="*/ 2634424 w 2647950"/>
              <a:gd name="connsiteY20" fmla="*/ 1697736 h 2647950"/>
              <a:gd name="connsiteX21" fmla="*/ 2654522 w 2647950"/>
              <a:gd name="connsiteY21" fmla="*/ 2245805 h 2647950"/>
              <a:gd name="connsiteX22" fmla="*/ 2636234 w 2647950"/>
              <a:gd name="connsiteY22" fmla="*/ 2282000 h 2647950"/>
              <a:gd name="connsiteX23" fmla="*/ 2064925 w 2647950"/>
              <a:gd name="connsiteY23" fmla="*/ 2548890 h 2647950"/>
              <a:gd name="connsiteX24" fmla="*/ 1594866 w 2647950"/>
              <a:gd name="connsiteY24" fmla="*/ 2646331 h 2647950"/>
              <a:gd name="connsiteX25" fmla="*/ 1517999 w 2647950"/>
              <a:gd name="connsiteY25" fmla="*/ 2654713 h 2647950"/>
              <a:gd name="connsiteX26" fmla="*/ 1062133 w 2647950"/>
              <a:gd name="connsiteY26" fmla="*/ 2654713 h 2647950"/>
              <a:gd name="connsiteX27" fmla="*/ 1052322 w 2647950"/>
              <a:gd name="connsiteY27" fmla="*/ 2651760 h 2647950"/>
              <a:gd name="connsiteX28" fmla="*/ 684181 w 2647950"/>
              <a:gd name="connsiteY28" fmla="*/ 2555367 h 2647950"/>
              <a:gd name="connsiteX29" fmla="*/ 40386 w 2647950"/>
              <a:gd name="connsiteY29" fmla="*/ 1810607 h 2647950"/>
              <a:gd name="connsiteX30" fmla="*/ 0 w 2647950"/>
              <a:gd name="connsiteY30" fmla="*/ 1597819 h 2647950"/>
              <a:gd name="connsiteX31" fmla="*/ 0 w 2647950"/>
              <a:gd name="connsiteY31" fmla="*/ 1416272 h 2647950"/>
              <a:gd name="connsiteX32" fmla="*/ 1836134 w 2647950"/>
              <a:gd name="connsiteY32" fmla="*/ 159068 h 2647950"/>
              <a:gd name="connsiteX33" fmla="*/ 1683544 w 2647950"/>
              <a:gd name="connsiteY33" fmla="*/ 158877 h 2647950"/>
              <a:gd name="connsiteX34" fmla="*/ 1646682 w 2647950"/>
              <a:gd name="connsiteY34" fmla="*/ 173165 h 2647950"/>
              <a:gd name="connsiteX35" fmla="*/ 1533239 w 2647950"/>
              <a:gd name="connsiteY35" fmla="*/ 286798 h 2647950"/>
              <a:gd name="connsiteX36" fmla="*/ 1519142 w 2647950"/>
              <a:gd name="connsiteY36" fmla="*/ 318611 h 2647950"/>
              <a:gd name="connsiteX37" fmla="*/ 1519714 w 2647950"/>
              <a:gd name="connsiteY37" fmla="*/ 453295 h 2647950"/>
              <a:gd name="connsiteX38" fmla="*/ 1645920 w 2647950"/>
              <a:gd name="connsiteY38" fmla="*/ 594741 h 2647950"/>
              <a:gd name="connsiteX39" fmla="*/ 1783080 w 2647950"/>
              <a:gd name="connsiteY39" fmla="*/ 596837 h 2647950"/>
              <a:gd name="connsiteX40" fmla="*/ 1800511 w 2647950"/>
              <a:gd name="connsiteY40" fmla="*/ 585121 h 2647950"/>
              <a:gd name="connsiteX41" fmla="*/ 1711738 w 2647950"/>
              <a:gd name="connsiteY41" fmla="*/ 454247 h 2647950"/>
              <a:gd name="connsiteX42" fmla="*/ 1687163 w 2647950"/>
              <a:gd name="connsiteY42" fmla="*/ 429673 h 2647950"/>
              <a:gd name="connsiteX43" fmla="*/ 1687163 w 2647950"/>
              <a:gd name="connsiteY43" fmla="*/ 315754 h 2647950"/>
              <a:gd name="connsiteX44" fmla="*/ 1713929 w 2647950"/>
              <a:gd name="connsiteY44" fmla="*/ 291084 h 2647950"/>
              <a:gd name="connsiteX45" fmla="*/ 1811655 w 2647950"/>
              <a:gd name="connsiteY45" fmla="*/ 313563 h 2647950"/>
              <a:gd name="connsiteX46" fmla="*/ 1960531 w 2647950"/>
              <a:gd name="connsiteY46" fmla="*/ 540353 h 2647950"/>
              <a:gd name="connsiteX47" fmla="*/ 1972532 w 2647950"/>
              <a:gd name="connsiteY47" fmla="*/ 730758 h 2647950"/>
              <a:gd name="connsiteX48" fmla="*/ 2024825 w 2647950"/>
              <a:gd name="connsiteY48" fmla="*/ 1200055 h 2647950"/>
              <a:gd name="connsiteX49" fmla="*/ 1969199 w 2647950"/>
              <a:gd name="connsiteY49" fmla="*/ 1679353 h 2647950"/>
              <a:gd name="connsiteX50" fmla="*/ 1973485 w 2647950"/>
              <a:gd name="connsiteY50" fmla="*/ 1721644 h 2647950"/>
              <a:gd name="connsiteX51" fmla="*/ 2025587 w 2647950"/>
              <a:gd name="connsiteY51" fmla="*/ 1894618 h 2647950"/>
              <a:gd name="connsiteX52" fmla="*/ 2004251 w 2647950"/>
              <a:gd name="connsiteY52" fmla="*/ 1924526 h 2647950"/>
              <a:gd name="connsiteX53" fmla="*/ 1896428 w 2647950"/>
              <a:gd name="connsiteY53" fmla="*/ 1936718 h 2647950"/>
              <a:gd name="connsiteX54" fmla="*/ 1863757 w 2647950"/>
              <a:gd name="connsiteY54" fmla="*/ 1909858 h 2647950"/>
              <a:gd name="connsiteX55" fmla="*/ 1823942 w 2647950"/>
              <a:gd name="connsiteY55" fmla="*/ 1781842 h 2647950"/>
              <a:gd name="connsiteX56" fmla="*/ 1219295 w 2647950"/>
              <a:gd name="connsiteY56" fmla="*/ 1488091 h 2647950"/>
              <a:gd name="connsiteX57" fmla="*/ 870776 w 2647950"/>
              <a:gd name="connsiteY57" fmla="*/ 1674590 h 2647950"/>
              <a:gd name="connsiteX58" fmla="*/ 840486 w 2647950"/>
              <a:gd name="connsiteY58" fmla="*/ 1676781 h 2647950"/>
              <a:gd name="connsiteX59" fmla="*/ 785432 w 2647950"/>
              <a:gd name="connsiteY59" fmla="*/ 1633728 h 2647950"/>
              <a:gd name="connsiteX60" fmla="*/ 780002 w 2647950"/>
              <a:gd name="connsiteY60" fmla="*/ 1535716 h 2647950"/>
              <a:gd name="connsiteX61" fmla="*/ 1103376 w 2647950"/>
              <a:gd name="connsiteY61" fmla="*/ 1348835 h 2647950"/>
              <a:gd name="connsiteX62" fmla="*/ 1121474 w 2647950"/>
              <a:gd name="connsiteY62" fmla="*/ 1315022 h 2647950"/>
              <a:gd name="connsiteX63" fmla="*/ 703612 w 2647950"/>
              <a:gd name="connsiteY63" fmla="*/ 1000125 h 2647950"/>
              <a:gd name="connsiteX64" fmla="*/ 225552 w 2647950"/>
              <a:gd name="connsiteY64" fmla="*/ 1247204 h 2647950"/>
              <a:gd name="connsiteX65" fmla="*/ 169450 w 2647950"/>
              <a:gd name="connsiteY65" fmla="*/ 1643920 h 2647950"/>
              <a:gd name="connsiteX66" fmla="*/ 524637 w 2647950"/>
              <a:gd name="connsiteY66" fmla="*/ 2268474 h 2647950"/>
              <a:gd name="connsiteX67" fmla="*/ 1064228 w 2647950"/>
              <a:gd name="connsiteY67" fmla="*/ 2490883 h 2647950"/>
              <a:gd name="connsiteX68" fmla="*/ 1552956 w 2647950"/>
              <a:gd name="connsiteY68" fmla="*/ 2488025 h 2647950"/>
              <a:gd name="connsiteX69" fmla="*/ 1949101 w 2647950"/>
              <a:gd name="connsiteY69" fmla="*/ 2415635 h 2647950"/>
              <a:gd name="connsiteX70" fmla="*/ 2479072 w 2647950"/>
              <a:gd name="connsiteY70" fmla="*/ 2183797 h 2647950"/>
              <a:gd name="connsiteX71" fmla="*/ 2495169 w 2647950"/>
              <a:gd name="connsiteY71" fmla="*/ 2149602 h 2647950"/>
              <a:gd name="connsiteX72" fmla="*/ 2486787 w 2647950"/>
              <a:gd name="connsiteY72" fmla="*/ 1914239 h 2647950"/>
              <a:gd name="connsiteX73" fmla="*/ 2458307 w 2647950"/>
              <a:gd name="connsiteY73" fmla="*/ 1569053 h 2647950"/>
              <a:gd name="connsiteX74" fmla="*/ 2355342 w 2647950"/>
              <a:gd name="connsiteY74" fmla="*/ 970598 h 2647950"/>
              <a:gd name="connsiteX75" fmla="*/ 2155793 w 2647950"/>
              <a:gd name="connsiteY75" fmla="*/ 298799 h 2647950"/>
              <a:gd name="connsiteX76" fmla="*/ 1991392 w 2647950"/>
              <a:gd name="connsiteY76" fmla="*/ 162592 h 2647950"/>
              <a:gd name="connsiteX77" fmla="*/ 1836134 w 2647950"/>
              <a:gd name="connsiteY77" fmla="*/ 159068 h 264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647950" h="2647950">
                <a:moveTo>
                  <a:pt x="0" y="1416272"/>
                </a:moveTo>
                <a:cubicBezTo>
                  <a:pt x="11716" y="1369505"/>
                  <a:pt x="18002" y="1321403"/>
                  <a:pt x="35624" y="1276064"/>
                </a:cubicBezTo>
                <a:cubicBezTo>
                  <a:pt x="131445" y="1028510"/>
                  <a:pt x="310134" y="878491"/>
                  <a:pt x="572643" y="841724"/>
                </a:cubicBezTo>
                <a:cubicBezTo>
                  <a:pt x="888587" y="797528"/>
                  <a:pt x="1180148" y="985742"/>
                  <a:pt x="1282446" y="1289495"/>
                </a:cubicBezTo>
                <a:cubicBezTo>
                  <a:pt x="1288542" y="1307687"/>
                  <a:pt x="1295495" y="1317974"/>
                  <a:pt x="1317879" y="1318260"/>
                </a:cubicBezTo>
                <a:cubicBezTo>
                  <a:pt x="1511618" y="1320451"/>
                  <a:pt x="1683925" y="1379411"/>
                  <a:pt x="1826990" y="1513999"/>
                </a:cubicBezTo>
                <a:cubicBezTo>
                  <a:pt x="1828800" y="1515713"/>
                  <a:pt x="1831181" y="1516666"/>
                  <a:pt x="1835277" y="1519047"/>
                </a:cubicBezTo>
                <a:cubicBezTo>
                  <a:pt x="1846326" y="1482662"/>
                  <a:pt x="1848422" y="1445800"/>
                  <a:pt x="1852517" y="1409605"/>
                </a:cubicBezTo>
                <a:cubicBezTo>
                  <a:pt x="1863185" y="1316069"/>
                  <a:pt x="1866233" y="1222058"/>
                  <a:pt x="1863376" y="1127951"/>
                </a:cubicBezTo>
                <a:cubicBezTo>
                  <a:pt x="1859756" y="1011365"/>
                  <a:pt x="1845278" y="896017"/>
                  <a:pt x="1821942" y="781812"/>
                </a:cubicBezTo>
                <a:cubicBezTo>
                  <a:pt x="1818513" y="765143"/>
                  <a:pt x="1810226" y="759714"/>
                  <a:pt x="1793462" y="759428"/>
                </a:cubicBezTo>
                <a:cubicBezTo>
                  <a:pt x="1737455" y="758381"/>
                  <a:pt x="1681448" y="763238"/>
                  <a:pt x="1625441" y="755142"/>
                </a:cubicBezTo>
                <a:cubicBezTo>
                  <a:pt x="1490853" y="735711"/>
                  <a:pt x="1376363" y="618839"/>
                  <a:pt x="1360742" y="483584"/>
                </a:cubicBezTo>
                <a:cubicBezTo>
                  <a:pt x="1351883" y="406146"/>
                  <a:pt x="1358360" y="328327"/>
                  <a:pt x="1356551" y="250793"/>
                </a:cubicBezTo>
                <a:cubicBezTo>
                  <a:pt x="1356265" y="238316"/>
                  <a:pt x="1363123" y="229934"/>
                  <a:pt x="1371219" y="221837"/>
                </a:cubicBezTo>
                <a:cubicBezTo>
                  <a:pt x="1440275" y="152876"/>
                  <a:pt x="1509427" y="84106"/>
                  <a:pt x="1578007" y="14669"/>
                </a:cubicBezTo>
                <a:cubicBezTo>
                  <a:pt x="1589532" y="3048"/>
                  <a:pt x="1602105" y="0"/>
                  <a:pt x="1617536" y="0"/>
                </a:cubicBezTo>
                <a:cubicBezTo>
                  <a:pt x="1734122" y="381"/>
                  <a:pt x="1850612" y="0"/>
                  <a:pt x="1967198" y="286"/>
                </a:cubicBezTo>
                <a:cubicBezTo>
                  <a:pt x="2113121" y="572"/>
                  <a:pt x="2245614" y="88011"/>
                  <a:pt x="2299526" y="223361"/>
                </a:cubicBezTo>
                <a:cubicBezTo>
                  <a:pt x="2423636" y="535210"/>
                  <a:pt x="2520124" y="854869"/>
                  <a:pt x="2572226" y="1187291"/>
                </a:cubicBezTo>
                <a:cubicBezTo>
                  <a:pt x="2598801" y="1356836"/>
                  <a:pt x="2620328" y="1526762"/>
                  <a:pt x="2634424" y="1697736"/>
                </a:cubicBezTo>
                <a:cubicBezTo>
                  <a:pt x="2649570" y="1880235"/>
                  <a:pt x="2656237" y="2062734"/>
                  <a:pt x="2654522" y="2245805"/>
                </a:cubicBezTo>
                <a:cubicBezTo>
                  <a:pt x="2654332" y="2261616"/>
                  <a:pt x="2651760" y="2273522"/>
                  <a:pt x="2636234" y="2282000"/>
                </a:cubicBezTo>
                <a:cubicBezTo>
                  <a:pt x="2451354" y="2382869"/>
                  <a:pt x="2267522" y="2485454"/>
                  <a:pt x="2064925" y="2548890"/>
                </a:cubicBezTo>
                <a:cubicBezTo>
                  <a:pt x="1911287" y="2596991"/>
                  <a:pt x="1755172" y="2631377"/>
                  <a:pt x="1594866" y="2646331"/>
                </a:cubicBezTo>
                <a:cubicBezTo>
                  <a:pt x="1569244" y="2648712"/>
                  <a:pt x="1543622" y="2651855"/>
                  <a:pt x="1517999" y="2654713"/>
                </a:cubicBezTo>
                <a:cubicBezTo>
                  <a:pt x="1365980" y="2654713"/>
                  <a:pt x="1214057" y="2654713"/>
                  <a:pt x="1062133" y="2654713"/>
                </a:cubicBezTo>
                <a:cubicBezTo>
                  <a:pt x="1058894" y="2653760"/>
                  <a:pt x="1055656" y="2652046"/>
                  <a:pt x="1052322" y="2651760"/>
                </a:cubicBezTo>
                <a:cubicBezTo>
                  <a:pt x="924020" y="2641092"/>
                  <a:pt x="800767" y="2609660"/>
                  <a:pt x="684181" y="2555367"/>
                </a:cubicBezTo>
                <a:cubicBezTo>
                  <a:pt x="358426" y="2403539"/>
                  <a:pt x="143828" y="2154936"/>
                  <a:pt x="40386" y="1810607"/>
                </a:cubicBezTo>
                <a:cubicBezTo>
                  <a:pt x="19526" y="1741075"/>
                  <a:pt x="9906" y="1669447"/>
                  <a:pt x="0" y="1597819"/>
                </a:cubicBezTo>
                <a:cubicBezTo>
                  <a:pt x="0" y="1537145"/>
                  <a:pt x="0" y="1476756"/>
                  <a:pt x="0" y="1416272"/>
                </a:cubicBezTo>
                <a:close/>
                <a:moveTo>
                  <a:pt x="1836134" y="159068"/>
                </a:moveTo>
                <a:cubicBezTo>
                  <a:pt x="1778508" y="159068"/>
                  <a:pt x="1731074" y="159449"/>
                  <a:pt x="1683544" y="158877"/>
                </a:cubicBezTo>
                <a:cubicBezTo>
                  <a:pt x="1668875" y="158687"/>
                  <a:pt x="1657255" y="162211"/>
                  <a:pt x="1646682" y="173165"/>
                </a:cubicBezTo>
                <a:cubicBezTo>
                  <a:pt x="1609344" y="211550"/>
                  <a:pt x="1571339" y="249269"/>
                  <a:pt x="1533239" y="286798"/>
                </a:cubicBezTo>
                <a:cubicBezTo>
                  <a:pt x="1524095" y="295847"/>
                  <a:pt x="1519047" y="305276"/>
                  <a:pt x="1519142" y="318611"/>
                </a:cubicBezTo>
                <a:cubicBezTo>
                  <a:pt x="1519714" y="363474"/>
                  <a:pt x="1518476" y="408432"/>
                  <a:pt x="1519714" y="453295"/>
                </a:cubicBezTo>
                <a:cubicBezTo>
                  <a:pt x="1521524" y="520637"/>
                  <a:pt x="1579245" y="587597"/>
                  <a:pt x="1645920" y="594741"/>
                </a:cubicBezTo>
                <a:cubicBezTo>
                  <a:pt x="1691164" y="599599"/>
                  <a:pt x="1737360" y="596551"/>
                  <a:pt x="1783080" y="596837"/>
                </a:cubicBezTo>
                <a:cubicBezTo>
                  <a:pt x="1791272" y="596932"/>
                  <a:pt x="1797653" y="594741"/>
                  <a:pt x="1800511" y="585121"/>
                </a:cubicBezTo>
                <a:cubicBezTo>
                  <a:pt x="1818989" y="522161"/>
                  <a:pt x="1776413" y="458343"/>
                  <a:pt x="1711738" y="454247"/>
                </a:cubicBezTo>
                <a:cubicBezTo>
                  <a:pt x="1694498" y="453200"/>
                  <a:pt x="1686782" y="447770"/>
                  <a:pt x="1687163" y="429673"/>
                </a:cubicBezTo>
                <a:cubicBezTo>
                  <a:pt x="1687925" y="391668"/>
                  <a:pt x="1688021" y="353663"/>
                  <a:pt x="1687163" y="315754"/>
                </a:cubicBezTo>
                <a:cubicBezTo>
                  <a:pt x="1686687" y="295847"/>
                  <a:pt x="1695926" y="289751"/>
                  <a:pt x="1713929" y="291084"/>
                </a:cubicBezTo>
                <a:cubicBezTo>
                  <a:pt x="1747647" y="293656"/>
                  <a:pt x="1781080" y="298514"/>
                  <a:pt x="1811655" y="313563"/>
                </a:cubicBezTo>
                <a:cubicBezTo>
                  <a:pt x="1905667" y="359759"/>
                  <a:pt x="1958054" y="433388"/>
                  <a:pt x="1960531" y="540353"/>
                </a:cubicBezTo>
                <a:cubicBezTo>
                  <a:pt x="1961960" y="603885"/>
                  <a:pt x="1956911" y="667322"/>
                  <a:pt x="1972532" y="730758"/>
                </a:cubicBezTo>
                <a:cubicBezTo>
                  <a:pt x="2010347" y="884682"/>
                  <a:pt x="2025015" y="1041940"/>
                  <a:pt x="2024825" y="1200055"/>
                </a:cubicBezTo>
                <a:cubicBezTo>
                  <a:pt x="2024729" y="1361599"/>
                  <a:pt x="2007203" y="1521905"/>
                  <a:pt x="1969199" y="1679353"/>
                </a:cubicBezTo>
                <a:cubicBezTo>
                  <a:pt x="1965484" y="1694688"/>
                  <a:pt x="1966913" y="1707642"/>
                  <a:pt x="1973485" y="1721644"/>
                </a:cubicBezTo>
                <a:cubicBezTo>
                  <a:pt x="1999107" y="1776698"/>
                  <a:pt x="2014823" y="1834896"/>
                  <a:pt x="2025587" y="1894618"/>
                </a:cubicBezTo>
                <a:cubicBezTo>
                  <a:pt x="2028920" y="1913287"/>
                  <a:pt x="2022729" y="1922526"/>
                  <a:pt x="2004251" y="1924526"/>
                </a:cubicBezTo>
                <a:cubicBezTo>
                  <a:pt x="1968246" y="1928336"/>
                  <a:pt x="1932051" y="1930813"/>
                  <a:pt x="1896428" y="1936718"/>
                </a:cubicBezTo>
                <a:cubicBezTo>
                  <a:pt x="1872615" y="1940624"/>
                  <a:pt x="1866519" y="1929956"/>
                  <a:pt x="1863757" y="1909858"/>
                </a:cubicBezTo>
                <a:cubicBezTo>
                  <a:pt x="1857661" y="1865090"/>
                  <a:pt x="1843278" y="1822609"/>
                  <a:pt x="1823942" y="1781842"/>
                </a:cubicBezTo>
                <a:cubicBezTo>
                  <a:pt x="1714119" y="1551813"/>
                  <a:pt x="1467993" y="1448562"/>
                  <a:pt x="1219295" y="1488091"/>
                </a:cubicBezTo>
                <a:cubicBezTo>
                  <a:pt x="1081754" y="1509903"/>
                  <a:pt x="963168" y="1568196"/>
                  <a:pt x="870776" y="1674590"/>
                </a:cubicBezTo>
                <a:cubicBezTo>
                  <a:pt x="860488" y="1686401"/>
                  <a:pt x="852107" y="1686497"/>
                  <a:pt x="840486" y="1676781"/>
                </a:cubicBezTo>
                <a:cubicBezTo>
                  <a:pt x="822674" y="1661827"/>
                  <a:pt x="803434" y="1648492"/>
                  <a:pt x="785432" y="1633728"/>
                </a:cubicBezTo>
                <a:cubicBezTo>
                  <a:pt x="722567" y="1582484"/>
                  <a:pt x="717423" y="1601438"/>
                  <a:pt x="780002" y="1535716"/>
                </a:cubicBezTo>
                <a:cubicBezTo>
                  <a:pt x="868966" y="1442276"/>
                  <a:pt x="979456" y="1383030"/>
                  <a:pt x="1103376" y="1348835"/>
                </a:cubicBezTo>
                <a:cubicBezTo>
                  <a:pt x="1124045" y="1343120"/>
                  <a:pt x="1130427" y="1335977"/>
                  <a:pt x="1121474" y="1315022"/>
                </a:cubicBezTo>
                <a:cubicBezTo>
                  <a:pt x="1042226" y="1130046"/>
                  <a:pt x="903923" y="1018223"/>
                  <a:pt x="703612" y="1000125"/>
                </a:cubicBezTo>
                <a:cubicBezTo>
                  <a:pt x="495872" y="981361"/>
                  <a:pt x="334518" y="1068419"/>
                  <a:pt x="225552" y="1247204"/>
                </a:cubicBezTo>
                <a:cubicBezTo>
                  <a:pt x="150209" y="1370838"/>
                  <a:pt x="148971" y="1507236"/>
                  <a:pt x="169450" y="1643920"/>
                </a:cubicBezTo>
                <a:cubicBezTo>
                  <a:pt x="207359" y="1896999"/>
                  <a:pt x="328136" y="2105120"/>
                  <a:pt x="524637" y="2268474"/>
                </a:cubicBezTo>
                <a:cubicBezTo>
                  <a:pt x="681038" y="2398490"/>
                  <a:pt x="861917" y="2474214"/>
                  <a:pt x="1064228" y="2490883"/>
                </a:cubicBezTo>
                <a:cubicBezTo>
                  <a:pt x="1226820" y="2504313"/>
                  <a:pt x="1390079" y="2500694"/>
                  <a:pt x="1552956" y="2488025"/>
                </a:cubicBezTo>
                <a:cubicBezTo>
                  <a:pt x="1687544" y="2477548"/>
                  <a:pt x="1819180" y="2451735"/>
                  <a:pt x="1949101" y="2415635"/>
                </a:cubicBezTo>
                <a:cubicBezTo>
                  <a:pt x="2136839" y="2363438"/>
                  <a:pt x="2310003" y="2278380"/>
                  <a:pt x="2479072" y="2183797"/>
                </a:cubicBezTo>
                <a:cubicBezTo>
                  <a:pt x="2494312" y="2175320"/>
                  <a:pt x="2496598" y="2164080"/>
                  <a:pt x="2495169" y="2149602"/>
                </a:cubicBezTo>
                <a:cubicBezTo>
                  <a:pt x="2487168" y="2071402"/>
                  <a:pt x="2491264" y="1992725"/>
                  <a:pt x="2486787" y="1914239"/>
                </a:cubicBezTo>
                <a:cubicBezTo>
                  <a:pt x="2480310" y="1798892"/>
                  <a:pt x="2471547" y="1683734"/>
                  <a:pt x="2458307" y="1569053"/>
                </a:cubicBezTo>
                <a:cubicBezTo>
                  <a:pt x="2435066" y="1367695"/>
                  <a:pt x="2400776" y="1168146"/>
                  <a:pt x="2355342" y="970598"/>
                </a:cubicBezTo>
                <a:cubicBezTo>
                  <a:pt x="2302955" y="742474"/>
                  <a:pt x="2235518" y="518827"/>
                  <a:pt x="2155793" y="298799"/>
                </a:cubicBezTo>
                <a:cubicBezTo>
                  <a:pt x="2127885" y="221837"/>
                  <a:pt x="2073212" y="175165"/>
                  <a:pt x="1991392" y="162592"/>
                </a:cubicBezTo>
                <a:cubicBezTo>
                  <a:pt x="1936528" y="154305"/>
                  <a:pt x="1881092" y="161830"/>
                  <a:pt x="1836134" y="159068"/>
                </a:cubicBezTo>
                <a:close/>
              </a:path>
            </a:pathLst>
          </a:custGeom>
          <a:solidFill>
            <a:schemeClr val="bg1">
              <a:alpha val="50000"/>
            </a:schemeClr>
          </a:solidFill>
          <a:ln w="9525" cap="flat">
            <a:noFill/>
            <a:prstDash val="solid"/>
            <a:miter/>
          </a:ln>
        </p:spPr>
        <p:txBody>
          <a:bodyPr rtlCol="0" anchor="ctr"/>
          <a:lstStyle/>
          <a:p>
            <a:endParaRPr lang="en-US"/>
          </a:p>
        </p:txBody>
      </p:sp>
      <p:sp>
        <p:nvSpPr>
          <p:cNvPr id="38" name="TextBox 37">
            <a:extLst>
              <a:ext uri="{FF2B5EF4-FFF2-40B4-BE49-F238E27FC236}">
                <a16:creationId xmlns:a16="http://schemas.microsoft.com/office/drawing/2014/main" id="{D1F4248E-57C6-43A0-812E-11057B50C699}"/>
              </a:ext>
            </a:extLst>
          </p:cNvPr>
          <p:cNvSpPr txBox="1"/>
          <p:nvPr/>
        </p:nvSpPr>
        <p:spPr>
          <a:xfrm>
            <a:off x="4307858" y="872376"/>
            <a:ext cx="3576284" cy="553998"/>
          </a:xfrm>
          <a:prstGeom prst="rect">
            <a:avLst/>
          </a:prstGeom>
          <a:noFill/>
        </p:spPr>
        <p:txBody>
          <a:bodyPr wrap="square" rtlCol="0">
            <a:spAutoFit/>
          </a:bodyPr>
          <a:lstStyle/>
          <a:p>
            <a:pPr algn="ctr"/>
            <a:r>
              <a:rPr lang="en-US" sz="3000" b="1" dirty="0">
                <a:solidFill>
                  <a:schemeClr val="tx2">
                    <a:lumMod val="40000"/>
                    <a:lumOff val="60000"/>
                  </a:schemeClr>
                </a:solidFill>
                <a:latin typeface="Montserrat" panose="00000500000000000000" pitchFamily="50" charset="0"/>
              </a:rPr>
              <a:t>VENN DIAGRAM</a:t>
            </a:r>
          </a:p>
        </p:txBody>
      </p:sp>
    </p:spTree>
    <p:extLst>
      <p:ext uri="{BB962C8B-B14F-4D97-AF65-F5344CB8AC3E}">
        <p14:creationId xmlns:p14="http://schemas.microsoft.com/office/powerpoint/2010/main" val="13621251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Lorem Ipsum is simply dummy text of the printing and typesetting industry. Lorem Ipsum has been the industry's standard dummy text ever since the 1500s, when an unknown printer took a galley of type and scrambled it to make a type specimen book. It has s">
            <a:extLst>
              <a:ext uri="{FF2B5EF4-FFF2-40B4-BE49-F238E27FC236}">
                <a16:creationId xmlns:a16="http://schemas.microsoft.com/office/drawing/2014/main" id="{45CF9489-DC5D-4BC4-A8C0-511EC98F5D68}"/>
              </a:ext>
            </a:extLst>
          </p:cNvPr>
          <p:cNvSpPr txBox="1"/>
          <p:nvPr/>
        </p:nvSpPr>
        <p:spPr>
          <a:xfrm>
            <a:off x="713302" y="1426159"/>
            <a:ext cx="1076539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defRPr sz="2500" b="0">
                <a:solidFill>
                  <a:srgbClr val="9FA09E"/>
                </a:solidFill>
                <a:latin typeface="Barlow Medium"/>
                <a:ea typeface="Barlow Medium"/>
                <a:cs typeface="Barlow Medium"/>
                <a:sym typeface="Barlow Medium"/>
              </a:defRPr>
            </a:lvl1pPr>
          </a:lstStyle>
          <a:p>
            <a:pPr algn="ctr" defTabSz="412750" hangingPunct="0">
              <a:lnSpc>
                <a:spcPts val="1700"/>
              </a:lnSpc>
            </a:pPr>
            <a:r>
              <a:rPr sz="1100" kern="0" dirty="0">
                <a:solidFill>
                  <a:schemeClr val="tx1"/>
                </a:solidFill>
                <a:latin typeface="Montserrat" panose="00000500000000000000" pitchFamily="50" charset="0"/>
              </a:rPr>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a:t>
            </a:r>
          </a:p>
        </p:txBody>
      </p:sp>
      <p:sp>
        <p:nvSpPr>
          <p:cNvPr id="35" name="TextBox 34">
            <a:extLst>
              <a:ext uri="{FF2B5EF4-FFF2-40B4-BE49-F238E27FC236}">
                <a16:creationId xmlns:a16="http://schemas.microsoft.com/office/drawing/2014/main" id="{B64B4542-F4D3-4758-BC1D-E1DE42E29C8C}"/>
              </a:ext>
            </a:extLst>
          </p:cNvPr>
          <p:cNvSpPr txBox="1"/>
          <p:nvPr/>
        </p:nvSpPr>
        <p:spPr>
          <a:xfrm>
            <a:off x="2766008" y="729164"/>
            <a:ext cx="6659984" cy="553998"/>
          </a:xfrm>
          <a:prstGeom prst="rect">
            <a:avLst/>
          </a:prstGeom>
          <a:noFill/>
        </p:spPr>
        <p:txBody>
          <a:bodyPr wrap="square" rtlCol="0">
            <a:spAutoFit/>
          </a:bodyPr>
          <a:lstStyle/>
          <a:p>
            <a:pPr algn="ctr"/>
            <a:r>
              <a:rPr lang="en-US" sz="3000" b="1" dirty="0">
                <a:solidFill>
                  <a:schemeClr val="tx2">
                    <a:lumMod val="40000"/>
                    <a:lumOff val="60000"/>
                  </a:schemeClr>
                </a:solidFill>
                <a:latin typeface="Montserrat" panose="00000500000000000000" pitchFamily="50" charset="0"/>
              </a:rPr>
              <a:t>VENN DIAGRAM</a:t>
            </a:r>
          </a:p>
        </p:txBody>
      </p:sp>
      <p:sp>
        <p:nvSpPr>
          <p:cNvPr id="515" name="Shape"/>
          <p:cNvSpPr/>
          <p:nvPr/>
        </p:nvSpPr>
        <p:spPr>
          <a:xfrm>
            <a:off x="3631223" y="2602024"/>
            <a:ext cx="4929554" cy="3163826"/>
          </a:xfrm>
          <a:custGeom>
            <a:avLst/>
            <a:gdLst/>
            <a:ahLst/>
            <a:cxnLst>
              <a:cxn ang="0">
                <a:pos x="wd2" y="hd2"/>
              </a:cxn>
              <a:cxn ang="5400000">
                <a:pos x="wd2" y="hd2"/>
              </a:cxn>
              <a:cxn ang="10800000">
                <a:pos x="wd2" y="hd2"/>
              </a:cxn>
              <a:cxn ang="16200000">
                <a:pos x="wd2" y="hd2"/>
              </a:cxn>
            </a:cxnLst>
            <a:rect l="0" t="0" r="r" b="b"/>
            <a:pathLst>
              <a:path w="21293" h="16921" extrusionOk="0">
                <a:moveTo>
                  <a:pt x="10644" y="1503"/>
                </a:moveTo>
                <a:cubicBezTo>
                  <a:pt x="6229" y="-2276"/>
                  <a:pt x="186" y="1488"/>
                  <a:pt x="4" y="8129"/>
                </a:cubicBezTo>
                <a:cubicBezTo>
                  <a:pt x="-185" y="15034"/>
                  <a:pt x="6012" y="19310"/>
                  <a:pt x="10655" y="15479"/>
                </a:cubicBezTo>
                <a:cubicBezTo>
                  <a:pt x="15257" y="19286"/>
                  <a:pt x="21415" y="15100"/>
                  <a:pt x="21291" y="8249"/>
                </a:cubicBezTo>
                <a:cubicBezTo>
                  <a:pt x="21171" y="1558"/>
                  <a:pt x="15097" y="-2290"/>
                  <a:pt x="10644" y="1503"/>
                </a:cubicBezTo>
                <a:close/>
              </a:path>
            </a:pathLst>
          </a:custGeom>
          <a:gradFill>
            <a:gsLst>
              <a:gs pos="30000">
                <a:schemeClr val="tx2">
                  <a:lumMod val="20000"/>
                  <a:lumOff val="80000"/>
                  <a:alpha val="50000"/>
                </a:schemeClr>
              </a:gs>
              <a:gs pos="80000">
                <a:schemeClr val="tx2">
                  <a:lumMod val="20000"/>
                  <a:lumOff val="80000"/>
                  <a:alpha val="0"/>
                </a:schemeClr>
              </a:gs>
            </a:gsLst>
            <a:path path="circle">
              <a:fillToRect l="50000" t="50000" r="50000" b="50000"/>
            </a:path>
          </a:gradFill>
          <a:ln w="12700" cap="flat">
            <a:gradFill>
              <a:gsLst>
                <a:gs pos="100000">
                  <a:schemeClr val="tx2">
                    <a:lumMod val="20000"/>
                    <a:lumOff val="80000"/>
                  </a:schemeClr>
                </a:gs>
                <a:gs pos="0">
                  <a:schemeClr val="tx2">
                    <a:lumMod val="20000"/>
                    <a:lumOff val="80000"/>
                  </a:schemeClr>
                </a:gs>
                <a:gs pos="50000">
                  <a:schemeClr val="tx2">
                    <a:lumMod val="20000"/>
                    <a:lumOff val="80000"/>
                    <a:alpha val="0"/>
                  </a:schemeClr>
                </a:gs>
              </a:gsLst>
              <a:lin ang="0" scaled="0"/>
            </a:grad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510" name="Circle"/>
          <p:cNvSpPr/>
          <p:nvPr/>
        </p:nvSpPr>
        <p:spPr>
          <a:xfrm>
            <a:off x="3973230" y="2953412"/>
            <a:ext cx="2461051" cy="2461051"/>
          </a:xfrm>
          <a:prstGeom prst="ellipse">
            <a:avLst/>
          </a:prstGeom>
          <a:gradFill>
            <a:gsLst>
              <a:gs pos="100000">
                <a:schemeClr val="accent1">
                  <a:alpha val="30000"/>
                </a:schemeClr>
              </a:gs>
              <a:gs pos="0">
                <a:schemeClr val="accent1"/>
              </a:gs>
            </a:gsLst>
            <a:lin ang="0" scaled="0"/>
          </a:gradFill>
          <a:ln w="254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513" name="Circle"/>
          <p:cNvSpPr/>
          <p:nvPr/>
        </p:nvSpPr>
        <p:spPr>
          <a:xfrm>
            <a:off x="5758627" y="2953412"/>
            <a:ext cx="2461051" cy="2461051"/>
          </a:xfrm>
          <a:prstGeom prst="ellipse">
            <a:avLst/>
          </a:prstGeom>
          <a:gradFill>
            <a:gsLst>
              <a:gs pos="100000">
                <a:schemeClr val="accent4">
                  <a:alpha val="10000"/>
                </a:schemeClr>
              </a:gs>
              <a:gs pos="0">
                <a:schemeClr val="accent4"/>
              </a:gs>
            </a:gsLst>
            <a:lin ang="10800000" scaled="0"/>
          </a:gradFill>
          <a:ln w="25400" cap="flat">
            <a:no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30" name="Circle">
            <a:extLst>
              <a:ext uri="{FF2B5EF4-FFF2-40B4-BE49-F238E27FC236}">
                <a16:creationId xmlns:a16="http://schemas.microsoft.com/office/drawing/2014/main" id="{BD924CE6-6F3C-4384-80CE-6616A6F013C7}"/>
              </a:ext>
            </a:extLst>
          </p:cNvPr>
          <p:cNvSpPr/>
          <p:nvPr/>
        </p:nvSpPr>
        <p:spPr>
          <a:xfrm>
            <a:off x="3973230" y="2953412"/>
            <a:ext cx="2461051" cy="2461051"/>
          </a:xfrm>
          <a:prstGeom prst="ellipse">
            <a:avLst/>
          </a:prstGeom>
          <a:noFill/>
          <a:ln w="25400" cap="flat">
            <a:solidFill>
              <a:schemeClr val="bg1"/>
            </a:solid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31" name="Circle">
            <a:extLst>
              <a:ext uri="{FF2B5EF4-FFF2-40B4-BE49-F238E27FC236}">
                <a16:creationId xmlns:a16="http://schemas.microsoft.com/office/drawing/2014/main" id="{58628E25-9477-4DE8-B69F-17D72F5EEC79}"/>
              </a:ext>
            </a:extLst>
          </p:cNvPr>
          <p:cNvSpPr/>
          <p:nvPr/>
        </p:nvSpPr>
        <p:spPr>
          <a:xfrm>
            <a:off x="5758627" y="2953412"/>
            <a:ext cx="2461051" cy="2461051"/>
          </a:xfrm>
          <a:prstGeom prst="ellipse">
            <a:avLst/>
          </a:prstGeom>
          <a:noFill/>
          <a:ln w="25400" cap="flat">
            <a:solidFill>
              <a:schemeClr val="bg1"/>
            </a:solidFill>
            <a:miter lim="400000"/>
          </a:ln>
          <a:effectLst/>
        </p:spPr>
        <p:txBody>
          <a:bodyPr wrap="square" lIns="0" tIns="0" rIns="0" bIns="0" numCol="1" anchor="ctr">
            <a:noAutofit/>
          </a:bodyPr>
          <a:lstStyle/>
          <a:p>
            <a:pPr algn="ctr" defTabSz="412750" hangingPunct="0"/>
            <a:endParaRPr sz="1600" kern="0">
              <a:solidFill>
                <a:srgbClr val="FFFFFF"/>
              </a:solidFill>
              <a:latin typeface="Helvetica Neue Medium"/>
              <a:sym typeface="Helvetica Neue Medium"/>
            </a:endParaRPr>
          </a:p>
        </p:txBody>
      </p:sp>
      <p:sp>
        <p:nvSpPr>
          <p:cNvPr id="516" name="Placeholder Text"/>
          <p:cNvSpPr txBox="1"/>
          <p:nvPr/>
        </p:nvSpPr>
        <p:spPr>
          <a:xfrm>
            <a:off x="6637806" y="3957937"/>
            <a:ext cx="1378346" cy="512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lgn="l">
              <a:defRPr sz="2500" b="0">
                <a:solidFill>
                  <a:srgbClr val="555454"/>
                </a:solidFill>
                <a:latin typeface="Barlow Medium"/>
                <a:ea typeface="Barlow Medium"/>
                <a:cs typeface="Barlow Medium"/>
                <a:sym typeface="Barlow Medium"/>
              </a:defRPr>
            </a:lvl1pPr>
          </a:lstStyle>
          <a:p>
            <a:pPr algn="ctr" defTabSz="412750" hangingPunct="0"/>
            <a:r>
              <a:rPr sz="1500" b="1" kern="0" dirty="0">
                <a:solidFill>
                  <a:schemeClr val="bg1"/>
                </a:solidFill>
                <a:latin typeface="Montserrat" panose="00000500000000000000" pitchFamily="50" charset="0"/>
              </a:rPr>
              <a:t>Placeholder Text</a:t>
            </a:r>
          </a:p>
        </p:txBody>
      </p:sp>
      <p:sp>
        <p:nvSpPr>
          <p:cNvPr id="525" name="Placeholder Text"/>
          <p:cNvSpPr txBox="1"/>
          <p:nvPr/>
        </p:nvSpPr>
        <p:spPr>
          <a:xfrm>
            <a:off x="4172119" y="3957937"/>
            <a:ext cx="1378346" cy="512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lgn="r">
              <a:defRPr sz="2500" b="0">
                <a:solidFill>
                  <a:srgbClr val="555454"/>
                </a:solidFill>
                <a:latin typeface="Barlow Medium"/>
                <a:ea typeface="Barlow Medium"/>
                <a:cs typeface="Barlow Medium"/>
                <a:sym typeface="Barlow Medium"/>
              </a:defRPr>
            </a:lvl1pPr>
          </a:lstStyle>
          <a:p>
            <a:pPr algn="ctr" defTabSz="412750" hangingPunct="0"/>
            <a:r>
              <a:rPr sz="1500" b="1" kern="0" dirty="0">
                <a:solidFill>
                  <a:schemeClr val="bg1"/>
                </a:solidFill>
                <a:latin typeface="Montserrat" panose="00000500000000000000" pitchFamily="50" charset="0"/>
              </a:rPr>
              <a:t>Placeholder Text</a:t>
            </a:r>
          </a:p>
        </p:txBody>
      </p:sp>
      <p:sp>
        <p:nvSpPr>
          <p:cNvPr id="36" name="Oval 35">
            <a:extLst>
              <a:ext uri="{FF2B5EF4-FFF2-40B4-BE49-F238E27FC236}">
                <a16:creationId xmlns:a16="http://schemas.microsoft.com/office/drawing/2014/main" id="{61B02CD5-9DF0-4323-A08E-E928F63F5D18}"/>
              </a:ext>
            </a:extLst>
          </p:cNvPr>
          <p:cNvSpPr/>
          <p:nvPr/>
        </p:nvSpPr>
        <p:spPr>
          <a:xfrm flipH="1">
            <a:off x="3377411" y="2838677"/>
            <a:ext cx="368224" cy="368224"/>
          </a:xfrm>
          <a:prstGeom prst="ellipse">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latin typeface="Montserrat" panose="00000500000000000000" pitchFamily="50" charset="0"/>
              </a:rPr>
              <a:t>1</a:t>
            </a:r>
          </a:p>
        </p:txBody>
      </p:sp>
      <p:sp>
        <p:nvSpPr>
          <p:cNvPr id="37" name="Lorem Ipsum is simply dummy text of the printing typesetting">
            <a:extLst>
              <a:ext uri="{FF2B5EF4-FFF2-40B4-BE49-F238E27FC236}">
                <a16:creationId xmlns:a16="http://schemas.microsoft.com/office/drawing/2014/main" id="{625E15E4-7ADE-4D3C-89D5-0041145DC218}"/>
              </a:ext>
            </a:extLst>
          </p:cNvPr>
          <p:cNvSpPr txBox="1"/>
          <p:nvPr/>
        </p:nvSpPr>
        <p:spPr>
          <a:xfrm>
            <a:off x="1068632" y="2770759"/>
            <a:ext cx="213777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defTabSz="412750" hangingPunct="0">
              <a:lnSpc>
                <a:spcPts val="1700"/>
              </a:lnSpc>
            </a:pPr>
            <a:r>
              <a:rPr sz="1000" kern="0" dirty="0">
                <a:solidFill>
                  <a:schemeClr val="tx1"/>
                </a:solidFill>
                <a:latin typeface="Montserrat" panose="00000500000000000000" pitchFamily="50" charset="0"/>
              </a:rPr>
              <a:t>Lorem Ipsum is simply dummy text of the printing typesetting</a:t>
            </a:r>
          </a:p>
        </p:txBody>
      </p:sp>
      <p:sp>
        <p:nvSpPr>
          <p:cNvPr id="41" name="Oval 40">
            <a:extLst>
              <a:ext uri="{FF2B5EF4-FFF2-40B4-BE49-F238E27FC236}">
                <a16:creationId xmlns:a16="http://schemas.microsoft.com/office/drawing/2014/main" id="{400292E3-9143-4473-AB14-CD4DFE106ED9}"/>
              </a:ext>
            </a:extLst>
          </p:cNvPr>
          <p:cNvSpPr/>
          <p:nvPr/>
        </p:nvSpPr>
        <p:spPr>
          <a:xfrm flipH="1">
            <a:off x="3036246" y="4018875"/>
            <a:ext cx="368224" cy="368224"/>
          </a:xfrm>
          <a:prstGeom prst="ellipse">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latin typeface="Montserrat" panose="00000500000000000000" pitchFamily="50" charset="0"/>
              </a:rPr>
              <a:t>2</a:t>
            </a:r>
          </a:p>
        </p:txBody>
      </p:sp>
      <p:sp>
        <p:nvSpPr>
          <p:cNvPr id="42" name="Lorem Ipsum is simply dummy text of the printing typesetting">
            <a:extLst>
              <a:ext uri="{FF2B5EF4-FFF2-40B4-BE49-F238E27FC236}">
                <a16:creationId xmlns:a16="http://schemas.microsoft.com/office/drawing/2014/main" id="{B6DB7C1D-9586-4D5A-BC19-87CD68488C28}"/>
              </a:ext>
            </a:extLst>
          </p:cNvPr>
          <p:cNvSpPr txBox="1"/>
          <p:nvPr/>
        </p:nvSpPr>
        <p:spPr>
          <a:xfrm>
            <a:off x="727467" y="3950957"/>
            <a:ext cx="213777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defTabSz="412750" hangingPunct="0">
              <a:lnSpc>
                <a:spcPts val="1700"/>
              </a:lnSpc>
            </a:pPr>
            <a:r>
              <a:rPr sz="1000" kern="0" dirty="0">
                <a:solidFill>
                  <a:schemeClr val="tx1"/>
                </a:solidFill>
                <a:latin typeface="Montserrat" panose="00000500000000000000" pitchFamily="50" charset="0"/>
              </a:rPr>
              <a:t>Lorem Ipsum is simply dummy text of the printing typesetting</a:t>
            </a:r>
          </a:p>
        </p:txBody>
      </p:sp>
      <p:sp>
        <p:nvSpPr>
          <p:cNvPr id="44" name="Oval 43">
            <a:extLst>
              <a:ext uri="{FF2B5EF4-FFF2-40B4-BE49-F238E27FC236}">
                <a16:creationId xmlns:a16="http://schemas.microsoft.com/office/drawing/2014/main" id="{5FD9F1CB-757E-4D3E-8003-465D24D227FF}"/>
              </a:ext>
            </a:extLst>
          </p:cNvPr>
          <p:cNvSpPr/>
          <p:nvPr/>
        </p:nvSpPr>
        <p:spPr>
          <a:xfrm flipH="1">
            <a:off x="3377411" y="5199073"/>
            <a:ext cx="368224" cy="368224"/>
          </a:xfrm>
          <a:prstGeom prst="ellipse">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latin typeface="Montserrat" panose="00000500000000000000" pitchFamily="50" charset="0"/>
              </a:rPr>
              <a:t>3</a:t>
            </a:r>
          </a:p>
        </p:txBody>
      </p:sp>
      <p:sp>
        <p:nvSpPr>
          <p:cNvPr id="45" name="Lorem Ipsum is simply dummy text of the printing typesetting">
            <a:extLst>
              <a:ext uri="{FF2B5EF4-FFF2-40B4-BE49-F238E27FC236}">
                <a16:creationId xmlns:a16="http://schemas.microsoft.com/office/drawing/2014/main" id="{F68D5252-9E74-47B8-993B-A1B815B62076}"/>
              </a:ext>
            </a:extLst>
          </p:cNvPr>
          <p:cNvSpPr txBox="1"/>
          <p:nvPr/>
        </p:nvSpPr>
        <p:spPr>
          <a:xfrm>
            <a:off x="1068632" y="5131155"/>
            <a:ext cx="213777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defTabSz="412750" hangingPunct="0">
              <a:lnSpc>
                <a:spcPts val="1700"/>
              </a:lnSpc>
            </a:pPr>
            <a:r>
              <a:rPr sz="1000" kern="0" dirty="0">
                <a:solidFill>
                  <a:schemeClr val="tx1"/>
                </a:solidFill>
                <a:latin typeface="Montserrat" panose="00000500000000000000" pitchFamily="50" charset="0"/>
              </a:rPr>
              <a:t>Lorem Ipsum is simply dummy text of the printing typesetting</a:t>
            </a:r>
          </a:p>
        </p:txBody>
      </p:sp>
      <p:sp>
        <p:nvSpPr>
          <p:cNvPr id="55" name="Oval 54">
            <a:extLst>
              <a:ext uri="{FF2B5EF4-FFF2-40B4-BE49-F238E27FC236}">
                <a16:creationId xmlns:a16="http://schemas.microsoft.com/office/drawing/2014/main" id="{E6D82B90-2E67-4205-B3DC-14056D8316B2}"/>
              </a:ext>
            </a:extLst>
          </p:cNvPr>
          <p:cNvSpPr/>
          <p:nvPr/>
        </p:nvSpPr>
        <p:spPr>
          <a:xfrm>
            <a:off x="8446365" y="2838677"/>
            <a:ext cx="368224" cy="368224"/>
          </a:xfrm>
          <a:prstGeom prst="ellipse">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latin typeface="Montserrat" panose="00000500000000000000" pitchFamily="50" charset="0"/>
              </a:rPr>
              <a:t>1</a:t>
            </a:r>
          </a:p>
        </p:txBody>
      </p:sp>
      <p:sp>
        <p:nvSpPr>
          <p:cNvPr id="56" name="Lorem Ipsum is simply dummy text of the printing typesetting">
            <a:extLst>
              <a:ext uri="{FF2B5EF4-FFF2-40B4-BE49-F238E27FC236}">
                <a16:creationId xmlns:a16="http://schemas.microsoft.com/office/drawing/2014/main" id="{27B4DE20-045A-4598-8B7D-D470D25460CA}"/>
              </a:ext>
            </a:extLst>
          </p:cNvPr>
          <p:cNvSpPr txBox="1"/>
          <p:nvPr/>
        </p:nvSpPr>
        <p:spPr>
          <a:xfrm flipH="1">
            <a:off x="8985592" y="2770759"/>
            <a:ext cx="213777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algn="l" defTabSz="412750" hangingPunct="0">
              <a:lnSpc>
                <a:spcPts val="1700"/>
              </a:lnSpc>
            </a:pPr>
            <a:r>
              <a:rPr sz="1000" kern="0" dirty="0">
                <a:solidFill>
                  <a:schemeClr val="tx1"/>
                </a:solidFill>
                <a:latin typeface="Montserrat" panose="00000500000000000000" pitchFamily="50" charset="0"/>
              </a:rPr>
              <a:t>Lorem Ipsum is simply dummy text of the printing typesetting</a:t>
            </a:r>
          </a:p>
        </p:txBody>
      </p:sp>
      <p:sp>
        <p:nvSpPr>
          <p:cNvPr id="53" name="Oval 52">
            <a:extLst>
              <a:ext uri="{FF2B5EF4-FFF2-40B4-BE49-F238E27FC236}">
                <a16:creationId xmlns:a16="http://schemas.microsoft.com/office/drawing/2014/main" id="{86BF708B-30B5-4B17-B481-EF66E643E74D}"/>
              </a:ext>
            </a:extLst>
          </p:cNvPr>
          <p:cNvSpPr/>
          <p:nvPr/>
        </p:nvSpPr>
        <p:spPr>
          <a:xfrm>
            <a:off x="8787530" y="4018875"/>
            <a:ext cx="368224" cy="368224"/>
          </a:xfrm>
          <a:prstGeom prst="ellipse">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latin typeface="Montserrat" panose="00000500000000000000" pitchFamily="50" charset="0"/>
              </a:rPr>
              <a:t>2</a:t>
            </a:r>
          </a:p>
        </p:txBody>
      </p:sp>
      <p:sp>
        <p:nvSpPr>
          <p:cNvPr id="54" name="Lorem Ipsum is simply dummy text of the printing typesetting">
            <a:extLst>
              <a:ext uri="{FF2B5EF4-FFF2-40B4-BE49-F238E27FC236}">
                <a16:creationId xmlns:a16="http://schemas.microsoft.com/office/drawing/2014/main" id="{94BAF57F-EB51-44F3-AC5E-2F150C3F3FEB}"/>
              </a:ext>
            </a:extLst>
          </p:cNvPr>
          <p:cNvSpPr txBox="1"/>
          <p:nvPr/>
        </p:nvSpPr>
        <p:spPr>
          <a:xfrm flipH="1">
            <a:off x="9326757" y="3950957"/>
            <a:ext cx="213777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algn="l" defTabSz="412750" hangingPunct="0">
              <a:lnSpc>
                <a:spcPts val="1700"/>
              </a:lnSpc>
            </a:pPr>
            <a:r>
              <a:rPr sz="1000" kern="0" dirty="0">
                <a:solidFill>
                  <a:schemeClr val="tx1"/>
                </a:solidFill>
                <a:latin typeface="Montserrat" panose="00000500000000000000" pitchFamily="50" charset="0"/>
              </a:rPr>
              <a:t>Lorem Ipsum is simply dummy text of the printing typesetting</a:t>
            </a:r>
          </a:p>
        </p:txBody>
      </p:sp>
      <p:sp>
        <p:nvSpPr>
          <p:cNvPr id="51" name="Oval 50">
            <a:extLst>
              <a:ext uri="{FF2B5EF4-FFF2-40B4-BE49-F238E27FC236}">
                <a16:creationId xmlns:a16="http://schemas.microsoft.com/office/drawing/2014/main" id="{82979BAB-B0DA-4867-BE39-6D5B8FEAF1E7}"/>
              </a:ext>
            </a:extLst>
          </p:cNvPr>
          <p:cNvSpPr/>
          <p:nvPr/>
        </p:nvSpPr>
        <p:spPr>
          <a:xfrm>
            <a:off x="8446365" y="5199073"/>
            <a:ext cx="368224" cy="368224"/>
          </a:xfrm>
          <a:prstGeom prst="ellipse">
            <a:avLst/>
          </a:prstGeom>
          <a:solidFill>
            <a:schemeClr val="tx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latin typeface="Montserrat" panose="00000500000000000000" pitchFamily="50" charset="0"/>
              </a:rPr>
              <a:t>3</a:t>
            </a:r>
          </a:p>
        </p:txBody>
      </p:sp>
      <p:sp>
        <p:nvSpPr>
          <p:cNvPr id="52" name="Lorem Ipsum is simply dummy text of the printing typesetting">
            <a:extLst>
              <a:ext uri="{FF2B5EF4-FFF2-40B4-BE49-F238E27FC236}">
                <a16:creationId xmlns:a16="http://schemas.microsoft.com/office/drawing/2014/main" id="{588B265D-0921-403F-B6AB-9B6DE462B4C7}"/>
              </a:ext>
            </a:extLst>
          </p:cNvPr>
          <p:cNvSpPr txBox="1"/>
          <p:nvPr/>
        </p:nvSpPr>
        <p:spPr>
          <a:xfrm flipH="1">
            <a:off x="8985592" y="5131155"/>
            <a:ext cx="213777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lgn="r">
              <a:defRPr sz="2500" b="0">
                <a:solidFill>
                  <a:srgbClr val="9FA09E"/>
                </a:solidFill>
                <a:latin typeface="Barlow Medium"/>
                <a:ea typeface="Barlow Medium"/>
                <a:cs typeface="Barlow Medium"/>
                <a:sym typeface="Barlow Medium"/>
              </a:defRPr>
            </a:lvl1pPr>
          </a:lstStyle>
          <a:p>
            <a:pPr algn="l" defTabSz="412750" hangingPunct="0">
              <a:lnSpc>
                <a:spcPts val="1700"/>
              </a:lnSpc>
            </a:pPr>
            <a:r>
              <a:rPr sz="1000" kern="0" dirty="0">
                <a:solidFill>
                  <a:schemeClr val="tx1"/>
                </a:solidFill>
                <a:latin typeface="Montserrat" panose="00000500000000000000" pitchFamily="50" charset="0"/>
              </a:rPr>
              <a:t>Lorem Ipsum is simply dummy text of the printing typesetting</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13"/>
                                            </p:tgtEl>
                                            <p:attrNameLst>
                                              <p:attrName>style.visibility</p:attrName>
                                            </p:attrNameLst>
                                          </p:cBhvr>
                                          <p:to>
                                            <p:strVal val="visible"/>
                                          </p:to>
                                        </p:set>
                                        <p:animEffect transition="in" filter="fade">
                                          <p:cBhvr>
                                            <p:cTn id="7" dur="1000"/>
                                            <p:tgtEl>
                                              <p:spTgt spid="513"/>
                                            </p:tgtEl>
                                          </p:cBhvr>
                                        </p:animEffect>
                                      </p:childTnLst>
                                    </p:cTn>
                                  </p:par>
                                  <p:par>
                                    <p:cTn id="8" presetID="35" presetClass="path" presetSubtype="0" accel="38000" fill="hold" grpId="1" nodeType="withEffect" p14:presetBounceEnd="50000">
                                      <p:stCondLst>
                                        <p:cond delay="0"/>
                                      </p:stCondLst>
                                      <p:childTnLst>
                                        <p:animMotion origin="layout" path="M 0.10104 -3.7037E-6 L 2.91667E-6 -3.7037E-6 " pathEditMode="relative" rAng="0" ptsTypes="AA" p14:bounceEnd="50000">
                                          <p:cBhvr>
                                            <p:cTn id="9" dur="1500" fill="hold"/>
                                            <p:tgtEl>
                                              <p:spTgt spid="513"/>
                                            </p:tgtEl>
                                            <p:attrNameLst>
                                              <p:attrName>ppt_x</p:attrName>
                                              <p:attrName>ppt_y</p:attrName>
                                            </p:attrNameLst>
                                          </p:cBhvr>
                                          <p:rCtr x="-5052" y="0"/>
                                        </p:animMotion>
                                      </p:childTnLst>
                                    </p:cTn>
                                  </p:par>
                                  <p:par>
                                    <p:cTn id="10" presetID="10" presetClass="entr" presetSubtype="0" fill="hold" grpId="0" nodeType="withEffect">
                                      <p:stCondLst>
                                        <p:cond delay="0"/>
                                      </p:stCondLst>
                                      <p:childTnLst>
                                        <p:set>
                                          <p:cBhvr>
                                            <p:cTn id="11" dur="1" fill="hold">
                                              <p:stCondLst>
                                                <p:cond delay="0"/>
                                              </p:stCondLst>
                                            </p:cTn>
                                            <p:tgtEl>
                                              <p:spTgt spid="510"/>
                                            </p:tgtEl>
                                            <p:attrNameLst>
                                              <p:attrName>style.visibility</p:attrName>
                                            </p:attrNameLst>
                                          </p:cBhvr>
                                          <p:to>
                                            <p:strVal val="visible"/>
                                          </p:to>
                                        </p:set>
                                        <p:animEffect transition="in" filter="fade">
                                          <p:cBhvr>
                                            <p:cTn id="12" dur="1000"/>
                                            <p:tgtEl>
                                              <p:spTgt spid="510"/>
                                            </p:tgtEl>
                                          </p:cBhvr>
                                        </p:animEffect>
                                      </p:childTnLst>
                                    </p:cTn>
                                  </p:par>
                                  <p:par>
                                    <p:cTn id="13" presetID="63" presetClass="path" presetSubtype="0" accel="38000" fill="hold" grpId="1" nodeType="withEffect" p14:presetBounceEnd="50000">
                                      <p:stCondLst>
                                        <p:cond delay="0"/>
                                      </p:stCondLst>
                                      <p:childTnLst>
                                        <p:animMotion origin="layout" path="M -0.10091 -3.7037E-6 L -2.91667E-6 -3.7037E-6 " pathEditMode="relative" rAng="0" ptsTypes="AA" p14:bounceEnd="50000">
                                          <p:cBhvr>
                                            <p:cTn id="14" dur="1500" fill="hold"/>
                                            <p:tgtEl>
                                              <p:spTgt spid="510"/>
                                            </p:tgtEl>
                                            <p:attrNameLst>
                                              <p:attrName>ppt_x</p:attrName>
                                              <p:attrName>ppt_y</p:attrName>
                                            </p:attrNameLst>
                                          </p:cBhvr>
                                          <p:rCtr x="5039" y="0"/>
                                        </p:animMotion>
                                      </p:childTnLst>
                                    </p:cTn>
                                  </p:par>
                                  <p:par>
                                    <p:cTn id="15" presetID="12" presetClass="entr" presetSubtype="1" fill="hold" grpId="0" nodeType="withEffect">
                                      <p:stCondLst>
                                        <p:cond delay="0"/>
                                      </p:stCondLst>
                                      <p:childTnLst>
                                        <p:set>
                                          <p:cBhvr>
                                            <p:cTn id="16" dur="1" fill="hold">
                                              <p:stCondLst>
                                                <p:cond delay="0"/>
                                              </p:stCondLst>
                                            </p:cTn>
                                            <p:tgtEl>
                                              <p:spTgt spid="34"/>
                                            </p:tgtEl>
                                            <p:attrNameLst>
                                              <p:attrName>style.visibility</p:attrName>
                                            </p:attrNameLst>
                                          </p:cBhvr>
                                          <p:to>
                                            <p:strVal val="visible"/>
                                          </p:to>
                                        </p:set>
                                        <p:anim calcmode="lin" valueType="num">
                                          <p:cBhvr additive="base">
                                            <p:cTn id="17" dur="1500"/>
                                            <p:tgtEl>
                                              <p:spTgt spid="34"/>
                                            </p:tgtEl>
                                            <p:attrNameLst>
                                              <p:attrName>ppt_y</p:attrName>
                                            </p:attrNameLst>
                                          </p:cBhvr>
                                          <p:tavLst>
                                            <p:tav tm="0">
                                              <p:val>
                                                <p:strVal val="#ppt_y-#ppt_h*1.125000"/>
                                              </p:val>
                                            </p:tav>
                                            <p:tav tm="100000">
                                              <p:val>
                                                <p:strVal val="#ppt_y"/>
                                              </p:val>
                                            </p:tav>
                                          </p:tavLst>
                                        </p:anim>
                                        <p:animEffect transition="in" filter="wipe(down)">
                                          <p:cBhvr>
                                            <p:cTn id="18" dur="1500"/>
                                            <p:tgtEl>
                                              <p:spTgt spid="34"/>
                                            </p:tgtEl>
                                          </p:cBhvr>
                                        </p:animEffect>
                                      </p:childTnLst>
                                    </p:cTn>
                                  </p:par>
                                  <p:par>
                                    <p:cTn id="19" presetID="16" presetClass="entr" presetSubtype="37" fill="hold" grpId="0" nodeType="withEffect">
                                      <p:stCondLst>
                                        <p:cond delay="0"/>
                                      </p:stCondLst>
                                      <p:childTnLst>
                                        <p:set>
                                          <p:cBhvr>
                                            <p:cTn id="20" dur="1" fill="hold">
                                              <p:stCondLst>
                                                <p:cond delay="0"/>
                                              </p:stCondLst>
                                            </p:cTn>
                                            <p:tgtEl>
                                              <p:spTgt spid="515"/>
                                            </p:tgtEl>
                                            <p:attrNameLst>
                                              <p:attrName>style.visibility</p:attrName>
                                            </p:attrNameLst>
                                          </p:cBhvr>
                                          <p:to>
                                            <p:strVal val="visible"/>
                                          </p:to>
                                        </p:set>
                                        <p:animEffect transition="in" filter="barn(outVertical)">
                                          <p:cBhvr>
                                            <p:cTn id="21" dur="2000"/>
                                            <p:tgtEl>
                                              <p:spTgt spid="515"/>
                                            </p:tgtEl>
                                          </p:cBhvr>
                                        </p:animEffect>
                                      </p:childTnLst>
                                    </p:cTn>
                                  </p:par>
                                  <p:par>
                                    <p:cTn id="22" presetID="10" presetClass="entr" presetSubtype="0" fill="hold" grpId="0" nodeType="withEffect">
                                      <p:stCondLst>
                                        <p:cond delay="110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750"/>
                                            <p:tgtEl>
                                              <p:spTgt spid="30"/>
                                            </p:tgtEl>
                                          </p:cBhvr>
                                        </p:animEffect>
                                      </p:childTnLst>
                                    </p:cTn>
                                  </p:par>
                                  <p:par>
                                    <p:cTn id="25" presetID="10" presetClass="entr" presetSubtype="0" fill="hold" grpId="0" nodeType="withEffect">
                                      <p:stCondLst>
                                        <p:cond delay="110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750"/>
                                            <p:tgtEl>
                                              <p:spTgt spid="31"/>
                                            </p:tgtEl>
                                          </p:cBhvr>
                                        </p:animEffect>
                                      </p:childTnLst>
                                    </p:cTn>
                                  </p:par>
                                  <p:par>
                                    <p:cTn id="28" presetID="49" presetClass="entr" presetSubtype="0" decel="100000" fill="hold" grpId="0" nodeType="withEffect">
                                      <p:stCondLst>
                                        <p:cond delay="1500"/>
                                      </p:stCondLst>
                                      <p:childTnLst>
                                        <p:set>
                                          <p:cBhvr>
                                            <p:cTn id="29" dur="1" fill="hold">
                                              <p:stCondLst>
                                                <p:cond delay="0"/>
                                              </p:stCondLst>
                                            </p:cTn>
                                            <p:tgtEl>
                                              <p:spTgt spid="36"/>
                                            </p:tgtEl>
                                            <p:attrNameLst>
                                              <p:attrName>style.visibility</p:attrName>
                                            </p:attrNameLst>
                                          </p:cBhvr>
                                          <p:to>
                                            <p:strVal val="visible"/>
                                          </p:to>
                                        </p:set>
                                        <p:anim calcmode="lin" valueType="num">
                                          <p:cBhvr>
                                            <p:cTn id="30" dur="1000" fill="hold"/>
                                            <p:tgtEl>
                                              <p:spTgt spid="36"/>
                                            </p:tgtEl>
                                            <p:attrNameLst>
                                              <p:attrName>ppt_w</p:attrName>
                                            </p:attrNameLst>
                                          </p:cBhvr>
                                          <p:tavLst>
                                            <p:tav tm="0">
                                              <p:val>
                                                <p:fltVal val="0"/>
                                              </p:val>
                                            </p:tav>
                                            <p:tav tm="100000">
                                              <p:val>
                                                <p:strVal val="#ppt_w"/>
                                              </p:val>
                                            </p:tav>
                                          </p:tavLst>
                                        </p:anim>
                                        <p:anim calcmode="lin" valueType="num">
                                          <p:cBhvr>
                                            <p:cTn id="31" dur="1000" fill="hold"/>
                                            <p:tgtEl>
                                              <p:spTgt spid="36"/>
                                            </p:tgtEl>
                                            <p:attrNameLst>
                                              <p:attrName>ppt_h</p:attrName>
                                            </p:attrNameLst>
                                          </p:cBhvr>
                                          <p:tavLst>
                                            <p:tav tm="0">
                                              <p:val>
                                                <p:fltVal val="0"/>
                                              </p:val>
                                            </p:tav>
                                            <p:tav tm="100000">
                                              <p:val>
                                                <p:strVal val="#ppt_h"/>
                                              </p:val>
                                            </p:tav>
                                          </p:tavLst>
                                        </p:anim>
                                        <p:anim calcmode="lin" valueType="num">
                                          <p:cBhvr>
                                            <p:cTn id="32" dur="1000" fill="hold"/>
                                            <p:tgtEl>
                                              <p:spTgt spid="36"/>
                                            </p:tgtEl>
                                            <p:attrNameLst>
                                              <p:attrName>style.rotation</p:attrName>
                                            </p:attrNameLst>
                                          </p:cBhvr>
                                          <p:tavLst>
                                            <p:tav tm="0">
                                              <p:val>
                                                <p:fltVal val="360"/>
                                              </p:val>
                                            </p:tav>
                                            <p:tav tm="100000">
                                              <p:val>
                                                <p:fltVal val="0"/>
                                              </p:val>
                                            </p:tav>
                                          </p:tavLst>
                                        </p:anim>
                                        <p:animEffect transition="in" filter="fade">
                                          <p:cBhvr>
                                            <p:cTn id="33" dur="1000"/>
                                            <p:tgtEl>
                                              <p:spTgt spid="36"/>
                                            </p:tgtEl>
                                          </p:cBhvr>
                                        </p:animEffect>
                                      </p:childTnLst>
                                    </p:cTn>
                                  </p:par>
                                  <p:par>
                                    <p:cTn id="34" presetID="49" presetClass="entr" presetSubtype="0" decel="100000" fill="hold" grpId="0" nodeType="withEffect">
                                      <p:stCondLst>
                                        <p:cond delay="1500"/>
                                      </p:stCondLst>
                                      <p:childTnLst>
                                        <p:set>
                                          <p:cBhvr>
                                            <p:cTn id="35" dur="1" fill="hold">
                                              <p:stCondLst>
                                                <p:cond delay="0"/>
                                              </p:stCondLst>
                                            </p:cTn>
                                            <p:tgtEl>
                                              <p:spTgt spid="55"/>
                                            </p:tgtEl>
                                            <p:attrNameLst>
                                              <p:attrName>style.visibility</p:attrName>
                                            </p:attrNameLst>
                                          </p:cBhvr>
                                          <p:to>
                                            <p:strVal val="visible"/>
                                          </p:to>
                                        </p:set>
                                        <p:anim calcmode="lin" valueType="num">
                                          <p:cBhvr>
                                            <p:cTn id="36" dur="1000" fill="hold"/>
                                            <p:tgtEl>
                                              <p:spTgt spid="55"/>
                                            </p:tgtEl>
                                            <p:attrNameLst>
                                              <p:attrName>ppt_w</p:attrName>
                                            </p:attrNameLst>
                                          </p:cBhvr>
                                          <p:tavLst>
                                            <p:tav tm="0">
                                              <p:val>
                                                <p:fltVal val="0"/>
                                              </p:val>
                                            </p:tav>
                                            <p:tav tm="100000">
                                              <p:val>
                                                <p:strVal val="#ppt_w"/>
                                              </p:val>
                                            </p:tav>
                                          </p:tavLst>
                                        </p:anim>
                                        <p:anim calcmode="lin" valueType="num">
                                          <p:cBhvr>
                                            <p:cTn id="37" dur="1000" fill="hold"/>
                                            <p:tgtEl>
                                              <p:spTgt spid="55"/>
                                            </p:tgtEl>
                                            <p:attrNameLst>
                                              <p:attrName>ppt_h</p:attrName>
                                            </p:attrNameLst>
                                          </p:cBhvr>
                                          <p:tavLst>
                                            <p:tav tm="0">
                                              <p:val>
                                                <p:fltVal val="0"/>
                                              </p:val>
                                            </p:tav>
                                            <p:tav tm="100000">
                                              <p:val>
                                                <p:strVal val="#ppt_h"/>
                                              </p:val>
                                            </p:tav>
                                          </p:tavLst>
                                        </p:anim>
                                        <p:anim calcmode="lin" valueType="num">
                                          <p:cBhvr>
                                            <p:cTn id="38" dur="1000" fill="hold"/>
                                            <p:tgtEl>
                                              <p:spTgt spid="55"/>
                                            </p:tgtEl>
                                            <p:attrNameLst>
                                              <p:attrName>style.rotation</p:attrName>
                                            </p:attrNameLst>
                                          </p:cBhvr>
                                          <p:tavLst>
                                            <p:tav tm="0">
                                              <p:val>
                                                <p:fltVal val="360"/>
                                              </p:val>
                                            </p:tav>
                                            <p:tav tm="100000">
                                              <p:val>
                                                <p:fltVal val="0"/>
                                              </p:val>
                                            </p:tav>
                                          </p:tavLst>
                                        </p:anim>
                                        <p:animEffect transition="in" filter="fade">
                                          <p:cBhvr>
                                            <p:cTn id="39" dur="1000"/>
                                            <p:tgtEl>
                                              <p:spTgt spid="55"/>
                                            </p:tgtEl>
                                          </p:cBhvr>
                                        </p:animEffect>
                                      </p:childTnLst>
                                    </p:cTn>
                                  </p:par>
                                  <p:par>
                                    <p:cTn id="40" presetID="22" presetClass="entr" presetSubtype="8" fill="hold" grpId="0" nodeType="withEffect">
                                      <p:stCondLst>
                                        <p:cond delay="1500"/>
                                      </p:stCondLst>
                                      <p:childTnLst>
                                        <p:set>
                                          <p:cBhvr>
                                            <p:cTn id="41" dur="1" fill="hold">
                                              <p:stCondLst>
                                                <p:cond delay="0"/>
                                              </p:stCondLst>
                                            </p:cTn>
                                            <p:tgtEl>
                                              <p:spTgt spid="56"/>
                                            </p:tgtEl>
                                            <p:attrNameLst>
                                              <p:attrName>style.visibility</p:attrName>
                                            </p:attrNameLst>
                                          </p:cBhvr>
                                          <p:to>
                                            <p:strVal val="visible"/>
                                          </p:to>
                                        </p:set>
                                        <p:animEffect transition="in" filter="wipe(left)">
                                          <p:cBhvr>
                                            <p:cTn id="42" dur="1000"/>
                                            <p:tgtEl>
                                              <p:spTgt spid="56"/>
                                            </p:tgtEl>
                                          </p:cBhvr>
                                        </p:animEffect>
                                      </p:childTnLst>
                                    </p:cTn>
                                  </p:par>
                                  <p:par>
                                    <p:cTn id="43" presetID="22" presetClass="entr" presetSubtype="2" fill="hold" grpId="0" nodeType="withEffect">
                                      <p:stCondLst>
                                        <p:cond delay="1500"/>
                                      </p:stCondLst>
                                      <p:childTnLst>
                                        <p:set>
                                          <p:cBhvr>
                                            <p:cTn id="44" dur="1" fill="hold">
                                              <p:stCondLst>
                                                <p:cond delay="0"/>
                                              </p:stCondLst>
                                            </p:cTn>
                                            <p:tgtEl>
                                              <p:spTgt spid="37"/>
                                            </p:tgtEl>
                                            <p:attrNameLst>
                                              <p:attrName>style.visibility</p:attrName>
                                            </p:attrNameLst>
                                          </p:cBhvr>
                                          <p:to>
                                            <p:strVal val="visible"/>
                                          </p:to>
                                        </p:set>
                                        <p:animEffect transition="in" filter="wipe(right)">
                                          <p:cBhvr>
                                            <p:cTn id="45" dur="1000"/>
                                            <p:tgtEl>
                                              <p:spTgt spid="37"/>
                                            </p:tgtEl>
                                          </p:cBhvr>
                                        </p:animEffect>
                                      </p:childTnLst>
                                    </p:cTn>
                                  </p:par>
                                  <p:par>
                                    <p:cTn id="46" presetID="22" presetClass="entr" presetSubtype="8" fill="hold" grpId="0" nodeType="withEffect">
                                      <p:stCondLst>
                                        <p:cond delay="2000"/>
                                      </p:stCondLst>
                                      <p:childTnLst>
                                        <p:set>
                                          <p:cBhvr>
                                            <p:cTn id="47" dur="1" fill="hold">
                                              <p:stCondLst>
                                                <p:cond delay="0"/>
                                              </p:stCondLst>
                                            </p:cTn>
                                            <p:tgtEl>
                                              <p:spTgt spid="54"/>
                                            </p:tgtEl>
                                            <p:attrNameLst>
                                              <p:attrName>style.visibility</p:attrName>
                                            </p:attrNameLst>
                                          </p:cBhvr>
                                          <p:to>
                                            <p:strVal val="visible"/>
                                          </p:to>
                                        </p:set>
                                        <p:animEffect transition="in" filter="wipe(left)">
                                          <p:cBhvr>
                                            <p:cTn id="48" dur="1000"/>
                                            <p:tgtEl>
                                              <p:spTgt spid="54"/>
                                            </p:tgtEl>
                                          </p:cBhvr>
                                        </p:animEffect>
                                      </p:childTnLst>
                                    </p:cTn>
                                  </p:par>
                                  <p:par>
                                    <p:cTn id="49" presetID="22" presetClass="entr" presetSubtype="2" fill="hold" grpId="0" nodeType="withEffect">
                                      <p:stCondLst>
                                        <p:cond delay="2000"/>
                                      </p:stCondLst>
                                      <p:childTnLst>
                                        <p:set>
                                          <p:cBhvr>
                                            <p:cTn id="50" dur="1" fill="hold">
                                              <p:stCondLst>
                                                <p:cond delay="0"/>
                                              </p:stCondLst>
                                            </p:cTn>
                                            <p:tgtEl>
                                              <p:spTgt spid="42"/>
                                            </p:tgtEl>
                                            <p:attrNameLst>
                                              <p:attrName>style.visibility</p:attrName>
                                            </p:attrNameLst>
                                          </p:cBhvr>
                                          <p:to>
                                            <p:strVal val="visible"/>
                                          </p:to>
                                        </p:set>
                                        <p:animEffect transition="in" filter="wipe(right)">
                                          <p:cBhvr>
                                            <p:cTn id="51" dur="1000"/>
                                            <p:tgtEl>
                                              <p:spTgt spid="42"/>
                                            </p:tgtEl>
                                          </p:cBhvr>
                                        </p:animEffect>
                                      </p:childTnLst>
                                    </p:cTn>
                                  </p:par>
                                  <p:par>
                                    <p:cTn id="52" presetID="49" presetClass="entr" presetSubtype="0" decel="100000" fill="hold" grpId="0" nodeType="withEffect">
                                      <p:stCondLst>
                                        <p:cond delay="2000"/>
                                      </p:stCondLst>
                                      <p:childTnLst>
                                        <p:set>
                                          <p:cBhvr>
                                            <p:cTn id="53" dur="1" fill="hold">
                                              <p:stCondLst>
                                                <p:cond delay="0"/>
                                              </p:stCondLst>
                                            </p:cTn>
                                            <p:tgtEl>
                                              <p:spTgt spid="41"/>
                                            </p:tgtEl>
                                            <p:attrNameLst>
                                              <p:attrName>style.visibility</p:attrName>
                                            </p:attrNameLst>
                                          </p:cBhvr>
                                          <p:to>
                                            <p:strVal val="visible"/>
                                          </p:to>
                                        </p:set>
                                        <p:anim calcmode="lin" valueType="num">
                                          <p:cBhvr>
                                            <p:cTn id="54" dur="1000" fill="hold"/>
                                            <p:tgtEl>
                                              <p:spTgt spid="41"/>
                                            </p:tgtEl>
                                            <p:attrNameLst>
                                              <p:attrName>ppt_w</p:attrName>
                                            </p:attrNameLst>
                                          </p:cBhvr>
                                          <p:tavLst>
                                            <p:tav tm="0">
                                              <p:val>
                                                <p:fltVal val="0"/>
                                              </p:val>
                                            </p:tav>
                                            <p:tav tm="100000">
                                              <p:val>
                                                <p:strVal val="#ppt_w"/>
                                              </p:val>
                                            </p:tav>
                                          </p:tavLst>
                                        </p:anim>
                                        <p:anim calcmode="lin" valueType="num">
                                          <p:cBhvr>
                                            <p:cTn id="55" dur="1000" fill="hold"/>
                                            <p:tgtEl>
                                              <p:spTgt spid="41"/>
                                            </p:tgtEl>
                                            <p:attrNameLst>
                                              <p:attrName>ppt_h</p:attrName>
                                            </p:attrNameLst>
                                          </p:cBhvr>
                                          <p:tavLst>
                                            <p:tav tm="0">
                                              <p:val>
                                                <p:fltVal val="0"/>
                                              </p:val>
                                            </p:tav>
                                            <p:tav tm="100000">
                                              <p:val>
                                                <p:strVal val="#ppt_h"/>
                                              </p:val>
                                            </p:tav>
                                          </p:tavLst>
                                        </p:anim>
                                        <p:anim calcmode="lin" valueType="num">
                                          <p:cBhvr>
                                            <p:cTn id="56" dur="1000" fill="hold"/>
                                            <p:tgtEl>
                                              <p:spTgt spid="41"/>
                                            </p:tgtEl>
                                            <p:attrNameLst>
                                              <p:attrName>style.rotation</p:attrName>
                                            </p:attrNameLst>
                                          </p:cBhvr>
                                          <p:tavLst>
                                            <p:tav tm="0">
                                              <p:val>
                                                <p:fltVal val="360"/>
                                              </p:val>
                                            </p:tav>
                                            <p:tav tm="100000">
                                              <p:val>
                                                <p:fltVal val="0"/>
                                              </p:val>
                                            </p:tav>
                                          </p:tavLst>
                                        </p:anim>
                                        <p:animEffect transition="in" filter="fade">
                                          <p:cBhvr>
                                            <p:cTn id="57" dur="1000"/>
                                            <p:tgtEl>
                                              <p:spTgt spid="41"/>
                                            </p:tgtEl>
                                          </p:cBhvr>
                                        </p:animEffect>
                                      </p:childTnLst>
                                    </p:cTn>
                                  </p:par>
                                  <p:par>
                                    <p:cTn id="58" presetID="49" presetClass="entr" presetSubtype="0" decel="100000" fill="hold" grpId="0" nodeType="withEffect">
                                      <p:stCondLst>
                                        <p:cond delay="2000"/>
                                      </p:stCondLst>
                                      <p:childTnLst>
                                        <p:set>
                                          <p:cBhvr>
                                            <p:cTn id="59" dur="1" fill="hold">
                                              <p:stCondLst>
                                                <p:cond delay="0"/>
                                              </p:stCondLst>
                                            </p:cTn>
                                            <p:tgtEl>
                                              <p:spTgt spid="53"/>
                                            </p:tgtEl>
                                            <p:attrNameLst>
                                              <p:attrName>style.visibility</p:attrName>
                                            </p:attrNameLst>
                                          </p:cBhvr>
                                          <p:to>
                                            <p:strVal val="visible"/>
                                          </p:to>
                                        </p:set>
                                        <p:anim calcmode="lin" valueType="num">
                                          <p:cBhvr>
                                            <p:cTn id="60" dur="1000" fill="hold"/>
                                            <p:tgtEl>
                                              <p:spTgt spid="53"/>
                                            </p:tgtEl>
                                            <p:attrNameLst>
                                              <p:attrName>ppt_w</p:attrName>
                                            </p:attrNameLst>
                                          </p:cBhvr>
                                          <p:tavLst>
                                            <p:tav tm="0">
                                              <p:val>
                                                <p:fltVal val="0"/>
                                              </p:val>
                                            </p:tav>
                                            <p:tav tm="100000">
                                              <p:val>
                                                <p:strVal val="#ppt_w"/>
                                              </p:val>
                                            </p:tav>
                                          </p:tavLst>
                                        </p:anim>
                                        <p:anim calcmode="lin" valueType="num">
                                          <p:cBhvr>
                                            <p:cTn id="61" dur="1000" fill="hold"/>
                                            <p:tgtEl>
                                              <p:spTgt spid="53"/>
                                            </p:tgtEl>
                                            <p:attrNameLst>
                                              <p:attrName>ppt_h</p:attrName>
                                            </p:attrNameLst>
                                          </p:cBhvr>
                                          <p:tavLst>
                                            <p:tav tm="0">
                                              <p:val>
                                                <p:fltVal val="0"/>
                                              </p:val>
                                            </p:tav>
                                            <p:tav tm="100000">
                                              <p:val>
                                                <p:strVal val="#ppt_h"/>
                                              </p:val>
                                            </p:tav>
                                          </p:tavLst>
                                        </p:anim>
                                        <p:anim calcmode="lin" valueType="num">
                                          <p:cBhvr>
                                            <p:cTn id="62" dur="1000" fill="hold"/>
                                            <p:tgtEl>
                                              <p:spTgt spid="53"/>
                                            </p:tgtEl>
                                            <p:attrNameLst>
                                              <p:attrName>style.rotation</p:attrName>
                                            </p:attrNameLst>
                                          </p:cBhvr>
                                          <p:tavLst>
                                            <p:tav tm="0">
                                              <p:val>
                                                <p:fltVal val="360"/>
                                              </p:val>
                                            </p:tav>
                                            <p:tav tm="100000">
                                              <p:val>
                                                <p:fltVal val="0"/>
                                              </p:val>
                                            </p:tav>
                                          </p:tavLst>
                                        </p:anim>
                                        <p:animEffect transition="in" filter="fade">
                                          <p:cBhvr>
                                            <p:cTn id="63" dur="1000"/>
                                            <p:tgtEl>
                                              <p:spTgt spid="53"/>
                                            </p:tgtEl>
                                          </p:cBhvr>
                                        </p:animEffect>
                                      </p:childTnLst>
                                    </p:cTn>
                                  </p:par>
                                  <p:par>
                                    <p:cTn id="64" presetID="49" presetClass="entr" presetSubtype="0" decel="100000" fill="hold" grpId="0" nodeType="withEffect">
                                      <p:stCondLst>
                                        <p:cond delay="2500"/>
                                      </p:stCondLst>
                                      <p:childTnLst>
                                        <p:set>
                                          <p:cBhvr>
                                            <p:cTn id="65" dur="1" fill="hold">
                                              <p:stCondLst>
                                                <p:cond delay="0"/>
                                              </p:stCondLst>
                                            </p:cTn>
                                            <p:tgtEl>
                                              <p:spTgt spid="44"/>
                                            </p:tgtEl>
                                            <p:attrNameLst>
                                              <p:attrName>style.visibility</p:attrName>
                                            </p:attrNameLst>
                                          </p:cBhvr>
                                          <p:to>
                                            <p:strVal val="visible"/>
                                          </p:to>
                                        </p:set>
                                        <p:anim calcmode="lin" valueType="num">
                                          <p:cBhvr>
                                            <p:cTn id="66" dur="1000" fill="hold"/>
                                            <p:tgtEl>
                                              <p:spTgt spid="44"/>
                                            </p:tgtEl>
                                            <p:attrNameLst>
                                              <p:attrName>ppt_w</p:attrName>
                                            </p:attrNameLst>
                                          </p:cBhvr>
                                          <p:tavLst>
                                            <p:tav tm="0">
                                              <p:val>
                                                <p:fltVal val="0"/>
                                              </p:val>
                                            </p:tav>
                                            <p:tav tm="100000">
                                              <p:val>
                                                <p:strVal val="#ppt_w"/>
                                              </p:val>
                                            </p:tav>
                                          </p:tavLst>
                                        </p:anim>
                                        <p:anim calcmode="lin" valueType="num">
                                          <p:cBhvr>
                                            <p:cTn id="67" dur="1000" fill="hold"/>
                                            <p:tgtEl>
                                              <p:spTgt spid="44"/>
                                            </p:tgtEl>
                                            <p:attrNameLst>
                                              <p:attrName>ppt_h</p:attrName>
                                            </p:attrNameLst>
                                          </p:cBhvr>
                                          <p:tavLst>
                                            <p:tav tm="0">
                                              <p:val>
                                                <p:fltVal val="0"/>
                                              </p:val>
                                            </p:tav>
                                            <p:tav tm="100000">
                                              <p:val>
                                                <p:strVal val="#ppt_h"/>
                                              </p:val>
                                            </p:tav>
                                          </p:tavLst>
                                        </p:anim>
                                        <p:anim calcmode="lin" valueType="num">
                                          <p:cBhvr>
                                            <p:cTn id="68" dur="1000" fill="hold"/>
                                            <p:tgtEl>
                                              <p:spTgt spid="44"/>
                                            </p:tgtEl>
                                            <p:attrNameLst>
                                              <p:attrName>style.rotation</p:attrName>
                                            </p:attrNameLst>
                                          </p:cBhvr>
                                          <p:tavLst>
                                            <p:tav tm="0">
                                              <p:val>
                                                <p:fltVal val="360"/>
                                              </p:val>
                                            </p:tav>
                                            <p:tav tm="100000">
                                              <p:val>
                                                <p:fltVal val="0"/>
                                              </p:val>
                                            </p:tav>
                                          </p:tavLst>
                                        </p:anim>
                                        <p:animEffect transition="in" filter="fade">
                                          <p:cBhvr>
                                            <p:cTn id="69" dur="1000"/>
                                            <p:tgtEl>
                                              <p:spTgt spid="44"/>
                                            </p:tgtEl>
                                          </p:cBhvr>
                                        </p:animEffect>
                                      </p:childTnLst>
                                    </p:cTn>
                                  </p:par>
                                  <p:par>
                                    <p:cTn id="70" presetID="49" presetClass="entr" presetSubtype="0" decel="100000" fill="hold" grpId="0" nodeType="withEffect">
                                      <p:stCondLst>
                                        <p:cond delay="2500"/>
                                      </p:stCondLst>
                                      <p:childTnLst>
                                        <p:set>
                                          <p:cBhvr>
                                            <p:cTn id="71" dur="1" fill="hold">
                                              <p:stCondLst>
                                                <p:cond delay="0"/>
                                              </p:stCondLst>
                                            </p:cTn>
                                            <p:tgtEl>
                                              <p:spTgt spid="51"/>
                                            </p:tgtEl>
                                            <p:attrNameLst>
                                              <p:attrName>style.visibility</p:attrName>
                                            </p:attrNameLst>
                                          </p:cBhvr>
                                          <p:to>
                                            <p:strVal val="visible"/>
                                          </p:to>
                                        </p:set>
                                        <p:anim calcmode="lin" valueType="num">
                                          <p:cBhvr>
                                            <p:cTn id="72" dur="1000" fill="hold"/>
                                            <p:tgtEl>
                                              <p:spTgt spid="51"/>
                                            </p:tgtEl>
                                            <p:attrNameLst>
                                              <p:attrName>ppt_w</p:attrName>
                                            </p:attrNameLst>
                                          </p:cBhvr>
                                          <p:tavLst>
                                            <p:tav tm="0">
                                              <p:val>
                                                <p:fltVal val="0"/>
                                              </p:val>
                                            </p:tav>
                                            <p:tav tm="100000">
                                              <p:val>
                                                <p:strVal val="#ppt_w"/>
                                              </p:val>
                                            </p:tav>
                                          </p:tavLst>
                                        </p:anim>
                                        <p:anim calcmode="lin" valueType="num">
                                          <p:cBhvr>
                                            <p:cTn id="73" dur="1000" fill="hold"/>
                                            <p:tgtEl>
                                              <p:spTgt spid="51"/>
                                            </p:tgtEl>
                                            <p:attrNameLst>
                                              <p:attrName>ppt_h</p:attrName>
                                            </p:attrNameLst>
                                          </p:cBhvr>
                                          <p:tavLst>
                                            <p:tav tm="0">
                                              <p:val>
                                                <p:fltVal val="0"/>
                                              </p:val>
                                            </p:tav>
                                            <p:tav tm="100000">
                                              <p:val>
                                                <p:strVal val="#ppt_h"/>
                                              </p:val>
                                            </p:tav>
                                          </p:tavLst>
                                        </p:anim>
                                        <p:anim calcmode="lin" valueType="num">
                                          <p:cBhvr>
                                            <p:cTn id="74" dur="1000" fill="hold"/>
                                            <p:tgtEl>
                                              <p:spTgt spid="51"/>
                                            </p:tgtEl>
                                            <p:attrNameLst>
                                              <p:attrName>style.rotation</p:attrName>
                                            </p:attrNameLst>
                                          </p:cBhvr>
                                          <p:tavLst>
                                            <p:tav tm="0">
                                              <p:val>
                                                <p:fltVal val="360"/>
                                              </p:val>
                                            </p:tav>
                                            <p:tav tm="100000">
                                              <p:val>
                                                <p:fltVal val="0"/>
                                              </p:val>
                                            </p:tav>
                                          </p:tavLst>
                                        </p:anim>
                                        <p:animEffect transition="in" filter="fade">
                                          <p:cBhvr>
                                            <p:cTn id="75" dur="1000"/>
                                            <p:tgtEl>
                                              <p:spTgt spid="51"/>
                                            </p:tgtEl>
                                          </p:cBhvr>
                                        </p:animEffect>
                                      </p:childTnLst>
                                    </p:cTn>
                                  </p:par>
                                  <p:par>
                                    <p:cTn id="76" presetID="22" presetClass="entr" presetSubtype="2" fill="hold" grpId="0" nodeType="withEffect">
                                      <p:stCondLst>
                                        <p:cond delay="2500"/>
                                      </p:stCondLst>
                                      <p:childTnLst>
                                        <p:set>
                                          <p:cBhvr>
                                            <p:cTn id="77" dur="1" fill="hold">
                                              <p:stCondLst>
                                                <p:cond delay="0"/>
                                              </p:stCondLst>
                                            </p:cTn>
                                            <p:tgtEl>
                                              <p:spTgt spid="45"/>
                                            </p:tgtEl>
                                            <p:attrNameLst>
                                              <p:attrName>style.visibility</p:attrName>
                                            </p:attrNameLst>
                                          </p:cBhvr>
                                          <p:to>
                                            <p:strVal val="visible"/>
                                          </p:to>
                                        </p:set>
                                        <p:animEffect transition="in" filter="wipe(right)">
                                          <p:cBhvr>
                                            <p:cTn id="78" dur="1000"/>
                                            <p:tgtEl>
                                              <p:spTgt spid="45"/>
                                            </p:tgtEl>
                                          </p:cBhvr>
                                        </p:animEffect>
                                      </p:childTnLst>
                                    </p:cTn>
                                  </p:par>
                                  <p:par>
                                    <p:cTn id="79" presetID="22" presetClass="entr" presetSubtype="8" fill="hold" grpId="0" nodeType="withEffect">
                                      <p:stCondLst>
                                        <p:cond delay="2500"/>
                                      </p:stCondLst>
                                      <p:childTnLst>
                                        <p:set>
                                          <p:cBhvr>
                                            <p:cTn id="80" dur="1" fill="hold">
                                              <p:stCondLst>
                                                <p:cond delay="0"/>
                                              </p:stCondLst>
                                            </p:cTn>
                                            <p:tgtEl>
                                              <p:spTgt spid="52"/>
                                            </p:tgtEl>
                                            <p:attrNameLst>
                                              <p:attrName>style.visibility</p:attrName>
                                            </p:attrNameLst>
                                          </p:cBhvr>
                                          <p:to>
                                            <p:strVal val="visible"/>
                                          </p:to>
                                        </p:set>
                                        <p:animEffect transition="in" filter="wipe(left)">
                                          <p:cBhvr>
                                            <p:cTn id="81" dur="1000"/>
                                            <p:tgtEl>
                                              <p:spTgt spid="52"/>
                                            </p:tgtEl>
                                          </p:cBhvr>
                                        </p:animEffect>
                                      </p:childTnLst>
                                    </p:cTn>
                                  </p:par>
                                  <p:par>
                                    <p:cTn id="82" presetID="10" presetClass="entr" presetSubtype="0" fill="hold" grpId="0" nodeType="withEffect">
                                      <p:stCondLst>
                                        <p:cond delay="1500"/>
                                      </p:stCondLst>
                                      <p:childTnLst>
                                        <p:set>
                                          <p:cBhvr>
                                            <p:cTn id="83" dur="1" fill="hold">
                                              <p:stCondLst>
                                                <p:cond delay="0"/>
                                              </p:stCondLst>
                                            </p:cTn>
                                            <p:tgtEl>
                                              <p:spTgt spid="525"/>
                                            </p:tgtEl>
                                            <p:attrNameLst>
                                              <p:attrName>style.visibility</p:attrName>
                                            </p:attrNameLst>
                                          </p:cBhvr>
                                          <p:to>
                                            <p:strVal val="visible"/>
                                          </p:to>
                                        </p:set>
                                        <p:animEffect transition="in" filter="fade">
                                          <p:cBhvr>
                                            <p:cTn id="84" dur="1000"/>
                                            <p:tgtEl>
                                              <p:spTgt spid="525"/>
                                            </p:tgtEl>
                                          </p:cBhvr>
                                        </p:animEffect>
                                      </p:childTnLst>
                                    </p:cTn>
                                  </p:par>
                                  <p:par>
                                    <p:cTn id="85" presetID="10" presetClass="entr" presetSubtype="0" fill="hold" grpId="0" nodeType="withEffect">
                                      <p:stCondLst>
                                        <p:cond delay="1500"/>
                                      </p:stCondLst>
                                      <p:childTnLst>
                                        <p:set>
                                          <p:cBhvr>
                                            <p:cTn id="86" dur="1" fill="hold">
                                              <p:stCondLst>
                                                <p:cond delay="0"/>
                                              </p:stCondLst>
                                            </p:cTn>
                                            <p:tgtEl>
                                              <p:spTgt spid="516"/>
                                            </p:tgtEl>
                                            <p:attrNameLst>
                                              <p:attrName>style.visibility</p:attrName>
                                            </p:attrNameLst>
                                          </p:cBhvr>
                                          <p:to>
                                            <p:strVal val="visible"/>
                                          </p:to>
                                        </p:set>
                                        <p:animEffect transition="in" filter="fade">
                                          <p:cBhvr>
                                            <p:cTn id="87" dur="1000"/>
                                            <p:tgtEl>
                                              <p:spTgt spid="5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515" grpId="0" animBg="1"/>
          <p:bldP spid="510" grpId="0" animBg="1"/>
          <p:bldP spid="510" grpId="1" animBg="1"/>
          <p:bldP spid="513" grpId="0" animBg="1"/>
          <p:bldP spid="513" grpId="1" animBg="1"/>
          <p:bldP spid="30" grpId="0" animBg="1"/>
          <p:bldP spid="31" grpId="0" animBg="1"/>
          <p:bldP spid="516" grpId="0" animBg="1"/>
          <p:bldP spid="525" grpId="0" animBg="1"/>
          <p:bldP spid="36" grpId="0" animBg="1"/>
          <p:bldP spid="37" grpId="0" animBg="1"/>
          <p:bldP spid="41" grpId="0" animBg="1"/>
          <p:bldP spid="42" grpId="0" animBg="1"/>
          <p:bldP spid="44" grpId="0" animBg="1"/>
          <p:bldP spid="45" grpId="0" animBg="1"/>
          <p:bldP spid="55" grpId="0" animBg="1"/>
          <p:bldP spid="56" grpId="0" animBg="1"/>
          <p:bldP spid="53" grpId="0" animBg="1"/>
          <p:bldP spid="54" grpId="0" animBg="1"/>
          <p:bldP spid="51" grpId="0" animBg="1"/>
          <p:bldP spid="52"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13"/>
                                            </p:tgtEl>
                                            <p:attrNameLst>
                                              <p:attrName>style.visibility</p:attrName>
                                            </p:attrNameLst>
                                          </p:cBhvr>
                                          <p:to>
                                            <p:strVal val="visible"/>
                                          </p:to>
                                        </p:set>
                                        <p:animEffect transition="in" filter="fade">
                                          <p:cBhvr>
                                            <p:cTn id="7" dur="1000"/>
                                            <p:tgtEl>
                                              <p:spTgt spid="513"/>
                                            </p:tgtEl>
                                          </p:cBhvr>
                                        </p:animEffect>
                                      </p:childTnLst>
                                    </p:cTn>
                                  </p:par>
                                  <p:par>
                                    <p:cTn id="8" presetID="35" presetClass="path" presetSubtype="0" accel="38000" fill="hold" grpId="1" nodeType="withEffect">
                                      <p:stCondLst>
                                        <p:cond delay="0"/>
                                      </p:stCondLst>
                                      <p:childTnLst>
                                        <p:animMotion origin="layout" path="M 0.10104 -3.7037E-6 L 2.91667E-6 -3.7037E-6 " pathEditMode="relative" rAng="0" ptsTypes="AA">
                                          <p:cBhvr>
                                            <p:cTn id="9" dur="1500" fill="hold"/>
                                            <p:tgtEl>
                                              <p:spTgt spid="513"/>
                                            </p:tgtEl>
                                            <p:attrNameLst>
                                              <p:attrName>ppt_x</p:attrName>
                                              <p:attrName>ppt_y</p:attrName>
                                            </p:attrNameLst>
                                          </p:cBhvr>
                                          <p:rCtr x="-5052" y="0"/>
                                        </p:animMotion>
                                      </p:childTnLst>
                                    </p:cTn>
                                  </p:par>
                                  <p:par>
                                    <p:cTn id="10" presetID="10" presetClass="entr" presetSubtype="0" fill="hold" grpId="0" nodeType="withEffect">
                                      <p:stCondLst>
                                        <p:cond delay="0"/>
                                      </p:stCondLst>
                                      <p:childTnLst>
                                        <p:set>
                                          <p:cBhvr>
                                            <p:cTn id="11" dur="1" fill="hold">
                                              <p:stCondLst>
                                                <p:cond delay="0"/>
                                              </p:stCondLst>
                                            </p:cTn>
                                            <p:tgtEl>
                                              <p:spTgt spid="510"/>
                                            </p:tgtEl>
                                            <p:attrNameLst>
                                              <p:attrName>style.visibility</p:attrName>
                                            </p:attrNameLst>
                                          </p:cBhvr>
                                          <p:to>
                                            <p:strVal val="visible"/>
                                          </p:to>
                                        </p:set>
                                        <p:animEffect transition="in" filter="fade">
                                          <p:cBhvr>
                                            <p:cTn id="12" dur="1000"/>
                                            <p:tgtEl>
                                              <p:spTgt spid="510"/>
                                            </p:tgtEl>
                                          </p:cBhvr>
                                        </p:animEffect>
                                      </p:childTnLst>
                                    </p:cTn>
                                  </p:par>
                                  <p:par>
                                    <p:cTn id="13" presetID="63" presetClass="path" presetSubtype="0" accel="38000" fill="hold" grpId="1" nodeType="withEffect">
                                      <p:stCondLst>
                                        <p:cond delay="0"/>
                                      </p:stCondLst>
                                      <p:childTnLst>
                                        <p:animMotion origin="layout" path="M -0.10091 -3.7037E-6 L -2.91667E-6 -3.7037E-6 " pathEditMode="relative" rAng="0" ptsTypes="AA">
                                          <p:cBhvr>
                                            <p:cTn id="14" dur="1500" fill="hold"/>
                                            <p:tgtEl>
                                              <p:spTgt spid="510"/>
                                            </p:tgtEl>
                                            <p:attrNameLst>
                                              <p:attrName>ppt_x</p:attrName>
                                              <p:attrName>ppt_y</p:attrName>
                                            </p:attrNameLst>
                                          </p:cBhvr>
                                          <p:rCtr x="5039" y="0"/>
                                        </p:animMotion>
                                      </p:childTnLst>
                                    </p:cTn>
                                  </p:par>
                                  <p:par>
                                    <p:cTn id="15" presetID="12" presetClass="entr" presetSubtype="1" fill="hold" grpId="0" nodeType="withEffect">
                                      <p:stCondLst>
                                        <p:cond delay="0"/>
                                      </p:stCondLst>
                                      <p:childTnLst>
                                        <p:set>
                                          <p:cBhvr>
                                            <p:cTn id="16" dur="1" fill="hold">
                                              <p:stCondLst>
                                                <p:cond delay="0"/>
                                              </p:stCondLst>
                                            </p:cTn>
                                            <p:tgtEl>
                                              <p:spTgt spid="34"/>
                                            </p:tgtEl>
                                            <p:attrNameLst>
                                              <p:attrName>style.visibility</p:attrName>
                                            </p:attrNameLst>
                                          </p:cBhvr>
                                          <p:to>
                                            <p:strVal val="visible"/>
                                          </p:to>
                                        </p:set>
                                        <p:anim calcmode="lin" valueType="num">
                                          <p:cBhvr additive="base">
                                            <p:cTn id="17" dur="1500"/>
                                            <p:tgtEl>
                                              <p:spTgt spid="34"/>
                                            </p:tgtEl>
                                            <p:attrNameLst>
                                              <p:attrName>ppt_y</p:attrName>
                                            </p:attrNameLst>
                                          </p:cBhvr>
                                          <p:tavLst>
                                            <p:tav tm="0">
                                              <p:val>
                                                <p:strVal val="#ppt_y-#ppt_h*1.125000"/>
                                              </p:val>
                                            </p:tav>
                                            <p:tav tm="100000">
                                              <p:val>
                                                <p:strVal val="#ppt_y"/>
                                              </p:val>
                                            </p:tav>
                                          </p:tavLst>
                                        </p:anim>
                                        <p:animEffect transition="in" filter="wipe(down)">
                                          <p:cBhvr>
                                            <p:cTn id="18" dur="1500"/>
                                            <p:tgtEl>
                                              <p:spTgt spid="34"/>
                                            </p:tgtEl>
                                          </p:cBhvr>
                                        </p:animEffect>
                                      </p:childTnLst>
                                    </p:cTn>
                                  </p:par>
                                  <p:par>
                                    <p:cTn id="19" presetID="16" presetClass="entr" presetSubtype="37" fill="hold" grpId="0" nodeType="withEffect">
                                      <p:stCondLst>
                                        <p:cond delay="0"/>
                                      </p:stCondLst>
                                      <p:childTnLst>
                                        <p:set>
                                          <p:cBhvr>
                                            <p:cTn id="20" dur="1" fill="hold">
                                              <p:stCondLst>
                                                <p:cond delay="0"/>
                                              </p:stCondLst>
                                            </p:cTn>
                                            <p:tgtEl>
                                              <p:spTgt spid="515"/>
                                            </p:tgtEl>
                                            <p:attrNameLst>
                                              <p:attrName>style.visibility</p:attrName>
                                            </p:attrNameLst>
                                          </p:cBhvr>
                                          <p:to>
                                            <p:strVal val="visible"/>
                                          </p:to>
                                        </p:set>
                                        <p:animEffect transition="in" filter="barn(outVertical)">
                                          <p:cBhvr>
                                            <p:cTn id="21" dur="2000"/>
                                            <p:tgtEl>
                                              <p:spTgt spid="515"/>
                                            </p:tgtEl>
                                          </p:cBhvr>
                                        </p:animEffect>
                                      </p:childTnLst>
                                    </p:cTn>
                                  </p:par>
                                  <p:par>
                                    <p:cTn id="22" presetID="10" presetClass="entr" presetSubtype="0" fill="hold" grpId="0" nodeType="withEffect">
                                      <p:stCondLst>
                                        <p:cond delay="110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750"/>
                                            <p:tgtEl>
                                              <p:spTgt spid="30"/>
                                            </p:tgtEl>
                                          </p:cBhvr>
                                        </p:animEffect>
                                      </p:childTnLst>
                                    </p:cTn>
                                  </p:par>
                                  <p:par>
                                    <p:cTn id="25" presetID="10" presetClass="entr" presetSubtype="0" fill="hold" grpId="0" nodeType="withEffect">
                                      <p:stCondLst>
                                        <p:cond delay="110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750"/>
                                            <p:tgtEl>
                                              <p:spTgt spid="31"/>
                                            </p:tgtEl>
                                          </p:cBhvr>
                                        </p:animEffect>
                                      </p:childTnLst>
                                    </p:cTn>
                                  </p:par>
                                  <p:par>
                                    <p:cTn id="28" presetID="49" presetClass="entr" presetSubtype="0" decel="100000" fill="hold" grpId="0" nodeType="withEffect">
                                      <p:stCondLst>
                                        <p:cond delay="1500"/>
                                      </p:stCondLst>
                                      <p:childTnLst>
                                        <p:set>
                                          <p:cBhvr>
                                            <p:cTn id="29" dur="1" fill="hold">
                                              <p:stCondLst>
                                                <p:cond delay="0"/>
                                              </p:stCondLst>
                                            </p:cTn>
                                            <p:tgtEl>
                                              <p:spTgt spid="36"/>
                                            </p:tgtEl>
                                            <p:attrNameLst>
                                              <p:attrName>style.visibility</p:attrName>
                                            </p:attrNameLst>
                                          </p:cBhvr>
                                          <p:to>
                                            <p:strVal val="visible"/>
                                          </p:to>
                                        </p:set>
                                        <p:anim calcmode="lin" valueType="num">
                                          <p:cBhvr>
                                            <p:cTn id="30" dur="1000" fill="hold"/>
                                            <p:tgtEl>
                                              <p:spTgt spid="36"/>
                                            </p:tgtEl>
                                            <p:attrNameLst>
                                              <p:attrName>ppt_w</p:attrName>
                                            </p:attrNameLst>
                                          </p:cBhvr>
                                          <p:tavLst>
                                            <p:tav tm="0">
                                              <p:val>
                                                <p:fltVal val="0"/>
                                              </p:val>
                                            </p:tav>
                                            <p:tav tm="100000">
                                              <p:val>
                                                <p:strVal val="#ppt_w"/>
                                              </p:val>
                                            </p:tav>
                                          </p:tavLst>
                                        </p:anim>
                                        <p:anim calcmode="lin" valueType="num">
                                          <p:cBhvr>
                                            <p:cTn id="31" dur="1000" fill="hold"/>
                                            <p:tgtEl>
                                              <p:spTgt spid="36"/>
                                            </p:tgtEl>
                                            <p:attrNameLst>
                                              <p:attrName>ppt_h</p:attrName>
                                            </p:attrNameLst>
                                          </p:cBhvr>
                                          <p:tavLst>
                                            <p:tav tm="0">
                                              <p:val>
                                                <p:fltVal val="0"/>
                                              </p:val>
                                            </p:tav>
                                            <p:tav tm="100000">
                                              <p:val>
                                                <p:strVal val="#ppt_h"/>
                                              </p:val>
                                            </p:tav>
                                          </p:tavLst>
                                        </p:anim>
                                        <p:anim calcmode="lin" valueType="num">
                                          <p:cBhvr>
                                            <p:cTn id="32" dur="1000" fill="hold"/>
                                            <p:tgtEl>
                                              <p:spTgt spid="36"/>
                                            </p:tgtEl>
                                            <p:attrNameLst>
                                              <p:attrName>style.rotation</p:attrName>
                                            </p:attrNameLst>
                                          </p:cBhvr>
                                          <p:tavLst>
                                            <p:tav tm="0">
                                              <p:val>
                                                <p:fltVal val="360"/>
                                              </p:val>
                                            </p:tav>
                                            <p:tav tm="100000">
                                              <p:val>
                                                <p:fltVal val="0"/>
                                              </p:val>
                                            </p:tav>
                                          </p:tavLst>
                                        </p:anim>
                                        <p:animEffect transition="in" filter="fade">
                                          <p:cBhvr>
                                            <p:cTn id="33" dur="1000"/>
                                            <p:tgtEl>
                                              <p:spTgt spid="36"/>
                                            </p:tgtEl>
                                          </p:cBhvr>
                                        </p:animEffect>
                                      </p:childTnLst>
                                    </p:cTn>
                                  </p:par>
                                  <p:par>
                                    <p:cTn id="34" presetID="49" presetClass="entr" presetSubtype="0" decel="100000" fill="hold" grpId="0" nodeType="withEffect">
                                      <p:stCondLst>
                                        <p:cond delay="1500"/>
                                      </p:stCondLst>
                                      <p:childTnLst>
                                        <p:set>
                                          <p:cBhvr>
                                            <p:cTn id="35" dur="1" fill="hold">
                                              <p:stCondLst>
                                                <p:cond delay="0"/>
                                              </p:stCondLst>
                                            </p:cTn>
                                            <p:tgtEl>
                                              <p:spTgt spid="55"/>
                                            </p:tgtEl>
                                            <p:attrNameLst>
                                              <p:attrName>style.visibility</p:attrName>
                                            </p:attrNameLst>
                                          </p:cBhvr>
                                          <p:to>
                                            <p:strVal val="visible"/>
                                          </p:to>
                                        </p:set>
                                        <p:anim calcmode="lin" valueType="num">
                                          <p:cBhvr>
                                            <p:cTn id="36" dur="1000" fill="hold"/>
                                            <p:tgtEl>
                                              <p:spTgt spid="55"/>
                                            </p:tgtEl>
                                            <p:attrNameLst>
                                              <p:attrName>ppt_w</p:attrName>
                                            </p:attrNameLst>
                                          </p:cBhvr>
                                          <p:tavLst>
                                            <p:tav tm="0">
                                              <p:val>
                                                <p:fltVal val="0"/>
                                              </p:val>
                                            </p:tav>
                                            <p:tav tm="100000">
                                              <p:val>
                                                <p:strVal val="#ppt_w"/>
                                              </p:val>
                                            </p:tav>
                                          </p:tavLst>
                                        </p:anim>
                                        <p:anim calcmode="lin" valueType="num">
                                          <p:cBhvr>
                                            <p:cTn id="37" dur="1000" fill="hold"/>
                                            <p:tgtEl>
                                              <p:spTgt spid="55"/>
                                            </p:tgtEl>
                                            <p:attrNameLst>
                                              <p:attrName>ppt_h</p:attrName>
                                            </p:attrNameLst>
                                          </p:cBhvr>
                                          <p:tavLst>
                                            <p:tav tm="0">
                                              <p:val>
                                                <p:fltVal val="0"/>
                                              </p:val>
                                            </p:tav>
                                            <p:tav tm="100000">
                                              <p:val>
                                                <p:strVal val="#ppt_h"/>
                                              </p:val>
                                            </p:tav>
                                          </p:tavLst>
                                        </p:anim>
                                        <p:anim calcmode="lin" valueType="num">
                                          <p:cBhvr>
                                            <p:cTn id="38" dur="1000" fill="hold"/>
                                            <p:tgtEl>
                                              <p:spTgt spid="55"/>
                                            </p:tgtEl>
                                            <p:attrNameLst>
                                              <p:attrName>style.rotation</p:attrName>
                                            </p:attrNameLst>
                                          </p:cBhvr>
                                          <p:tavLst>
                                            <p:tav tm="0">
                                              <p:val>
                                                <p:fltVal val="360"/>
                                              </p:val>
                                            </p:tav>
                                            <p:tav tm="100000">
                                              <p:val>
                                                <p:fltVal val="0"/>
                                              </p:val>
                                            </p:tav>
                                          </p:tavLst>
                                        </p:anim>
                                        <p:animEffect transition="in" filter="fade">
                                          <p:cBhvr>
                                            <p:cTn id="39" dur="1000"/>
                                            <p:tgtEl>
                                              <p:spTgt spid="55"/>
                                            </p:tgtEl>
                                          </p:cBhvr>
                                        </p:animEffect>
                                      </p:childTnLst>
                                    </p:cTn>
                                  </p:par>
                                  <p:par>
                                    <p:cTn id="40" presetID="22" presetClass="entr" presetSubtype="8" fill="hold" grpId="0" nodeType="withEffect">
                                      <p:stCondLst>
                                        <p:cond delay="1500"/>
                                      </p:stCondLst>
                                      <p:childTnLst>
                                        <p:set>
                                          <p:cBhvr>
                                            <p:cTn id="41" dur="1" fill="hold">
                                              <p:stCondLst>
                                                <p:cond delay="0"/>
                                              </p:stCondLst>
                                            </p:cTn>
                                            <p:tgtEl>
                                              <p:spTgt spid="56"/>
                                            </p:tgtEl>
                                            <p:attrNameLst>
                                              <p:attrName>style.visibility</p:attrName>
                                            </p:attrNameLst>
                                          </p:cBhvr>
                                          <p:to>
                                            <p:strVal val="visible"/>
                                          </p:to>
                                        </p:set>
                                        <p:animEffect transition="in" filter="wipe(left)">
                                          <p:cBhvr>
                                            <p:cTn id="42" dur="1000"/>
                                            <p:tgtEl>
                                              <p:spTgt spid="56"/>
                                            </p:tgtEl>
                                          </p:cBhvr>
                                        </p:animEffect>
                                      </p:childTnLst>
                                    </p:cTn>
                                  </p:par>
                                  <p:par>
                                    <p:cTn id="43" presetID="22" presetClass="entr" presetSubtype="2" fill="hold" grpId="0" nodeType="withEffect">
                                      <p:stCondLst>
                                        <p:cond delay="1500"/>
                                      </p:stCondLst>
                                      <p:childTnLst>
                                        <p:set>
                                          <p:cBhvr>
                                            <p:cTn id="44" dur="1" fill="hold">
                                              <p:stCondLst>
                                                <p:cond delay="0"/>
                                              </p:stCondLst>
                                            </p:cTn>
                                            <p:tgtEl>
                                              <p:spTgt spid="37"/>
                                            </p:tgtEl>
                                            <p:attrNameLst>
                                              <p:attrName>style.visibility</p:attrName>
                                            </p:attrNameLst>
                                          </p:cBhvr>
                                          <p:to>
                                            <p:strVal val="visible"/>
                                          </p:to>
                                        </p:set>
                                        <p:animEffect transition="in" filter="wipe(right)">
                                          <p:cBhvr>
                                            <p:cTn id="45" dur="1000"/>
                                            <p:tgtEl>
                                              <p:spTgt spid="37"/>
                                            </p:tgtEl>
                                          </p:cBhvr>
                                        </p:animEffect>
                                      </p:childTnLst>
                                    </p:cTn>
                                  </p:par>
                                  <p:par>
                                    <p:cTn id="46" presetID="22" presetClass="entr" presetSubtype="8" fill="hold" grpId="0" nodeType="withEffect">
                                      <p:stCondLst>
                                        <p:cond delay="2000"/>
                                      </p:stCondLst>
                                      <p:childTnLst>
                                        <p:set>
                                          <p:cBhvr>
                                            <p:cTn id="47" dur="1" fill="hold">
                                              <p:stCondLst>
                                                <p:cond delay="0"/>
                                              </p:stCondLst>
                                            </p:cTn>
                                            <p:tgtEl>
                                              <p:spTgt spid="54"/>
                                            </p:tgtEl>
                                            <p:attrNameLst>
                                              <p:attrName>style.visibility</p:attrName>
                                            </p:attrNameLst>
                                          </p:cBhvr>
                                          <p:to>
                                            <p:strVal val="visible"/>
                                          </p:to>
                                        </p:set>
                                        <p:animEffect transition="in" filter="wipe(left)">
                                          <p:cBhvr>
                                            <p:cTn id="48" dur="1000"/>
                                            <p:tgtEl>
                                              <p:spTgt spid="54"/>
                                            </p:tgtEl>
                                          </p:cBhvr>
                                        </p:animEffect>
                                      </p:childTnLst>
                                    </p:cTn>
                                  </p:par>
                                  <p:par>
                                    <p:cTn id="49" presetID="22" presetClass="entr" presetSubtype="2" fill="hold" grpId="0" nodeType="withEffect">
                                      <p:stCondLst>
                                        <p:cond delay="2000"/>
                                      </p:stCondLst>
                                      <p:childTnLst>
                                        <p:set>
                                          <p:cBhvr>
                                            <p:cTn id="50" dur="1" fill="hold">
                                              <p:stCondLst>
                                                <p:cond delay="0"/>
                                              </p:stCondLst>
                                            </p:cTn>
                                            <p:tgtEl>
                                              <p:spTgt spid="42"/>
                                            </p:tgtEl>
                                            <p:attrNameLst>
                                              <p:attrName>style.visibility</p:attrName>
                                            </p:attrNameLst>
                                          </p:cBhvr>
                                          <p:to>
                                            <p:strVal val="visible"/>
                                          </p:to>
                                        </p:set>
                                        <p:animEffect transition="in" filter="wipe(right)">
                                          <p:cBhvr>
                                            <p:cTn id="51" dur="1000"/>
                                            <p:tgtEl>
                                              <p:spTgt spid="42"/>
                                            </p:tgtEl>
                                          </p:cBhvr>
                                        </p:animEffect>
                                      </p:childTnLst>
                                    </p:cTn>
                                  </p:par>
                                  <p:par>
                                    <p:cTn id="52" presetID="49" presetClass="entr" presetSubtype="0" decel="100000" fill="hold" grpId="0" nodeType="withEffect">
                                      <p:stCondLst>
                                        <p:cond delay="2000"/>
                                      </p:stCondLst>
                                      <p:childTnLst>
                                        <p:set>
                                          <p:cBhvr>
                                            <p:cTn id="53" dur="1" fill="hold">
                                              <p:stCondLst>
                                                <p:cond delay="0"/>
                                              </p:stCondLst>
                                            </p:cTn>
                                            <p:tgtEl>
                                              <p:spTgt spid="41"/>
                                            </p:tgtEl>
                                            <p:attrNameLst>
                                              <p:attrName>style.visibility</p:attrName>
                                            </p:attrNameLst>
                                          </p:cBhvr>
                                          <p:to>
                                            <p:strVal val="visible"/>
                                          </p:to>
                                        </p:set>
                                        <p:anim calcmode="lin" valueType="num">
                                          <p:cBhvr>
                                            <p:cTn id="54" dur="1000" fill="hold"/>
                                            <p:tgtEl>
                                              <p:spTgt spid="41"/>
                                            </p:tgtEl>
                                            <p:attrNameLst>
                                              <p:attrName>ppt_w</p:attrName>
                                            </p:attrNameLst>
                                          </p:cBhvr>
                                          <p:tavLst>
                                            <p:tav tm="0">
                                              <p:val>
                                                <p:fltVal val="0"/>
                                              </p:val>
                                            </p:tav>
                                            <p:tav tm="100000">
                                              <p:val>
                                                <p:strVal val="#ppt_w"/>
                                              </p:val>
                                            </p:tav>
                                          </p:tavLst>
                                        </p:anim>
                                        <p:anim calcmode="lin" valueType="num">
                                          <p:cBhvr>
                                            <p:cTn id="55" dur="1000" fill="hold"/>
                                            <p:tgtEl>
                                              <p:spTgt spid="41"/>
                                            </p:tgtEl>
                                            <p:attrNameLst>
                                              <p:attrName>ppt_h</p:attrName>
                                            </p:attrNameLst>
                                          </p:cBhvr>
                                          <p:tavLst>
                                            <p:tav tm="0">
                                              <p:val>
                                                <p:fltVal val="0"/>
                                              </p:val>
                                            </p:tav>
                                            <p:tav tm="100000">
                                              <p:val>
                                                <p:strVal val="#ppt_h"/>
                                              </p:val>
                                            </p:tav>
                                          </p:tavLst>
                                        </p:anim>
                                        <p:anim calcmode="lin" valueType="num">
                                          <p:cBhvr>
                                            <p:cTn id="56" dur="1000" fill="hold"/>
                                            <p:tgtEl>
                                              <p:spTgt spid="41"/>
                                            </p:tgtEl>
                                            <p:attrNameLst>
                                              <p:attrName>style.rotation</p:attrName>
                                            </p:attrNameLst>
                                          </p:cBhvr>
                                          <p:tavLst>
                                            <p:tav tm="0">
                                              <p:val>
                                                <p:fltVal val="360"/>
                                              </p:val>
                                            </p:tav>
                                            <p:tav tm="100000">
                                              <p:val>
                                                <p:fltVal val="0"/>
                                              </p:val>
                                            </p:tav>
                                          </p:tavLst>
                                        </p:anim>
                                        <p:animEffect transition="in" filter="fade">
                                          <p:cBhvr>
                                            <p:cTn id="57" dur="1000"/>
                                            <p:tgtEl>
                                              <p:spTgt spid="41"/>
                                            </p:tgtEl>
                                          </p:cBhvr>
                                        </p:animEffect>
                                      </p:childTnLst>
                                    </p:cTn>
                                  </p:par>
                                  <p:par>
                                    <p:cTn id="58" presetID="49" presetClass="entr" presetSubtype="0" decel="100000" fill="hold" grpId="0" nodeType="withEffect">
                                      <p:stCondLst>
                                        <p:cond delay="2000"/>
                                      </p:stCondLst>
                                      <p:childTnLst>
                                        <p:set>
                                          <p:cBhvr>
                                            <p:cTn id="59" dur="1" fill="hold">
                                              <p:stCondLst>
                                                <p:cond delay="0"/>
                                              </p:stCondLst>
                                            </p:cTn>
                                            <p:tgtEl>
                                              <p:spTgt spid="53"/>
                                            </p:tgtEl>
                                            <p:attrNameLst>
                                              <p:attrName>style.visibility</p:attrName>
                                            </p:attrNameLst>
                                          </p:cBhvr>
                                          <p:to>
                                            <p:strVal val="visible"/>
                                          </p:to>
                                        </p:set>
                                        <p:anim calcmode="lin" valueType="num">
                                          <p:cBhvr>
                                            <p:cTn id="60" dur="1000" fill="hold"/>
                                            <p:tgtEl>
                                              <p:spTgt spid="53"/>
                                            </p:tgtEl>
                                            <p:attrNameLst>
                                              <p:attrName>ppt_w</p:attrName>
                                            </p:attrNameLst>
                                          </p:cBhvr>
                                          <p:tavLst>
                                            <p:tav tm="0">
                                              <p:val>
                                                <p:fltVal val="0"/>
                                              </p:val>
                                            </p:tav>
                                            <p:tav tm="100000">
                                              <p:val>
                                                <p:strVal val="#ppt_w"/>
                                              </p:val>
                                            </p:tav>
                                          </p:tavLst>
                                        </p:anim>
                                        <p:anim calcmode="lin" valueType="num">
                                          <p:cBhvr>
                                            <p:cTn id="61" dur="1000" fill="hold"/>
                                            <p:tgtEl>
                                              <p:spTgt spid="53"/>
                                            </p:tgtEl>
                                            <p:attrNameLst>
                                              <p:attrName>ppt_h</p:attrName>
                                            </p:attrNameLst>
                                          </p:cBhvr>
                                          <p:tavLst>
                                            <p:tav tm="0">
                                              <p:val>
                                                <p:fltVal val="0"/>
                                              </p:val>
                                            </p:tav>
                                            <p:tav tm="100000">
                                              <p:val>
                                                <p:strVal val="#ppt_h"/>
                                              </p:val>
                                            </p:tav>
                                          </p:tavLst>
                                        </p:anim>
                                        <p:anim calcmode="lin" valueType="num">
                                          <p:cBhvr>
                                            <p:cTn id="62" dur="1000" fill="hold"/>
                                            <p:tgtEl>
                                              <p:spTgt spid="53"/>
                                            </p:tgtEl>
                                            <p:attrNameLst>
                                              <p:attrName>style.rotation</p:attrName>
                                            </p:attrNameLst>
                                          </p:cBhvr>
                                          <p:tavLst>
                                            <p:tav tm="0">
                                              <p:val>
                                                <p:fltVal val="360"/>
                                              </p:val>
                                            </p:tav>
                                            <p:tav tm="100000">
                                              <p:val>
                                                <p:fltVal val="0"/>
                                              </p:val>
                                            </p:tav>
                                          </p:tavLst>
                                        </p:anim>
                                        <p:animEffect transition="in" filter="fade">
                                          <p:cBhvr>
                                            <p:cTn id="63" dur="1000"/>
                                            <p:tgtEl>
                                              <p:spTgt spid="53"/>
                                            </p:tgtEl>
                                          </p:cBhvr>
                                        </p:animEffect>
                                      </p:childTnLst>
                                    </p:cTn>
                                  </p:par>
                                  <p:par>
                                    <p:cTn id="64" presetID="49" presetClass="entr" presetSubtype="0" decel="100000" fill="hold" grpId="0" nodeType="withEffect">
                                      <p:stCondLst>
                                        <p:cond delay="2500"/>
                                      </p:stCondLst>
                                      <p:childTnLst>
                                        <p:set>
                                          <p:cBhvr>
                                            <p:cTn id="65" dur="1" fill="hold">
                                              <p:stCondLst>
                                                <p:cond delay="0"/>
                                              </p:stCondLst>
                                            </p:cTn>
                                            <p:tgtEl>
                                              <p:spTgt spid="44"/>
                                            </p:tgtEl>
                                            <p:attrNameLst>
                                              <p:attrName>style.visibility</p:attrName>
                                            </p:attrNameLst>
                                          </p:cBhvr>
                                          <p:to>
                                            <p:strVal val="visible"/>
                                          </p:to>
                                        </p:set>
                                        <p:anim calcmode="lin" valueType="num">
                                          <p:cBhvr>
                                            <p:cTn id="66" dur="1000" fill="hold"/>
                                            <p:tgtEl>
                                              <p:spTgt spid="44"/>
                                            </p:tgtEl>
                                            <p:attrNameLst>
                                              <p:attrName>ppt_w</p:attrName>
                                            </p:attrNameLst>
                                          </p:cBhvr>
                                          <p:tavLst>
                                            <p:tav tm="0">
                                              <p:val>
                                                <p:fltVal val="0"/>
                                              </p:val>
                                            </p:tav>
                                            <p:tav tm="100000">
                                              <p:val>
                                                <p:strVal val="#ppt_w"/>
                                              </p:val>
                                            </p:tav>
                                          </p:tavLst>
                                        </p:anim>
                                        <p:anim calcmode="lin" valueType="num">
                                          <p:cBhvr>
                                            <p:cTn id="67" dur="1000" fill="hold"/>
                                            <p:tgtEl>
                                              <p:spTgt spid="44"/>
                                            </p:tgtEl>
                                            <p:attrNameLst>
                                              <p:attrName>ppt_h</p:attrName>
                                            </p:attrNameLst>
                                          </p:cBhvr>
                                          <p:tavLst>
                                            <p:tav tm="0">
                                              <p:val>
                                                <p:fltVal val="0"/>
                                              </p:val>
                                            </p:tav>
                                            <p:tav tm="100000">
                                              <p:val>
                                                <p:strVal val="#ppt_h"/>
                                              </p:val>
                                            </p:tav>
                                          </p:tavLst>
                                        </p:anim>
                                        <p:anim calcmode="lin" valueType="num">
                                          <p:cBhvr>
                                            <p:cTn id="68" dur="1000" fill="hold"/>
                                            <p:tgtEl>
                                              <p:spTgt spid="44"/>
                                            </p:tgtEl>
                                            <p:attrNameLst>
                                              <p:attrName>style.rotation</p:attrName>
                                            </p:attrNameLst>
                                          </p:cBhvr>
                                          <p:tavLst>
                                            <p:tav tm="0">
                                              <p:val>
                                                <p:fltVal val="360"/>
                                              </p:val>
                                            </p:tav>
                                            <p:tav tm="100000">
                                              <p:val>
                                                <p:fltVal val="0"/>
                                              </p:val>
                                            </p:tav>
                                          </p:tavLst>
                                        </p:anim>
                                        <p:animEffect transition="in" filter="fade">
                                          <p:cBhvr>
                                            <p:cTn id="69" dur="1000"/>
                                            <p:tgtEl>
                                              <p:spTgt spid="44"/>
                                            </p:tgtEl>
                                          </p:cBhvr>
                                        </p:animEffect>
                                      </p:childTnLst>
                                    </p:cTn>
                                  </p:par>
                                  <p:par>
                                    <p:cTn id="70" presetID="49" presetClass="entr" presetSubtype="0" decel="100000" fill="hold" grpId="0" nodeType="withEffect">
                                      <p:stCondLst>
                                        <p:cond delay="2500"/>
                                      </p:stCondLst>
                                      <p:childTnLst>
                                        <p:set>
                                          <p:cBhvr>
                                            <p:cTn id="71" dur="1" fill="hold">
                                              <p:stCondLst>
                                                <p:cond delay="0"/>
                                              </p:stCondLst>
                                            </p:cTn>
                                            <p:tgtEl>
                                              <p:spTgt spid="51"/>
                                            </p:tgtEl>
                                            <p:attrNameLst>
                                              <p:attrName>style.visibility</p:attrName>
                                            </p:attrNameLst>
                                          </p:cBhvr>
                                          <p:to>
                                            <p:strVal val="visible"/>
                                          </p:to>
                                        </p:set>
                                        <p:anim calcmode="lin" valueType="num">
                                          <p:cBhvr>
                                            <p:cTn id="72" dur="1000" fill="hold"/>
                                            <p:tgtEl>
                                              <p:spTgt spid="51"/>
                                            </p:tgtEl>
                                            <p:attrNameLst>
                                              <p:attrName>ppt_w</p:attrName>
                                            </p:attrNameLst>
                                          </p:cBhvr>
                                          <p:tavLst>
                                            <p:tav tm="0">
                                              <p:val>
                                                <p:fltVal val="0"/>
                                              </p:val>
                                            </p:tav>
                                            <p:tav tm="100000">
                                              <p:val>
                                                <p:strVal val="#ppt_w"/>
                                              </p:val>
                                            </p:tav>
                                          </p:tavLst>
                                        </p:anim>
                                        <p:anim calcmode="lin" valueType="num">
                                          <p:cBhvr>
                                            <p:cTn id="73" dur="1000" fill="hold"/>
                                            <p:tgtEl>
                                              <p:spTgt spid="51"/>
                                            </p:tgtEl>
                                            <p:attrNameLst>
                                              <p:attrName>ppt_h</p:attrName>
                                            </p:attrNameLst>
                                          </p:cBhvr>
                                          <p:tavLst>
                                            <p:tav tm="0">
                                              <p:val>
                                                <p:fltVal val="0"/>
                                              </p:val>
                                            </p:tav>
                                            <p:tav tm="100000">
                                              <p:val>
                                                <p:strVal val="#ppt_h"/>
                                              </p:val>
                                            </p:tav>
                                          </p:tavLst>
                                        </p:anim>
                                        <p:anim calcmode="lin" valueType="num">
                                          <p:cBhvr>
                                            <p:cTn id="74" dur="1000" fill="hold"/>
                                            <p:tgtEl>
                                              <p:spTgt spid="51"/>
                                            </p:tgtEl>
                                            <p:attrNameLst>
                                              <p:attrName>style.rotation</p:attrName>
                                            </p:attrNameLst>
                                          </p:cBhvr>
                                          <p:tavLst>
                                            <p:tav tm="0">
                                              <p:val>
                                                <p:fltVal val="360"/>
                                              </p:val>
                                            </p:tav>
                                            <p:tav tm="100000">
                                              <p:val>
                                                <p:fltVal val="0"/>
                                              </p:val>
                                            </p:tav>
                                          </p:tavLst>
                                        </p:anim>
                                        <p:animEffect transition="in" filter="fade">
                                          <p:cBhvr>
                                            <p:cTn id="75" dur="1000"/>
                                            <p:tgtEl>
                                              <p:spTgt spid="51"/>
                                            </p:tgtEl>
                                          </p:cBhvr>
                                        </p:animEffect>
                                      </p:childTnLst>
                                    </p:cTn>
                                  </p:par>
                                  <p:par>
                                    <p:cTn id="76" presetID="22" presetClass="entr" presetSubtype="2" fill="hold" grpId="0" nodeType="withEffect">
                                      <p:stCondLst>
                                        <p:cond delay="2500"/>
                                      </p:stCondLst>
                                      <p:childTnLst>
                                        <p:set>
                                          <p:cBhvr>
                                            <p:cTn id="77" dur="1" fill="hold">
                                              <p:stCondLst>
                                                <p:cond delay="0"/>
                                              </p:stCondLst>
                                            </p:cTn>
                                            <p:tgtEl>
                                              <p:spTgt spid="45"/>
                                            </p:tgtEl>
                                            <p:attrNameLst>
                                              <p:attrName>style.visibility</p:attrName>
                                            </p:attrNameLst>
                                          </p:cBhvr>
                                          <p:to>
                                            <p:strVal val="visible"/>
                                          </p:to>
                                        </p:set>
                                        <p:animEffect transition="in" filter="wipe(right)">
                                          <p:cBhvr>
                                            <p:cTn id="78" dur="1000"/>
                                            <p:tgtEl>
                                              <p:spTgt spid="45"/>
                                            </p:tgtEl>
                                          </p:cBhvr>
                                        </p:animEffect>
                                      </p:childTnLst>
                                    </p:cTn>
                                  </p:par>
                                  <p:par>
                                    <p:cTn id="79" presetID="22" presetClass="entr" presetSubtype="8" fill="hold" grpId="0" nodeType="withEffect">
                                      <p:stCondLst>
                                        <p:cond delay="2500"/>
                                      </p:stCondLst>
                                      <p:childTnLst>
                                        <p:set>
                                          <p:cBhvr>
                                            <p:cTn id="80" dur="1" fill="hold">
                                              <p:stCondLst>
                                                <p:cond delay="0"/>
                                              </p:stCondLst>
                                            </p:cTn>
                                            <p:tgtEl>
                                              <p:spTgt spid="52"/>
                                            </p:tgtEl>
                                            <p:attrNameLst>
                                              <p:attrName>style.visibility</p:attrName>
                                            </p:attrNameLst>
                                          </p:cBhvr>
                                          <p:to>
                                            <p:strVal val="visible"/>
                                          </p:to>
                                        </p:set>
                                        <p:animEffect transition="in" filter="wipe(left)">
                                          <p:cBhvr>
                                            <p:cTn id="81" dur="1000"/>
                                            <p:tgtEl>
                                              <p:spTgt spid="52"/>
                                            </p:tgtEl>
                                          </p:cBhvr>
                                        </p:animEffect>
                                      </p:childTnLst>
                                    </p:cTn>
                                  </p:par>
                                  <p:par>
                                    <p:cTn id="82" presetID="10" presetClass="entr" presetSubtype="0" fill="hold" grpId="0" nodeType="withEffect">
                                      <p:stCondLst>
                                        <p:cond delay="1500"/>
                                      </p:stCondLst>
                                      <p:childTnLst>
                                        <p:set>
                                          <p:cBhvr>
                                            <p:cTn id="83" dur="1" fill="hold">
                                              <p:stCondLst>
                                                <p:cond delay="0"/>
                                              </p:stCondLst>
                                            </p:cTn>
                                            <p:tgtEl>
                                              <p:spTgt spid="525"/>
                                            </p:tgtEl>
                                            <p:attrNameLst>
                                              <p:attrName>style.visibility</p:attrName>
                                            </p:attrNameLst>
                                          </p:cBhvr>
                                          <p:to>
                                            <p:strVal val="visible"/>
                                          </p:to>
                                        </p:set>
                                        <p:animEffect transition="in" filter="fade">
                                          <p:cBhvr>
                                            <p:cTn id="84" dur="1000"/>
                                            <p:tgtEl>
                                              <p:spTgt spid="525"/>
                                            </p:tgtEl>
                                          </p:cBhvr>
                                        </p:animEffect>
                                      </p:childTnLst>
                                    </p:cTn>
                                  </p:par>
                                  <p:par>
                                    <p:cTn id="85" presetID="10" presetClass="entr" presetSubtype="0" fill="hold" grpId="0" nodeType="withEffect">
                                      <p:stCondLst>
                                        <p:cond delay="1500"/>
                                      </p:stCondLst>
                                      <p:childTnLst>
                                        <p:set>
                                          <p:cBhvr>
                                            <p:cTn id="86" dur="1" fill="hold">
                                              <p:stCondLst>
                                                <p:cond delay="0"/>
                                              </p:stCondLst>
                                            </p:cTn>
                                            <p:tgtEl>
                                              <p:spTgt spid="516"/>
                                            </p:tgtEl>
                                            <p:attrNameLst>
                                              <p:attrName>style.visibility</p:attrName>
                                            </p:attrNameLst>
                                          </p:cBhvr>
                                          <p:to>
                                            <p:strVal val="visible"/>
                                          </p:to>
                                        </p:set>
                                        <p:animEffect transition="in" filter="fade">
                                          <p:cBhvr>
                                            <p:cTn id="87" dur="1000"/>
                                            <p:tgtEl>
                                              <p:spTgt spid="5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515" grpId="0" animBg="1"/>
          <p:bldP spid="510" grpId="0" animBg="1"/>
          <p:bldP spid="510" grpId="1" animBg="1"/>
          <p:bldP spid="513" grpId="0" animBg="1"/>
          <p:bldP spid="513" grpId="1" animBg="1"/>
          <p:bldP spid="30" grpId="0" animBg="1"/>
          <p:bldP spid="31" grpId="0" animBg="1"/>
          <p:bldP spid="516" grpId="0" animBg="1"/>
          <p:bldP spid="525" grpId="0" animBg="1"/>
          <p:bldP spid="36" grpId="0" animBg="1"/>
          <p:bldP spid="37" grpId="0" animBg="1"/>
          <p:bldP spid="41" grpId="0" animBg="1"/>
          <p:bldP spid="42" grpId="0" animBg="1"/>
          <p:bldP spid="44" grpId="0" animBg="1"/>
          <p:bldP spid="45" grpId="0" animBg="1"/>
          <p:bldP spid="55" grpId="0" animBg="1"/>
          <p:bldP spid="56" grpId="0" animBg="1"/>
          <p:bldP spid="53" grpId="0" animBg="1"/>
          <p:bldP spid="54" grpId="0" animBg="1"/>
          <p:bldP spid="51" grpId="0" animBg="1"/>
          <p:bldP spid="52" grpId="0" animBg="1"/>
        </p:bldLst>
      </p:timing>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7" name="Lorem Ipsum is simply dummy text of the printing and typesetting industry. Lorem Ipsum has been the industry's standard dummy text ever since the 1500s, when an unknown printer took a galley of type and scrambled it to make a type specimen book. It has s"/>
          <p:cNvSpPr txBox="1"/>
          <p:nvPr/>
        </p:nvSpPr>
        <p:spPr>
          <a:xfrm>
            <a:off x="713302" y="1172163"/>
            <a:ext cx="10765396" cy="4659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defRPr sz="2500" b="0">
                <a:solidFill>
                  <a:srgbClr val="9FA09E"/>
                </a:solidFill>
                <a:latin typeface="Barlow Medium"/>
                <a:ea typeface="Barlow Medium"/>
                <a:cs typeface="Barlow Medium"/>
                <a:sym typeface="Barlow Medium"/>
              </a:defRPr>
            </a:lvl1pPr>
          </a:lstStyle>
          <a:p>
            <a:pPr algn="ctr" defTabSz="412750" hangingPunct="0">
              <a:lnSpc>
                <a:spcPts val="1700"/>
              </a:lnSpc>
            </a:pPr>
            <a:r>
              <a:rPr sz="1100" kern="0" dirty="0">
                <a:solidFill>
                  <a:schemeClr val="tx1"/>
                </a:solidFill>
                <a:latin typeface="Montserrat" panose="00000500000000000000" pitchFamily="50" charset="0"/>
              </a:rPr>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a:t>
            </a:r>
          </a:p>
        </p:txBody>
      </p:sp>
      <p:grpSp>
        <p:nvGrpSpPr>
          <p:cNvPr id="12" name="Group 11">
            <a:extLst>
              <a:ext uri="{FF2B5EF4-FFF2-40B4-BE49-F238E27FC236}">
                <a16:creationId xmlns:a16="http://schemas.microsoft.com/office/drawing/2014/main" id="{A915724B-2B61-496F-A958-255EEFF42CA9}"/>
              </a:ext>
            </a:extLst>
          </p:cNvPr>
          <p:cNvGrpSpPr/>
          <p:nvPr/>
        </p:nvGrpSpPr>
        <p:grpSpPr>
          <a:xfrm>
            <a:off x="2342746" y="2300870"/>
            <a:ext cx="7644156" cy="3804787"/>
            <a:chOff x="2342746" y="2300870"/>
            <a:chExt cx="7644156" cy="3804787"/>
          </a:xfrm>
        </p:grpSpPr>
        <p:sp>
          <p:nvSpPr>
            <p:cNvPr id="639" name="Lorem Ipsum is simply dummy text of the printing and typesetting industry. Lorem Ipsum has been the industry's standard dummy text ever since the 1500s, when an unknown printer took a galley of type and scrambled it to make a type specimen book. It has s"/>
            <p:cNvSpPr txBox="1"/>
            <p:nvPr/>
          </p:nvSpPr>
          <p:spPr>
            <a:xfrm>
              <a:off x="2514600" y="5421687"/>
              <a:ext cx="7162800" cy="6839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defRPr sz="2500" b="0">
                  <a:solidFill>
                    <a:srgbClr val="9FA09E"/>
                  </a:solidFill>
                  <a:latin typeface="Barlow Medium"/>
                  <a:ea typeface="Barlow Medium"/>
                  <a:cs typeface="Barlow Medium"/>
                  <a:sym typeface="Barlow Medium"/>
                </a:defRPr>
              </a:lvl1pPr>
            </a:lstStyle>
            <a:p>
              <a:pPr algn="ctr" defTabSz="412750" hangingPunct="0">
                <a:lnSpc>
                  <a:spcPts val="1700"/>
                </a:lnSpc>
              </a:pPr>
              <a:r>
                <a:rPr sz="1100" kern="0" dirty="0">
                  <a:solidFill>
                    <a:schemeClr val="tx1"/>
                  </a:solidFill>
                  <a:latin typeface="Montserrat" panose="00000500000000000000" pitchFamily="50" charset="0"/>
                </a:rPr>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a:t>
              </a:r>
            </a:p>
          </p:txBody>
        </p:sp>
        <p:grpSp>
          <p:nvGrpSpPr>
            <p:cNvPr id="10" name="Group 9">
              <a:extLst>
                <a:ext uri="{FF2B5EF4-FFF2-40B4-BE49-F238E27FC236}">
                  <a16:creationId xmlns:a16="http://schemas.microsoft.com/office/drawing/2014/main" id="{2A7DC386-0F62-4F46-8368-A21A9265B499}"/>
                </a:ext>
              </a:extLst>
            </p:cNvPr>
            <p:cNvGrpSpPr/>
            <p:nvPr/>
          </p:nvGrpSpPr>
          <p:grpSpPr>
            <a:xfrm>
              <a:off x="2342746" y="2300870"/>
              <a:ext cx="7644156" cy="2857016"/>
              <a:chOff x="2342746" y="2000450"/>
              <a:chExt cx="7644156" cy="2857016"/>
            </a:xfrm>
          </p:grpSpPr>
          <p:grpSp>
            <p:nvGrpSpPr>
              <p:cNvPr id="8" name="Group 7">
                <a:extLst>
                  <a:ext uri="{FF2B5EF4-FFF2-40B4-BE49-F238E27FC236}">
                    <a16:creationId xmlns:a16="http://schemas.microsoft.com/office/drawing/2014/main" id="{E78D347A-F743-4CBA-8D29-8259D0E4227B}"/>
                  </a:ext>
                </a:extLst>
              </p:cNvPr>
              <p:cNvGrpSpPr/>
              <p:nvPr/>
            </p:nvGrpSpPr>
            <p:grpSpPr>
              <a:xfrm>
                <a:off x="3892551" y="2000450"/>
                <a:ext cx="4406898" cy="2857016"/>
                <a:chOff x="3892552" y="2000450"/>
                <a:chExt cx="4406898" cy="2857016"/>
              </a:xfrm>
            </p:grpSpPr>
            <p:sp>
              <p:nvSpPr>
                <p:cNvPr id="618" name="Shape"/>
                <p:cNvSpPr/>
                <p:nvPr/>
              </p:nvSpPr>
              <p:spPr>
                <a:xfrm>
                  <a:off x="3892552" y="2000450"/>
                  <a:ext cx="2857094" cy="2857016"/>
                </a:xfrm>
                <a:prstGeom prst="ellipse">
                  <a:avLst/>
                </a:prstGeom>
                <a:noFill/>
                <a:ln w="25400">
                  <a:gradFill>
                    <a:gsLst>
                      <a:gs pos="10000">
                        <a:schemeClr val="accent1">
                          <a:alpha val="0"/>
                        </a:schemeClr>
                      </a:gs>
                      <a:gs pos="100000">
                        <a:schemeClr val="accent1"/>
                      </a:gs>
                    </a:gsLst>
                    <a:lin ang="0" scaled="0"/>
                  </a:gradFill>
                  <a:miter lim="400000"/>
                </a:ln>
              </p:spPr>
              <p:txBody>
                <a:bodyPr lIns="0" tIns="0" rIns="0" bIns="0" anchor="ctr"/>
                <a:lstStyle/>
                <a:p>
                  <a:pPr algn="ctr" defTabSz="412750" hangingPunct="0">
                    <a:defRPr sz="3200" b="0">
                      <a:solidFill>
                        <a:srgbClr val="FFFFFF"/>
                      </a:solidFill>
                      <a:latin typeface="+mn-lt"/>
                      <a:ea typeface="+mn-ea"/>
                      <a:cs typeface="+mn-cs"/>
                      <a:sym typeface="Helvetica Neue Medium"/>
                    </a:defRPr>
                  </a:pPr>
                  <a:endParaRPr sz="1600" kern="0">
                    <a:solidFill>
                      <a:srgbClr val="FFFFFF"/>
                    </a:solidFill>
                    <a:latin typeface="Montserrat" panose="00000500000000000000" pitchFamily="50" charset="0"/>
                    <a:ea typeface="Helvetica Neue Medium"/>
                    <a:cs typeface="Helvetica Neue Medium"/>
                    <a:sym typeface="Helvetica Neue Medium"/>
                  </a:endParaRPr>
                </a:p>
              </p:txBody>
            </p:sp>
            <p:sp>
              <p:nvSpPr>
                <p:cNvPr id="617" name="Shape"/>
                <p:cNvSpPr/>
                <p:nvPr/>
              </p:nvSpPr>
              <p:spPr>
                <a:xfrm>
                  <a:off x="5442356" y="2000450"/>
                  <a:ext cx="2857094" cy="2857016"/>
                </a:xfrm>
                <a:prstGeom prst="ellipse">
                  <a:avLst/>
                </a:prstGeom>
                <a:noFill/>
                <a:ln w="25400">
                  <a:gradFill>
                    <a:gsLst>
                      <a:gs pos="0">
                        <a:schemeClr val="accent4"/>
                      </a:gs>
                      <a:gs pos="90000">
                        <a:schemeClr val="accent4">
                          <a:alpha val="0"/>
                        </a:schemeClr>
                      </a:gs>
                    </a:gsLst>
                    <a:lin ang="0" scaled="0"/>
                  </a:gradFill>
                  <a:miter lim="400000"/>
                </a:ln>
              </p:spPr>
              <p:txBody>
                <a:bodyPr lIns="0" tIns="0" rIns="0" bIns="0" anchor="ctr"/>
                <a:lstStyle/>
                <a:p>
                  <a:pPr algn="ctr" defTabSz="412750" hangingPunct="0">
                    <a:defRPr sz="3200" b="0">
                      <a:solidFill>
                        <a:srgbClr val="FFFFFF"/>
                      </a:solidFill>
                      <a:latin typeface="+mn-lt"/>
                      <a:ea typeface="+mn-ea"/>
                      <a:cs typeface="+mn-cs"/>
                      <a:sym typeface="Helvetica Neue Medium"/>
                    </a:defRPr>
                  </a:pPr>
                  <a:endParaRPr sz="1600" kern="0">
                    <a:solidFill>
                      <a:srgbClr val="FFFFFF"/>
                    </a:solidFill>
                    <a:latin typeface="Montserrat" panose="00000500000000000000" pitchFamily="50" charset="0"/>
                    <a:ea typeface="Helvetica Neue Medium"/>
                    <a:cs typeface="Helvetica Neue Medium"/>
                    <a:sym typeface="Helvetica Neue Medium"/>
                  </a:endParaRPr>
                </a:p>
              </p:txBody>
            </p:sp>
            <p:sp>
              <p:nvSpPr>
                <p:cNvPr id="40" name="Freeform: Shape 39">
                  <a:extLst>
                    <a:ext uri="{FF2B5EF4-FFF2-40B4-BE49-F238E27FC236}">
                      <a16:creationId xmlns:a16="http://schemas.microsoft.com/office/drawing/2014/main" id="{52F28219-C429-403E-BE8F-D605BE16D084}"/>
                    </a:ext>
                  </a:extLst>
                </p:cNvPr>
                <p:cNvSpPr/>
                <p:nvPr/>
              </p:nvSpPr>
              <p:spPr>
                <a:xfrm>
                  <a:off x="5503731" y="2311417"/>
                  <a:ext cx="1184540" cy="2235082"/>
                </a:xfrm>
                <a:custGeom>
                  <a:avLst/>
                  <a:gdLst>
                    <a:gd name="connsiteX0" fmla="*/ 605152 w 1210350"/>
                    <a:gd name="connsiteY0" fmla="*/ 0 h 2283783"/>
                    <a:gd name="connsiteX1" fmla="*/ 708130 w 1210350"/>
                    <a:gd name="connsiteY1" fmla="*/ 77004 h 2283783"/>
                    <a:gd name="connsiteX2" fmla="*/ 1210350 w 1210350"/>
                    <a:gd name="connsiteY2" fmla="*/ 1141909 h 2283783"/>
                    <a:gd name="connsiteX3" fmla="*/ 708130 w 1210350"/>
                    <a:gd name="connsiteY3" fmla="*/ 2206814 h 2283783"/>
                    <a:gd name="connsiteX4" fmla="*/ 605199 w 1210350"/>
                    <a:gd name="connsiteY4" fmla="*/ 2283783 h 2283783"/>
                    <a:gd name="connsiteX5" fmla="*/ 502220 w 1210350"/>
                    <a:gd name="connsiteY5" fmla="*/ 2206779 h 2283783"/>
                    <a:gd name="connsiteX6" fmla="*/ 0 w 1210350"/>
                    <a:gd name="connsiteY6" fmla="*/ 1141874 h 2283783"/>
                    <a:gd name="connsiteX7" fmla="*/ 502220 w 1210350"/>
                    <a:gd name="connsiteY7" fmla="*/ 76969 h 2283783"/>
                    <a:gd name="connsiteX8" fmla="*/ 605152 w 1210350"/>
                    <a:gd name="connsiteY8" fmla="*/ 0 h 228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0350" h="2283783">
                      <a:moveTo>
                        <a:pt x="605152" y="0"/>
                      </a:moveTo>
                      <a:lnTo>
                        <a:pt x="708130" y="77004"/>
                      </a:lnTo>
                      <a:cubicBezTo>
                        <a:pt x="1014849" y="330124"/>
                        <a:pt x="1210350" y="713186"/>
                        <a:pt x="1210350" y="1141909"/>
                      </a:cubicBezTo>
                      <a:cubicBezTo>
                        <a:pt x="1210350" y="1570632"/>
                        <a:pt x="1014849" y="1953695"/>
                        <a:pt x="708130" y="2206814"/>
                      </a:cubicBezTo>
                      <a:lnTo>
                        <a:pt x="605199" y="2283783"/>
                      </a:lnTo>
                      <a:lnTo>
                        <a:pt x="502220" y="2206779"/>
                      </a:lnTo>
                      <a:cubicBezTo>
                        <a:pt x="195502" y="1953660"/>
                        <a:pt x="0" y="1570597"/>
                        <a:pt x="0" y="1141874"/>
                      </a:cubicBezTo>
                      <a:cubicBezTo>
                        <a:pt x="0" y="713151"/>
                        <a:pt x="195502" y="330089"/>
                        <a:pt x="502220" y="76969"/>
                      </a:cubicBezTo>
                      <a:lnTo>
                        <a:pt x="605152" y="0"/>
                      </a:lnTo>
                      <a:close/>
                    </a:path>
                  </a:pathLst>
                </a:custGeom>
                <a:gradFill flip="none" rotWithShape="1">
                  <a:gsLst>
                    <a:gs pos="100000">
                      <a:schemeClr val="accent4"/>
                    </a:gs>
                    <a:gs pos="0">
                      <a:schemeClr val="accent1">
                        <a:lumMod val="60000"/>
                        <a:lumOff val="40000"/>
                      </a:schemeClr>
                    </a:gs>
                  </a:gsLst>
                  <a:lin ang="0" scaled="0"/>
                  <a:tileRect/>
                </a:gradFill>
                <a:ln w="15875" cap="flat">
                  <a:noFill/>
                  <a:miter lim="400000"/>
                </a:ln>
                <a:effectLst/>
              </p:spPr>
              <p:txBody>
                <a:bodyPr wrap="square" lIns="0" tIns="274320" rIns="0" bIns="0" numCol="1" anchor="ctr">
                  <a:noAutofit/>
                </a:bodyPr>
                <a:lstStyle/>
                <a:p>
                  <a:pPr algn="ctr" defTabSz="412750" hangingPunct="0"/>
                  <a:endParaRPr sz="1400" b="1" kern="0">
                    <a:solidFill>
                      <a:srgbClr val="FFFFFF"/>
                    </a:solidFill>
                    <a:latin typeface="Montserrat" panose="00000500000000000000" pitchFamily="50" charset="0"/>
                    <a:sym typeface="Helvetica Neue Medium"/>
                  </a:endParaRPr>
                </a:p>
              </p:txBody>
            </p:sp>
          </p:grpSp>
          <p:grpSp>
            <p:nvGrpSpPr>
              <p:cNvPr id="7" name="Group 6">
                <a:extLst>
                  <a:ext uri="{FF2B5EF4-FFF2-40B4-BE49-F238E27FC236}">
                    <a16:creationId xmlns:a16="http://schemas.microsoft.com/office/drawing/2014/main" id="{03C94B32-895C-4099-AA9F-62B8FB5E3409}"/>
                  </a:ext>
                </a:extLst>
              </p:cNvPr>
              <p:cNvGrpSpPr/>
              <p:nvPr/>
            </p:nvGrpSpPr>
            <p:grpSpPr>
              <a:xfrm>
                <a:off x="2342746" y="2884551"/>
                <a:ext cx="7644156" cy="1055760"/>
                <a:chOff x="2423539" y="2884551"/>
                <a:chExt cx="7644156" cy="1055760"/>
              </a:xfrm>
            </p:grpSpPr>
            <p:grpSp>
              <p:nvGrpSpPr>
                <p:cNvPr id="6" name="Group 5">
                  <a:extLst>
                    <a:ext uri="{FF2B5EF4-FFF2-40B4-BE49-F238E27FC236}">
                      <a16:creationId xmlns:a16="http://schemas.microsoft.com/office/drawing/2014/main" id="{20CDA196-F4F6-4A2C-AEC3-C670F04B80EB}"/>
                    </a:ext>
                  </a:extLst>
                </p:cNvPr>
                <p:cNvGrpSpPr/>
                <p:nvPr/>
              </p:nvGrpSpPr>
              <p:grpSpPr>
                <a:xfrm>
                  <a:off x="7210601" y="2884551"/>
                  <a:ext cx="2857094" cy="1055760"/>
                  <a:chOff x="6979801" y="2877371"/>
                  <a:chExt cx="2857094" cy="1055760"/>
                </a:xfrm>
              </p:grpSpPr>
              <p:sp>
                <p:nvSpPr>
                  <p:cNvPr id="634" name="Lorem Ipsum is simply dummy text of the printing and typesetting industry."/>
                  <p:cNvSpPr txBox="1"/>
                  <p:nvPr/>
                </p:nvSpPr>
                <p:spPr>
                  <a:xfrm>
                    <a:off x="6979801" y="3249161"/>
                    <a:ext cx="2857094" cy="68397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500" b="0">
                        <a:solidFill>
                          <a:srgbClr val="9FA09E"/>
                        </a:solidFill>
                        <a:latin typeface="Barlow Medium"/>
                        <a:ea typeface="Barlow Medium"/>
                        <a:cs typeface="Barlow Medium"/>
                        <a:sym typeface="Barlow Medium"/>
                      </a:defRPr>
                    </a:lvl1pPr>
                  </a:lstStyle>
                  <a:p>
                    <a:pPr defTabSz="412750" hangingPunct="0">
                      <a:lnSpc>
                        <a:spcPts val="1700"/>
                      </a:lnSpc>
                    </a:pPr>
                    <a:r>
                      <a:rPr lang="en-US" sz="1100" kern="0" dirty="0">
                        <a:solidFill>
                          <a:schemeClr val="tx1"/>
                        </a:solidFill>
                        <a:latin typeface="Montserrat" panose="00000500000000000000" pitchFamily="50" charset="0"/>
                      </a:rPr>
                      <a:t>Lorem Ipsum is simply dummy text of the printing and typesetting industry. Lorem Ipsum is simply dummy text.</a:t>
                    </a:r>
                  </a:p>
                </p:txBody>
              </p:sp>
              <p:sp>
                <p:nvSpPr>
                  <p:cNvPr id="635" name="Placeholder text"/>
                  <p:cNvSpPr txBox="1"/>
                  <p:nvPr/>
                </p:nvSpPr>
                <p:spPr>
                  <a:xfrm>
                    <a:off x="6982811" y="2877371"/>
                    <a:ext cx="2193248" cy="28212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b="0">
                        <a:solidFill>
                          <a:srgbClr val="535454"/>
                        </a:solidFill>
                        <a:latin typeface="Barlow Bold"/>
                        <a:ea typeface="Barlow Bold"/>
                        <a:cs typeface="Barlow Bold"/>
                        <a:sym typeface="Barlow Bold"/>
                      </a:defRPr>
                    </a:lvl1pPr>
                  </a:lstStyle>
                  <a:p>
                    <a:pPr defTabSz="412750" hangingPunct="0"/>
                    <a:r>
                      <a:rPr sz="1500" b="1" kern="0" dirty="0">
                        <a:solidFill>
                          <a:schemeClr val="accent4"/>
                        </a:solidFill>
                        <a:latin typeface="Montserrat" panose="00000500000000000000" pitchFamily="50" charset="0"/>
                      </a:rPr>
                      <a:t>Placeholder text</a:t>
                    </a:r>
                  </a:p>
                </p:txBody>
              </p:sp>
            </p:grpSp>
            <p:grpSp>
              <p:nvGrpSpPr>
                <p:cNvPr id="42" name="Group 41">
                  <a:extLst>
                    <a:ext uri="{FF2B5EF4-FFF2-40B4-BE49-F238E27FC236}">
                      <a16:creationId xmlns:a16="http://schemas.microsoft.com/office/drawing/2014/main" id="{B2714E77-2A29-41FA-ABE9-9B3226BECF2A}"/>
                    </a:ext>
                  </a:extLst>
                </p:cNvPr>
                <p:cNvGrpSpPr/>
                <p:nvPr/>
              </p:nvGrpSpPr>
              <p:grpSpPr>
                <a:xfrm flipH="1">
                  <a:off x="2423539" y="2884551"/>
                  <a:ext cx="4409909" cy="1055760"/>
                  <a:chOff x="5289338" y="2877371"/>
                  <a:chExt cx="4409909" cy="1055760"/>
                </a:xfrm>
              </p:grpSpPr>
              <p:sp>
                <p:nvSpPr>
                  <p:cNvPr id="43" name="Lorem Ipsum is simply dummy text of the printing and typesetting industry.">
                    <a:extLst>
                      <a:ext uri="{FF2B5EF4-FFF2-40B4-BE49-F238E27FC236}">
                        <a16:creationId xmlns:a16="http://schemas.microsoft.com/office/drawing/2014/main" id="{008B0135-33EC-4ED7-BA21-A95FCE57185E}"/>
                      </a:ext>
                    </a:extLst>
                  </p:cNvPr>
                  <p:cNvSpPr txBox="1"/>
                  <p:nvPr/>
                </p:nvSpPr>
                <p:spPr>
                  <a:xfrm>
                    <a:off x="6979802" y="3249161"/>
                    <a:ext cx="2719445" cy="68397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500" b="0">
                        <a:solidFill>
                          <a:srgbClr val="9FA09E"/>
                        </a:solidFill>
                        <a:latin typeface="Barlow Medium"/>
                        <a:ea typeface="Barlow Medium"/>
                        <a:cs typeface="Barlow Medium"/>
                        <a:sym typeface="Barlow Medium"/>
                      </a:defRPr>
                    </a:lvl1pPr>
                  </a:lstStyle>
                  <a:p>
                    <a:pPr algn="r" defTabSz="412750" hangingPunct="0">
                      <a:lnSpc>
                        <a:spcPts val="1700"/>
                      </a:lnSpc>
                    </a:pPr>
                    <a:r>
                      <a:rPr lang="en-US" sz="1100" kern="0" dirty="0">
                        <a:solidFill>
                          <a:schemeClr val="tx1"/>
                        </a:solidFill>
                        <a:latin typeface="Montserrat" panose="00000500000000000000" pitchFamily="50" charset="0"/>
                      </a:rPr>
                      <a:t>Lorem Ipsum is simply dummy text of the printing and typesetting industry. Lorem Ipsum is simply dummy text.</a:t>
                    </a:r>
                  </a:p>
                </p:txBody>
              </p:sp>
              <p:sp>
                <p:nvSpPr>
                  <p:cNvPr id="44" name="Placeholder text">
                    <a:extLst>
                      <a:ext uri="{FF2B5EF4-FFF2-40B4-BE49-F238E27FC236}">
                        <a16:creationId xmlns:a16="http://schemas.microsoft.com/office/drawing/2014/main" id="{4CB58075-3710-4BC0-8421-28F2B61DFBFD}"/>
                      </a:ext>
                    </a:extLst>
                  </p:cNvPr>
                  <p:cNvSpPr txBox="1"/>
                  <p:nvPr/>
                </p:nvSpPr>
                <p:spPr>
                  <a:xfrm>
                    <a:off x="6982811" y="2877371"/>
                    <a:ext cx="2193248" cy="282129"/>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b="0">
                        <a:solidFill>
                          <a:srgbClr val="535454"/>
                        </a:solidFill>
                        <a:latin typeface="Barlow Bold"/>
                        <a:ea typeface="Barlow Bold"/>
                        <a:cs typeface="Barlow Bold"/>
                        <a:sym typeface="Barlow Bold"/>
                      </a:defRPr>
                    </a:lvl1pPr>
                  </a:lstStyle>
                  <a:p>
                    <a:pPr algn="r" defTabSz="412750" hangingPunct="0"/>
                    <a:r>
                      <a:rPr sz="1500" b="1" kern="0" dirty="0">
                        <a:solidFill>
                          <a:schemeClr val="accent1"/>
                        </a:solidFill>
                        <a:latin typeface="Montserrat" panose="00000500000000000000" pitchFamily="50" charset="0"/>
                      </a:rPr>
                      <a:t>Placeholder text</a:t>
                    </a:r>
                  </a:p>
                </p:txBody>
              </p:sp>
              <p:sp>
                <p:nvSpPr>
                  <p:cNvPr id="51" name="Placeholder text">
                    <a:extLst>
                      <a:ext uri="{FF2B5EF4-FFF2-40B4-BE49-F238E27FC236}">
                        <a16:creationId xmlns:a16="http://schemas.microsoft.com/office/drawing/2014/main" id="{80330162-1734-430F-BD18-4601ADCADDB2}"/>
                      </a:ext>
                    </a:extLst>
                  </p:cNvPr>
                  <p:cNvSpPr txBox="1"/>
                  <p:nvPr/>
                </p:nvSpPr>
                <p:spPr>
                  <a:xfrm>
                    <a:off x="5289338" y="3220990"/>
                    <a:ext cx="1313310" cy="420628"/>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b="0">
                        <a:solidFill>
                          <a:srgbClr val="535454"/>
                        </a:solidFill>
                        <a:latin typeface="Barlow Bold"/>
                        <a:ea typeface="Barlow Bold"/>
                        <a:cs typeface="Barlow Bold"/>
                        <a:sym typeface="Barlow Bold"/>
                      </a:defRPr>
                    </a:lvl1pPr>
                  </a:lstStyle>
                  <a:p>
                    <a:pPr algn="ctr" defTabSz="412750" hangingPunct="0"/>
                    <a:r>
                      <a:rPr sz="1200" b="1" kern="0" dirty="0">
                        <a:solidFill>
                          <a:schemeClr val="bg1"/>
                        </a:solidFill>
                        <a:latin typeface="Montserrat" panose="00000500000000000000" pitchFamily="50" charset="0"/>
                      </a:rPr>
                      <a:t>Placeholder</a:t>
                    </a:r>
                    <a:endParaRPr lang="en-US" sz="1200" b="1" kern="0" dirty="0">
                      <a:solidFill>
                        <a:schemeClr val="bg1"/>
                      </a:solidFill>
                      <a:latin typeface="Montserrat" panose="00000500000000000000" pitchFamily="50" charset="0"/>
                    </a:endParaRPr>
                  </a:p>
                  <a:p>
                    <a:pPr algn="ctr" defTabSz="412750" hangingPunct="0"/>
                    <a:r>
                      <a:rPr sz="1200" b="1" kern="0" dirty="0">
                        <a:solidFill>
                          <a:schemeClr val="bg1"/>
                        </a:solidFill>
                        <a:latin typeface="Montserrat" panose="00000500000000000000" pitchFamily="50" charset="0"/>
                      </a:rPr>
                      <a:t>text</a:t>
                    </a:r>
                  </a:p>
                </p:txBody>
              </p:sp>
            </p:grpSp>
          </p:grpSp>
        </p:grpSp>
      </p:grpSp>
      <p:sp>
        <p:nvSpPr>
          <p:cNvPr id="50" name="TextBox 49">
            <a:extLst>
              <a:ext uri="{FF2B5EF4-FFF2-40B4-BE49-F238E27FC236}">
                <a16:creationId xmlns:a16="http://schemas.microsoft.com/office/drawing/2014/main" id="{EA750979-5D25-492A-8A57-FD101A3D5240}"/>
              </a:ext>
            </a:extLst>
          </p:cNvPr>
          <p:cNvSpPr txBox="1"/>
          <p:nvPr/>
        </p:nvSpPr>
        <p:spPr>
          <a:xfrm>
            <a:off x="2766008" y="475168"/>
            <a:ext cx="6659984" cy="553998"/>
          </a:xfrm>
          <a:prstGeom prst="rect">
            <a:avLst/>
          </a:prstGeom>
          <a:noFill/>
        </p:spPr>
        <p:txBody>
          <a:bodyPr wrap="square" rtlCol="0">
            <a:spAutoFit/>
          </a:bodyPr>
          <a:lstStyle/>
          <a:p>
            <a:pPr algn="ctr"/>
            <a:r>
              <a:rPr lang="en-US" sz="3000" b="1" dirty="0">
                <a:solidFill>
                  <a:schemeClr val="tx2">
                    <a:lumMod val="40000"/>
                    <a:lumOff val="60000"/>
                  </a:schemeClr>
                </a:solidFill>
                <a:latin typeface="Montserrat" panose="00000500000000000000" pitchFamily="50" charset="0"/>
              </a:rPr>
              <a:t>VENN DIAGRAM</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6D87CAC-E623-4309-863C-3FC238AB3B72}"/>
              </a:ext>
            </a:extLst>
          </p:cNvPr>
          <p:cNvGrpSpPr/>
          <p:nvPr/>
        </p:nvGrpSpPr>
        <p:grpSpPr>
          <a:xfrm>
            <a:off x="3679403" y="-2284641"/>
            <a:ext cx="4833194" cy="11427283"/>
            <a:chOff x="3685917" y="-2311183"/>
            <a:chExt cx="4833194" cy="11427283"/>
          </a:xfrm>
          <a:gradFill flip="none" rotWithShape="1">
            <a:gsLst>
              <a:gs pos="0">
                <a:schemeClr val="tx2">
                  <a:lumMod val="20000"/>
                  <a:lumOff val="80000"/>
                  <a:alpha val="50000"/>
                </a:schemeClr>
              </a:gs>
              <a:gs pos="79000">
                <a:schemeClr val="tx2">
                  <a:lumMod val="20000"/>
                  <a:lumOff val="80000"/>
                  <a:alpha val="0"/>
                </a:schemeClr>
              </a:gs>
            </a:gsLst>
            <a:path path="circle">
              <a:fillToRect l="50000" t="50000" r="50000" b="50000"/>
            </a:path>
            <a:tileRect/>
          </a:gradFill>
        </p:grpSpPr>
        <p:sp>
          <p:nvSpPr>
            <p:cNvPr id="48" name="Shape">
              <a:extLst>
                <a:ext uri="{FF2B5EF4-FFF2-40B4-BE49-F238E27FC236}">
                  <a16:creationId xmlns:a16="http://schemas.microsoft.com/office/drawing/2014/main" id="{6509F12B-77C9-47F6-923F-9670160ED619}"/>
                </a:ext>
              </a:extLst>
            </p:cNvPr>
            <p:cNvSpPr/>
            <p:nvPr/>
          </p:nvSpPr>
          <p:spPr>
            <a:xfrm rot="8100000">
              <a:off x="3685917" y="-2311183"/>
              <a:ext cx="4833194" cy="4826937"/>
            </a:xfrm>
            <a:custGeom>
              <a:avLst/>
              <a:gdLst/>
              <a:ahLst/>
              <a:cxnLst>
                <a:cxn ang="0">
                  <a:pos x="wd2" y="hd2"/>
                </a:cxn>
                <a:cxn ang="5400000">
                  <a:pos x="wd2" y="hd2"/>
                </a:cxn>
                <a:cxn ang="10800000">
                  <a:pos x="wd2" y="hd2"/>
                </a:cxn>
                <a:cxn ang="16200000">
                  <a:pos x="wd2" y="hd2"/>
                </a:cxn>
              </a:cxnLst>
              <a:rect l="0" t="0" r="r" b="b"/>
              <a:pathLst>
                <a:path w="20923" h="20898" extrusionOk="0">
                  <a:moveTo>
                    <a:pt x="10438" y="0"/>
                  </a:moveTo>
                  <a:lnTo>
                    <a:pt x="19893" y="0"/>
                  </a:lnTo>
                  <a:cubicBezTo>
                    <a:pt x="20186" y="-3"/>
                    <a:pt x="20465" y="120"/>
                    <a:pt x="20661" y="337"/>
                  </a:cubicBezTo>
                  <a:cubicBezTo>
                    <a:pt x="20850" y="547"/>
                    <a:pt x="20944" y="826"/>
                    <a:pt x="20920" y="1107"/>
                  </a:cubicBezTo>
                  <a:lnTo>
                    <a:pt x="20920" y="10753"/>
                  </a:lnTo>
                  <a:cubicBezTo>
                    <a:pt x="20774" y="15467"/>
                    <a:pt x="17784" y="18894"/>
                    <a:pt x="14038" y="20253"/>
                  </a:cubicBezTo>
                  <a:cubicBezTo>
                    <a:pt x="10335" y="21597"/>
                    <a:pt x="5900" y="20918"/>
                    <a:pt x="2749" y="17478"/>
                  </a:cubicBezTo>
                  <a:cubicBezTo>
                    <a:pt x="-345" y="14099"/>
                    <a:pt x="-656" y="9670"/>
                    <a:pt x="965" y="6114"/>
                  </a:cubicBezTo>
                  <a:cubicBezTo>
                    <a:pt x="2547" y="2644"/>
                    <a:pt x="5967" y="15"/>
                    <a:pt x="10438" y="0"/>
                  </a:cubicBezTo>
                  <a:close/>
                </a:path>
              </a:pathLst>
            </a:custGeom>
            <a:grpFill/>
            <a:ln w="12700" cap="flat">
              <a:noFill/>
              <a:miter lim="400000"/>
            </a:ln>
            <a:effectLst/>
          </p:spPr>
          <p:txBody>
            <a:bodyPr wrap="square" lIns="0" tIns="0" rIns="0" bIns="0" numCol="1" anchor="ctr">
              <a:noAutofit/>
            </a:bodyPr>
            <a:lstStyle/>
            <a:p>
              <a:pPr algn="ctr" defTabSz="412750" hangingPunct="0">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sp>
          <p:nvSpPr>
            <p:cNvPr id="49" name="Shape">
              <a:extLst>
                <a:ext uri="{FF2B5EF4-FFF2-40B4-BE49-F238E27FC236}">
                  <a16:creationId xmlns:a16="http://schemas.microsoft.com/office/drawing/2014/main" id="{BFF91D7A-4ADE-4005-BBA2-DD81E96CAE64}"/>
                </a:ext>
              </a:extLst>
            </p:cNvPr>
            <p:cNvSpPr/>
            <p:nvPr/>
          </p:nvSpPr>
          <p:spPr>
            <a:xfrm rot="13500000" flipV="1">
              <a:off x="3685916" y="4286034"/>
              <a:ext cx="4833194" cy="4826937"/>
            </a:xfrm>
            <a:custGeom>
              <a:avLst/>
              <a:gdLst/>
              <a:ahLst/>
              <a:cxnLst>
                <a:cxn ang="0">
                  <a:pos x="wd2" y="hd2"/>
                </a:cxn>
                <a:cxn ang="5400000">
                  <a:pos x="wd2" y="hd2"/>
                </a:cxn>
                <a:cxn ang="10800000">
                  <a:pos x="wd2" y="hd2"/>
                </a:cxn>
                <a:cxn ang="16200000">
                  <a:pos x="wd2" y="hd2"/>
                </a:cxn>
              </a:cxnLst>
              <a:rect l="0" t="0" r="r" b="b"/>
              <a:pathLst>
                <a:path w="20923" h="20898" extrusionOk="0">
                  <a:moveTo>
                    <a:pt x="10438" y="0"/>
                  </a:moveTo>
                  <a:lnTo>
                    <a:pt x="19893" y="0"/>
                  </a:lnTo>
                  <a:cubicBezTo>
                    <a:pt x="20186" y="-3"/>
                    <a:pt x="20465" y="120"/>
                    <a:pt x="20661" y="337"/>
                  </a:cubicBezTo>
                  <a:cubicBezTo>
                    <a:pt x="20850" y="547"/>
                    <a:pt x="20944" y="826"/>
                    <a:pt x="20920" y="1107"/>
                  </a:cubicBezTo>
                  <a:lnTo>
                    <a:pt x="20920" y="10753"/>
                  </a:lnTo>
                  <a:cubicBezTo>
                    <a:pt x="20774" y="15467"/>
                    <a:pt x="17784" y="18894"/>
                    <a:pt x="14038" y="20253"/>
                  </a:cubicBezTo>
                  <a:cubicBezTo>
                    <a:pt x="10335" y="21597"/>
                    <a:pt x="5900" y="20918"/>
                    <a:pt x="2749" y="17478"/>
                  </a:cubicBezTo>
                  <a:cubicBezTo>
                    <a:pt x="-345" y="14099"/>
                    <a:pt x="-656" y="9670"/>
                    <a:pt x="965" y="6114"/>
                  </a:cubicBezTo>
                  <a:cubicBezTo>
                    <a:pt x="2547" y="2644"/>
                    <a:pt x="5967" y="15"/>
                    <a:pt x="10438" y="0"/>
                  </a:cubicBezTo>
                  <a:close/>
                </a:path>
              </a:pathLst>
            </a:custGeom>
            <a:grpFill/>
            <a:ln w="12700" cap="flat">
              <a:noFill/>
              <a:miter lim="400000"/>
            </a:ln>
            <a:effectLst/>
          </p:spPr>
          <p:txBody>
            <a:bodyPr wrap="square" lIns="0" tIns="0" rIns="0" bIns="0" numCol="1" anchor="ctr">
              <a:noAutofit/>
            </a:bodyPr>
            <a:lstStyle/>
            <a:p>
              <a:pPr algn="ctr" defTabSz="412750" hangingPunct="0">
                <a:defRPr sz="3200" b="0">
                  <a:solidFill>
                    <a:srgbClr val="FFFFFF"/>
                  </a:solidFill>
                  <a:latin typeface="+mn-lt"/>
                  <a:ea typeface="+mn-ea"/>
                  <a:cs typeface="+mn-cs"/>
                  <a:sym typeface="Helvetica Neue Medium"/>
                </a:defRPr>
              </a:pPr>
              <a:endParaRPr sz="1600" kern="0">
                <a:solidFill>
                  <a:srgbClr val="FFFFFF"/>
                </a:solidFill>
                <a:latin typeface="Helvetica Neue Medium"/>
                <a:ea typeface="Helvetica Neue Medium"/>
                <a:cs typeface="Helvetica Neue Medium"/>
                <a:sym typeface="Helvetica Neue Medium"/>
              </a:endParaRPr>
            </a:p>
          </p:txBody>
        </p:sp>
      </p:grpSp>
      <p:grpSp>
        <p:nvGrpSpPr>
          <p:cNvPr id="13" name="Group 12">
            <a:extLst>
              <a:ext uri="{FF2B5EF4-FFF2-40B4-BE49-F238E27FC236}">
                <a16:creationId xmlns:a16="http://schemas.microsoft.com/office/drawing/2014/main" id="{8757C554-D586-465C-8B04-61E9E800336D}"/>
              </a:ext>
            </a:extLst>
          </p:cNvPr>
          <p:cNvGrpSpPr/>
          <p:nvPr/>
        </p:nvGrpSpPr>
        <p:grpSpPr>
          <a:xfrm>
            <a:off x="5672137" y="3005139"/>
            <a:ext cx="847726" cy="847724"/>
            <a:chOff x="5672138" y="3005139"/>
            <a:chExt cx="847726" cy="847724"/>
          </a:xfrm>
        </p:grpSpPr>
        <p:sp>
          <p:nvSpPr>
            <p:cNvPr id="1302" name="Circle"/>
            <p:cNvSpPr/>
            <p:nvPr/>
          </p:nvSpPr>
          <p:spPr>
            <a:xfrm>
              <a:off x="5672138" y="3005139"/>
              <a:ext cx="847726" cy="847724"/>
            </a:xfrm>
            <a:prstGeom prst="ellipse">
              <a:avLst/>
            </a:prstGeom>
            <a:solidFill>
              <a:schemeClr val="bg1"/>
            </a:solidFill>
            <a:ln w="15875" cap="flat">
              <a:solidFill>
                <a:schemeClr val="bg1"/>
              </a:solidFill>
              <a:miter lim="400000"/>
            </a:ln>
            <a:effectLst>
              <a:outerShdw blurRad="393700" dist="38100" dir="2700000" algn="tl" rotWithShape="0">
                <a:schemeClr val="tx1">
                  <a:alpha val="25000"/>
                </a:schemeClr>
              </a:outerShdw>
            </a:effectLst>
          </p:spPr>
          <p:txBody>
            <a:bodyPr wrap="square" lIns="0" tIns="274320" rIns="0" bIns="0" numCol="1" anchor="ctr">
              <a:noAutofit/>
            </a:bodyPr>
            <a:lstStyle/>
            <a:p>
              <a:pPr algn="ctr" defTabSz="412750" hangingPunct="0"/>
              <a:endParaRPr sz="1400" b="1" kern="0">
                <a:solidFill>
                  <a:srgbClr val="FFFFFF"/>
                </a:solidFill>
                <a:latin typeface="Montserrat" panose="00000500000000000000" pitchFamily="50" charset="0"/>
                <a:sym typeface="Helvetica Neue Medium"/>
              </a:endParaRPr>
            </a:p>
          </p:txBody>
        </p:sp>
        <p:sp>
          <p:nvSpPr>
            <p:cNvPr id="1305" name="VS"/>
            <p:cNvSpPr txBox="1"/>
            <p:nvPr/>
          </p:nvSpPr>
          <p:spPr>
            <a:xfrm>
              <a:off x="5720055" y="3264853"/>
              <a:ext cx="751890" cy="3282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a:defRPr sz="2500" b="0">
                  <a:solidFill>
                    <a:srgbClr val="555454"/>
                  </a:solidFill>
                  <a:latin typeface="Barlow Bold"/>
                  <a:ea typeface="Barlow Bold"/>
                  <a:cs typeface="Barlow Bold"/>
                  <a:sym typeface="Barlow Bold"/>
                </a:defRPr>
              </a:lvl1pPr>
            </a:lstStyle>
            <a:p>
              <a:pPr algn="ctr" defTabSz="412750" hangingPunct="0"/>
              <a:r>
                <a:rPr sz="1800" kern="0" dirty="0">
                  <a:solidFill>
                    <a:schemeClr val="tx2"/>
                  </a:solidFill>
                  <a:latin typeface="Montserrat" panose="00000500000000000000" pitchFamily="50" charset="0"/>
                </a:rPr>
                <a:t>VS</a:t>
              </a:r>
            </a:p>
          </p:txBody>
        </p:sp>
      </p:grpSp>
      <p:sp>
        <p:nvSpPr>
          <p:cNvPr id="1306" name="Lorem Ipsum is simply dummy text of the printing and typesetting industry. Lorem Ipsum has been the industry's standard dummy text ever since the 1500s, when an unknown printer took a galley of type and scrambled it to make a type specimen book. It has s"/>
          <p:cNvSpPr txBox="1"/>
          <p:nvPr/>
        </p:nvSpPr>
        <p:spPr>
          <a:xfrm>
            <a:off x="2501900" y="5332824"/>
            <a:ext cx="7188200" cy="68397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defRPr sz="2500" b="0">
                <a:solidFill>
                  <a:srgbClr val="9FA09E"/>
                </a:solidFill>
                <a:latin typeface="Barlow Medium"/>
                <a:ea typeface="Barlow Medium"/>
                <a:cs typeface="Barlow Medium"/>
                <a:sym typeface="Barlow Medium"/>
              </a:defRPr>
            </a:lvl1pPr>
          </a:lstStyle>
          <a:p>
            <a:pPr algn="ctr" defTabSz="412750" hangingPunct="0">
              <a:lnSpc>
                <a:spcPts val="1700"/>
              </a:lnSpc>
            </a:pPr>
            <a:r>
              <a:rPr sz="1100" kern="0" dirty="0">
                <a:solidFill>
                  <a:schemeClr val="tx1"/>
                </a:solidFill>
                <a:latin typeface="Montserrat" panose="00000500000000000000" pitchFamily="50" charset="0"/>
              </a:rPr>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a:t>
            </a:r>
          </a:p>
        </p:txBody>
      </p:sp>
      <p:sp>
        <p:nvSpPr>
          <p:cNvPr id="51" name="Freeform: Shape 50">
            <a:extLst>
              <a:ext uri="{FF2B5EF4-FFF2-40B4-BE49-F238E27FC236}">
                <a16:creationId xmlns:a16="http://schemas.microsoft.com/office/drawing/2014/main" id="{B26B89AE-AC4A-4C9A-840F-B9E96F0C36A7}"/>
              </a:ext>
            </a:extLst>
          </p:cNvPr>
          <p:cNvSpPr/>
          <p:nvPr/>
        </p:nvSpPr>
        <p:spPr>
          <a:xfrm rot="16200000">
            <a:off x="2101980" y="2243816"/>
            <a:ext cx="2372045" cy="2372043"/>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adFill>
            <a:gsLst>
              <a:gs pos="100000">
                <a:schemeClr val="accent4">
                  <a:alpha val="75000"/>
                </a:schemeClr>
              </a:gs>
              <a:gs pos="0">
                <a:schemeClr val="accent4">
                  <a:alpha val="25000"/>
                </a:schemeClr>
              </a:gs>
            </a:gsLst>
            <a:lin ang="5400000" scaled="0"/>
          </a:gradFill>
          <a:ln w="25400" cap="flat">
            <a:noFill/>
            <a:prstDash val="solid"/>
            <a:round/>
          </a:ln>
        </p:spPr>
        <p:txBody>
          <a:bodyPr wrap="square" rtlCol="0" anchor="ctr">
            <a:noAutofit/>
          </a:bodyPr>
          <a:lstStyle/>
          <a:p>
            <a:pPr algn="ctr"/>
            <a:endParaRPr lang="en-US" sz="1100">
              <a:latin typeface="Montserrat" panose="00000500000000000000" pitchFamily="50" charset="0"/>
            </a:endParaRPr>
          </a:p>
        </p:txBody>
      </p:sp>
      <p:sp>
        <p:nvSpPr>
          <p:cNvPr id="52" name="Freeform: Shape 51">
            <a:extLst>
              <a:ext uri="{FF2B5EF4-FFF2-40B4-BE49-F238E27FC236}">
                <a16:creationId xmlns:a16="http://schemas.microsoft.com/office/drawing/2014/main" id="{58F86192-4882-4A1F-87FD-D0B01E2859C2}"/>
              </a:ext>
            </a:extLst>
          </p:cNvPr>
          <p:cNvSpPr/>
          <p:nvPr/>
        </p:nvSpPr>
        <p:spPr>
          <a:xfrm rot="16200000">
            <a:off x="989006" y="2242142"/>
            <a:ext cx="2372045" cy="2372043"/>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adFill>
            <a:gsLst>
              <a:gs pos="0">
                <a:schemeClr val="accent1">
                  <a:alpha val="75000"/>
                </a:schemeClr>
              </a:gs>
              <a:gs pos="100000">
                <a:schemeClr val="accent1">
                  <a:alpha val="25000"/>
                </a:schemeClr>
              </a:gs>
            </a:gsLst>
            <a:lin ang="5400000" scaled="0"/>
          </a:gradFill>
          <a:ln w="25400" cap="flat">
            <a:noFill/>
            <a:prstDash val="solid"/>
            <a:round/>
          </a:ln>
        </p:spPr>
        <p:txBody>
          <a:bodyPr wrap="square" rtlCol="0" anchor="ctr">
            <a:noAutofit/>
          </a:bodyPr>
          <a:lstStyle/>
          <a:p>
            <a:pPr algn="ctr"/>
            <a:endParaRPr lang="en-US" sz="1100">
              <a:latin typeface="Montserrat" panose="00000500000000000000" pitchFamily="50" charset="0"/>
            </a:endParaRPr>
          </a:p>
        </p:txBody>
      </p:sp>
      <p:grpSp>
        <p:nvGrpSpPr>
          <p:cNvPr id="2" name="Group 1">
            <a:extLst>
              <a:ext uri="{FF2B5EF4-FFF2-40B4-BE49-F238E27FC236}">
                <a16:creationId xmlns:a16="http://schemas.microsoft.com/office/drawing/2014/main" id="{4925DE6F-CE2B-442B-9BAD-5F3FE4BD2F1C}"/>
              </a:ext>
            </a:extLst>
          </p:cNvPr>
          <p:cNvGrpSpPr/>
          <p:nvPr/>
        </p:nvGrpSpPr>
        <p:grpSpPr>
          <a:xfrm>
            <a:off x="989008" y="2242141"/>
            <a:ext cx="3485017" cy="2373719"/>
            <a:chOff x="989008" y="2242141"/>
            <a:chExt cx="3485017" cy="2373719"/>
          </a:xfrm>
        </p:grpSpPr>
        <p:sp>
          <p:nvSpPr>
            <p:cNvPr id="59" name="Freeform: Shape 58">
              <a:extLst>
                <a:ext uri="{FF2B5EF4-FFF2-40B4-BE49-F238E27FC236}">
                  <a16:creationId xmlns:a16="http://schemas.microsoft.com/office/drawing/2014/main" id="{C107EA58-D88A-4D3A-B199-43EC781098CE}"/>
                </a:ext>
              </a:extLst>
            </p:cNvPr>
            <p:cNvSpPr/>
            <p:nvPr/>
          </p:nvSpPr>
          <p:spPr>
            <a:xfrm rot="16200000">
              <a:off x="2101981" y="2243816"/>
              <a:ext cx="2372045" cy="2372043"/>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noFill/>
            <a:ln w="25400" cap="flat">
              <a:solidFill>
                <a:schemeClr val="bg1"/>
              </a:solidFill>
              <a:prstDash val="solid"/>
              <a:round/>
            </a:ln>
          </p:spPr>
          <p:txBody>
            <a:bodyPr wrap="square" rtlCol="0" anchor="ctr">
              <a:noAutofit/>
            </a:bodyPr>
            <a:lstStyle/>
            <a:p>
              <a:pPr algn="ctr"/>
              <a:endParaRPr lang="en-US" sz="1100">
                <a:latin typeface="Montserrat" panose="00000500000000000000" pitchFamily="50" charset="0"/>
              </a:endParaRPr>
            </a:p>
          </p:txBody>
        </p:sp>
        <p:sp>
          <p:nvSpPr>
            <p:cNvPr id="60" name="Freeform: Shape 59">
              <a:extLst>
                <a:ext uri="{FF2B5EF4-FFF2-40B4-BE49-F238E27FC236}">
                  <a16:creationId xmlns:a16="http://schemas.microsoft.com/office/drawing/2014/main" id="{EAF6ED1C-A628-475E-BAFA-44849AE960BF}"/>
                </a:ext>
              </a:extLst>
            </p:cNvPr>
            <p:cNvSpPr/>
            <p:nvPr/>
          </p:nvSpPr>
          <p:spPr>
            <a:xfrm rot="16200000">
              <a:off x="989007" y="2242142"/>
              <a:ext cx="2372045" cy="2372043"/>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noFill/>
            <a:ln w="25400" cap="flat">
              <a:solidFill>
                <a:schemeClr val="bg1"/>
              </a:solidFill>
              <a:prstDash val="solid"/>
              <a:round/>
            </a:ln>
          </p:spPr>
          <p:txBody>
            <a:bodyPr wrap="square" rtlCol="0" anchor="ctr">
              <a:noAutofit/>
            </a:bodyPr>
            <a:lstStyle/>
            <a:p>
              <a:pPr algn="ctr"/>
              <a:endParaRPr lang="en-US" sz="1100">
                <a:latin typeface="Montserrat" panose="00000500000000000000" pitchFamily="50" charset="0"/>
              </a:endParaRPr>
            </a:p>
          </p:txBody>
        </p:sp>
      </p:grpSp>
      <p:sp>
        <p:nvSpPr>
          <p:cNvPr id="55" name="Placeholder Text">
            <a:extLst>
              <a:ext uri="{FF2B5EF4-FFF2-40B4-BE49-F238E27FC236}">
                <a16:creationId xmlns:a16="http://schemas.microsoft.com/office/drawing/2014/main" id="{93B576A3-2381-4BC4-ABCC-812571E6495D}"/>
              </a:ext>
            </a:extLst>
          </p:cNvPr>
          <p:cNvSpPr txBox="1"/>
          <p:nvPr/>
        </p:nvSpPr>
        <p:spPr>
          <a:xfrm>
            <a:off x="1059075" y="3234075"/>
            <a:ext cx="978269" cy="3898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lgn="l">
              <a:defRPr sz="2500" b="0">
                <a:solidFill>
                  <a:srgbClr val="555454"/>
                </a:solidFill>
                <a:latin typeface="Barlow Medium"/>
                <a:ea typeface="Barlow Medium"/>
                <a:cs typeface="Barlow Medium"/>
                <a:sym typeface="Barlow Medium"/>
              </a:defRPr>
            </a:lvl1pPr>
          </a:lstStyle>
          <a:p>
            <a:pPr algn="ctr" defTabSz="412750" hangingPunct="0"/>
            <a:r>
              <a:rPr sz="1100" kern="0" dirty="0">
                <a:solidFill>
                  <a:schemeClr val="bg1"/>
                </a:solidFill>
                <a:latin typeface="Montserrat" panose="00000500000000000000" pitchFamily="50" charset="0"/>
              </a:rPr>
              <a:t>Placeholder Text</a:t>
            </a:r>
          </a:p>
        </p:txBody>
      </p:sp>
      <p:sp>
        <p:nvSpPr>
          <p:cNvPr id="56" name="Placeholder Text">
            <a:extLst>
              <a:ext uri="{FF2B5EF4-FFF2-40B4-BE49-F238E27FC236}">
                <a16:creationId xmlns:a16="http://schemas.microsoft.com/office/drawing/2014/main" id="{18CF18C1-DB5D-4B99-B996-67DFD33509B7}"/>
              </a:ext>
            </a:extLst>
          </p:cNvPr>
          <p:cNvSpPr txBox="1"/>
          <p:nvPr/>
        </p:nvSpPr>
        <p:spPr>
          <a:xfrm>
            <a:off x="3425686" y="3234075"/>
            <a:ext cx="978269" cy="3898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lgn="l">
              <a:defRPr sz="2500" b="0">
                <a:solidFill>
                  <a:srgbClr val="555454"/>
                </a:solidFill>
                <a:latin typeface="Barlow Medium"/>
                <a:ea typeface="Barlow Medium"/>
                <a:cs typeface="Barlow Medium"/>
                <a:sym typeface="Barlow Medium"/>
              </a:defRPr>
            </a:lvl1pPr>
          </a:lstStyle>
          <a:p>
            <a:pPr algn="ctr" defTabSz="412750" hangingPunct="0"/>
            <a:r>
              <a:rPr sz="1100" kern="0" dirty="0">
                <a:solidFill>
                  <a:schemeClr val="bg1"/>
                </a:solidFill>
                <a:latin typeface="Montserrat" panose="00000500000000000000" pitchFamily="50" charset="0"/>
              </a:rPr>
              <a:t>Placeholder Text</a:t>
            </a:r>
          </a:p>
        </p:txBody>
      </p:sp>
      <p:sp>
        <p:nvSpPr>
          <p:cNvPr id="57" name="Placeholder Text">
            <a:extLst>
              <a:ext uri="{FF2B5EF4-FFF2-40B4-BE49-F238E27FC236}">
                <a16:creationId xmlns:a16="http://schemas.microsoft.com/office/drawing/2014/main" id="{C0A3EBFC-C9CF-4980-96DC-87308593354E}"/>
              </a:ext>
            </a:extLst>
          </p:cNvPr>
          <p:cNvSpPr txBox="1"/>
          <p:nvPr/>
        </p:nvSpPr>
        <p:spPr>
          <a:xfrm>
            <a:off x="2242381" y="3234075"/>
            <a:ext cx="978269" cy="3898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lgn="l">
              <a:defRPr sz="2500" b="0">
                <a:solidFill>
                  <a:srgbClr val="555454"/>
                </a:solidFill>
                <a:latin typeface="Barlow Medium"/>
                <a:ea typeface="Barlow Medium"/>
                <a:cs typeface="Barlow Medium"/>
                <a:sym typeface="Barlow Medium"/>
              </a:defRPr>
            </a:lvl1pPr>
          </a:lstStyle>
          <a:p>
            <a:pPr algn="ctr" defTabSz="412750" hangingPunct="0"/>
            <a:r>
              <a:rPr sz="1100" b="1" kern="0" dirty="0">
                <a:solidFill>
                  <a:schemeClr val="bg1"/>
                </a:solidFill>
                <a:latin typeface="Montserrat" panose="00000500000000000000" pitchFamily="50" charset="0"/>
              </a:rPr>
              <a:t>Placeholder Text</a:t>
            </a:r>
          </a:p>
        </p:txBody>
      </p:sp>
      <p:sp>
        <p:nvSpPr>
          <p:cNvPr id="74" name="Freeform: Shape 73">
            <a:extLst>
              <a:ext uri="{FF2B5EF4-FFF2-40B4-BE49-F238E27FC236}">
                <a16:creationId xmlns:a16="http://schemas.microsoft.com/office/drawing/2014/main" id="{014797A0-EE08-43F4-A556-79DC3BA5B566}"/>
              </a:ext>
            </a:extLst>
          </p:cNvPr>
          <p:cNvSpPr/>
          <p:nvPr/>
        </p:nvSpPr>
        <p:spPr>
          <a:xfrm rot="16200000">
            <a:off x="8830949" y="2243816"/>
            <a:ext cx="2372045" cy="2372043"/>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adFill>
            <a:gsLst>
              <a:gs pos="100000">
                <a:schemeClr val="accent2">
                  <a:lumMod val="50000"/>
                  <a:lumOff val="50000"/>
                </a:schemeClr>
              </a:gs>
              <a:gs pos="0">
                <a:schemeClr val="accent2">
                  <a:lumMod val="50000"/>
                  <a:lumOff val="50000"/>
                  <a:alpha val="25000"/>
                </a:schemeClr>
              </a:gs>
            </a:gsLst>
            <a:lin ang="5400000" scaled="0"/>
          </a:gradFill>
          <a:ln w="25400" cap="flat">
            <a:noFill/>
            <a:prstDash val="solid"/>
            <a:round/>
          </a:ln>
        </p:spPr>
        <p:txBody>
          <a:bodyPr wrap="square" rtlCol="0" anchor="ctr">
            <a:noAutofit/>
          </a:bodyPr>
          <a:lstStyle/>
          <a:p>
            <a:pPr algn="ctr"/>
            <a:endParaRPr lang="en-US" sz="1100">
              <a:latin typeface="Montserrat" panose="00000500000000000000" pitchFamily="50" charset="0"/>
            </a:endParaRPr>
          </a:p>
        </p:txBody>
      </p:sp>
      <p:sp>
        <p:nvSpPr>
          <p:cNvPr id="75" name="Freeform: Shape 74">
            <a:extLst>
              <a:ext uri="{FF2B5EF4-FFF2-40B4-BE49-F238E27FC236}">
                <a16:creationId xmlns:a16="http://schemas.microsoft.com/office/drawing/2014/main" id="{25944AE1-F2DC-4FA4-AF8C-40C2E55713FA}"/>
              </a:ext>
            </a:extLst>
          </p:cNvPr>
          <p:cNvSpPr/>
          <p:nvPr/>
        </p:nvSpPr>
        <p:spPr>
          <a:xfrm rot="16200000">
            <a:off x="7717974" y="2242142"/>
            <a:ext cx="2372045" cy="2372043"/>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gradFill>
            <a:gsLst>
              <a:gs pos="0">
                <a:schemeClr val="accent3"/>
              </a:gs>
              <a:gs pos="100000">
                <a:schemeClr val="accent3">
                  <a:alpha val="25000"/>
                </a:schemeClr>
              </a:gs>
            </a:gsLst>
            <a:lin ang="5400000" scaled="0"/>
          </a:gradFill>
          <a:ln w="25400" cap="flat">
            <a:noFill/>
            <a:prstDash val="solid"/>
            <a:round/>
          </a:ln>
        </p:spPr>
        <p:txBody>
          <a:bodyPr wrap="square" rtlCol="0" anchor="ctr">
            <a:noAutofit/>
          </a:bodyPr>
          <a:lstStyle/>
          <a:p>
            <a:pPr algn="ctr"/>
            <a:endParaRPr lang="en-US" sz="1100">
              <a:latin typeface="Montserrat" panose="00000500000000000000" pitchFamily="50" charset="0"/>
            </a:endParaRPr>
          </a:p>
        </p:txBody>
      </p:sp>
      <p:grpSp>
        <p:nvGrpSpPr>
          <p:cNvPr id="3" name="Group 2">
            <a:extLst>
              <a:ext uri="{FF2B5EF4-FFF2-40B4-BE49-F238E27FC236}">
                <a16:creationId xmlns:a16="http://schemas.microsoft.com/office/drawing/2014/main" id="{31DE6C24-DA44-48EA-B809-C06983DFB4C9}"/>
              </a:ext>
            </a:extLst>
          </p:cNvPr>
          <p:cNvGrpSpPr/>
          <p:nvPr/>
        </p:nvGrpSpPr>
        <p:grpSpPr>
          <a:xfrm>
            <a:off x="7717976" y="2242141"/>
            <a:ext cx="3485018" cy="2373719"/>
            <a:chOff x="7717976" y="2242141"/>
            <a:chExt cx="3485018" cy="2373719"/>
          </a:xfrm>
        </p:grpSpPr>
        <p:sp>
          <p:nvSpPr>
            <p:cNvPr id="72" name="Freeform: Shape 71">
              <a:extLst>
                <a:ext uri="{FF2B5EF4-FFF2-40B4-BE49-F238E27FC236}">
                  <a16:creationId xmlns:a16="http://schemas.microsoft.com/office/drawing/2014/main" id="{6F22A576-802D-45D0-B206-7B7441DFBDBD}"/>
                </a:ext>
              </a:extLst>
            </p:cNvPr>
            <p:cNvSpPr/>
            <p:nvPr/>
          </p:nvSpPr>
          <p:spPr>
            <a:xfrm rot="16200000">
              <a:off x="8830950" y="2243816"/>
              <a:ext cx="2372045" cy="2372043"/>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noFill/>
            <a:ln w="25400" cap="flat">
              <a:solidFill>
                <a:schemeClr val="bg1"/>
              </a:solidFill>
              <a:prstDash val="solid"/>
              <a:round/>
            </a:ln>
          </p:spPr>
          <p:txBody>
            <a:bodyPr wrap="square" rtlCol="0" anchor="ctr">
              <a:noAutofit/>
            </a:bodyPr>
            <a:lstStyle/>
            <a:p>
              <a:pPr algn="ctr"/>
              <a:endParaRPr lang="en-US" sz="1100">
                <a:latin typeface="Montserrat" panose="00000500000000000000" pitchFamily="50" charset="0"/>
              </a:endParaRPr>
            </a:p>
          </p:txBody>
        </p:sp>
        <p:sp>
          <p:nvSpPr>
            <p:cNvPr id="73" name="Freeform: Shape 72">
              <a:extLst>
                <a:ext uri="{FF2B5EF4-FFF2-40B4-BE49-F238E27FC236}">
                  <a16:creationId xmlns:a16="http://schemas.microsoft.com/office/drawing/2014/main" id="{F6BD338E-E0C9-4307-8D61-2F3114F76B78}"/>
                </a:ext>
              </a:extLst>
            </p:cNvPr>
            <p:cNvSpPr/>
            <p:nvPr/>
          </p:nvSpPr>
          <p:spPr>
            <a:xfrm rot="16200000">
              <a:off x="7717975" y="2242142"/>
              <a:ext cx="2372045" cy="2372043"/>
            </a:xfrm>
            <a:custGeom>
              <a:avLst/>
              <a:gdLst>
                <a:gd name="connsiteX0" fmla="*/ 1275877 w 2551749"/>
                <a:gd name="connsiteY0" fmla="*/ 0 h 2551749"/>
                <a:gd name="connsiteX1" fmla="*/ 2551749 w 2551749"/>
                <a:gd name="connsiteY1" fmla="*/ 1275877 h 2551749"/>
                <a:gd name="connsiteX2" fmla="*/ 1275877 w 2551749"/>
                <a:gd name="connsiteY2" fmla="*/ 2551749 h 2551749"/>
                <a:gd name="connsiteX3" fmla="*/ 0 w 2551749"/>
                <a:gd name="connsiteY3" fmla="*/ 1275877 h 2551749"/>
                <a:gd name="connsiteX4" fmla="*/ 1275877 w 2551749"/>
                <a:gd name="connsiteY4" fmla="*/ 0 h 2551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749" h="2551749">
                  <a:moveTo>
                    <a:pt x="1275877" y="0"/>
                  </a:moveTo>
                  <a:cubicBezTo>
                    <a:pt x="1980519" y="0"/>
                    <a:pt x="2551749" y="571230"/>
                    <a:pt x="2551749" y="1275877"/>
                  </a:cubicBezTo>
                  <a:cubicBezTo>
                    <a:pt x="2551749" y="1980519"/>
                    <a:pt x="1980519" y="2551749"/>
                    <a:pt x="1275877" y="2551749"/>
                  </a:cubicBezTo>
                  <a:cubicBezTo>
                    <a:pt x="571230" y="2551749"/>
                    <a:pt x="0" y="1980519"/>
                    <a:pt x="0" y="1275877"/>
                  </a:cubicBezTo>
                  <a:cubicBezTo>
                    <a:pt x="0" y="571230"/>
                    <a:pt x="571230" y="0"/>
                    <a:pt x="1275877" y="0"/>
                  </a:cubicBezTo>
                  <a:close/>
                </a:path>
              </a:pathLst>
            </a:custGeom>
            <a:noFill/>
            <a:ln w="25400" cap="flat">
              <a:solidFill>
                <a:schemeClr val="bg1"/>
              </a:solidFill>
              <a:prstDash val="solid"/>
              <a:round/>
            </a:ln>
          </p:spPr>
          <p:txBody>
            <a:bodyPr wrap="square" rtlCol="0" anchor="ctr">
              <a:noAutofit/>
            </a:bodyPr>
            <a:lstStyle/>
            <a:p>
              <a:pPr algn="ctr"/>
              <a:endParaRPr lang="en-US" sz="1100">
                <a:latin typeface="Montserrat" panose="00000500000000000000" pitchFamily="50" charset="0"/>
              </a:endParaRPr>
            </a:p>
          </p:txBody>
        </p:sp>
      </p:grpSp>
      <p:sp>
        <p:nvSpPr>
          <p:cNvPr id="68" name="Placeholder Text">
            <a:extLst>
              <a:ext uri="{FF2B5EF4-FFF2-40B4-BE49-F238E27FC236}">
                <a16:creationId xmlns:a16="http://schemas.microsoft.com/office/drawing/2014/main" id="{AAF49C31-8470-4CB4-93AE-C6E82FCA9040}"/>
              </a:ext>
            </a:extLst>
          </p:cNvPr>
          <p:cNvSpPr txBox="1"/>
          <p:nvPr/>
        </p:nvSpPr>
        <p:spPr>
          <a:xfrm>
            <a:off x="7788043" y="3234075"/>
            <a:ext cx="978269" cy="3898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lgn="l">
              <a:defRPr sz="2500" b="0">
                <a:solidFill>
                  <a:srgbClr val="555454"/>
                </a:solidFill>
                <a:latin typeface="Barlow Medium"/>
                <a:ea typeface="Barlow Medium"/>
                <a:cs typeface="Barlow Medium"/>
                <a:sym typeface="Barlow Medium"/>
              </a:defRPr>
            </a:lvl1pPr>
          </a:lstStyle>
          <a:p>
            <a:pPr algn="ctr" defTabSz="412750" hangingPunct="0"/>
            <a:r>
              <a:rPr sz="1100" kern="0" dirty="0">
                <a:solidFill>
                  <a:schemeClr val="bg1"/>
                </a:solidFill>
                <a:latin typeface="Montserrat" panose="00000500000000000000" pitchFamily="50" charset="0"/>
              </a:rPr>
              <a:t>Placeholder Text</a:t>
            </a:r>
          </a:p>
        </p:txBody>
      </p:sp>
      <p:sp>
        <p:nvSpPr>
          <p:cNvPr id="69" name="Placeholder Text">
            <a:extLst>
              <a:ext uri="{FF2B5EF4-FFF2-40B4-BE49-F238E27FC236}">
                <a16:creationId xmlns:a16="http://schemas.microsoft.com/office/drawing/2014/main" id="{3E5AE3D5-5C01-4BCA-9C2C-E3DBD235CE17}"/>
              </a:ext>
            </a:extLst>
          </p:cNvPr>
          <p:cNvSpPr txBox="1"/>
          <p:nvPr/>
        </p:nvSpPr>
        <p:spPr>
          <a:xfrm>
            <a:off x="10154654" y="3234075"/>
            <a:ext cx="978269" cy="3898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lgn="l">
              <a:defRPr sz="2500" b="0">
                <a:solidFill>
                  <a:srgbClr val="555454"/>
                </a:solidFill>
                <a:latin typeface="Barlow Medium"/>
                <a:ea typeface="Barlow Medium"/>
                <a:cs typeface="Barlow Medium"/>
                <a:sym typeface="Barlow Medium"/>
              </a:defRPr>
            </a:lvl1pPr>
          </a:lstStyle>
          <a:p>
            <a:pPr algn="ctr" defTabSz="412750" hangingPunct="0"/>
            <a:r>
              <a:rPr sz="1100" kern="0" dirty="0">
                <a:solidFill>
                  <a:schemeClr val="bg1"/>
                </a:solidFill>
                <a:latin typeface="Montserrat" panose="00000500000000000000" pitchFamily="50" charset="0"/>
              </a:rPr>
              <a:t>Placeholder Text</a:t>
            </a:r>
          </a:p>
        </p:txBody>
      </p:sp>
      <p:sp>
        <p:nvSpPr>
          <p:cNvPr id="67" name="Placeholder Text">
            <a:extLst>
              <a:ext uri="{FF2B5EF4-FFF2-40B4-BE49-F238E27FC236}">
                <a16:creationId xmlns:a16="http://schemas.microsoft.com/office/drawing/2014/main" id="{00AF26FC-808F-4CC6-936C-C0575B011625}"/>
              </a:ext>
            </a:extLst>
          </p:cNvPr>
          <p:cNvSpPr txBox="1"/>
          <p:nvPr/>
        </p:nvSpPr>
        <p:spPr>
          <a:xfrm>
            <a:off x="8971349" y="3234075"/>
            <a:ext cx="978269" cy="3898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spAutoFit/>
          </a:bodyPr>
          <a:lstStyle>
            <a:lvl1pPr algn="l">
              <a:defRPr sz="2500" b="0">
                <a:solidFill>
                  <a:srgbClr val="555454"/>
                </a:solidFill>
                <a:latin typeface="Barlow Medium"/>
                <a:ea typeface="Barlow Medium"/>
                <a:cs typeface="Barlow Medium"/>
                <a:sym typeface="Barlow Medium"/>
              </a:defRPr>
            </a:lvl1pPr>
          </a:lstStyle>
          <a:p>
            <a:pPr algn="ctr" defTabSz="412750" hangingPunct="0"/>
            <a:r>
              <a:rPr sz="1100" b="1" kern="0" dirty="0">
                <a:solidFill>
                  <a:schemeClr val="bg1"/>
                </a:solidFill>
                <a:latin typeface="Montserrat" panose="00000500000000000000" pitchFamily="50" charset="0"/>
              </a:rPr>
              <a:t>Placeholder Text</a:t>
            </a:r>
          </a:p>
        </p:txBody>
      </p:sp>
      <p:sp>
        <p:nvSpPr>
          <p:cNvPr id="78" name="TextBox 77">
            <a:extLst>
              <a:ext uri="{FF2B5EF4-FFF2-40B4-BE49-F238E27FC236}">
                <a16:creationId xmlns:a16="http://schemas.microsoft.com/office/drawing/2014/main" id="{D66620F7-2336-4C56-8168-2439F916C39F}"/>
              </a:ext>
            </a:extLst>
          </p:cNvPr>
          <p:cNvSpPr txBox="1"/>
          <p:nvPr/>
        </p:nvSpPr>
        <p:spPr>
          <a:xfrm>
            <a:off x="2766008" y="917133"/>
            <a:ext cx="6659984" cy="553998"/>
          </a:xfrm>
          <a:prstGeom prst="rect">
            <a:avLst/>
          </a:prstGeom>
          <a:noFill/>
        </p:spPr>
        <p:txBody>
          <a:bodyPr wrap="square" rtlCol="0">
            <a:spAutoFit/>
          </a:bodyPr>
          <a:lstStyle/>
          <a:p>
            <a:pPr algn="ctr"/>
            <a:r>
              <a:rPr lang="en-US" sz="3000" b="1" dirty="0">
                <a:solidFill>
                  <a:schemeClr val="tx2">
                    <a:lumMod val="40000"/>
                    <a:lumOff val="60000"/>
                  </a:schemeClr>
                </a:solidFill>
                <a:latin typeface="Montserrat" panose="00000500000000000000" pitchFamily="50" charset="0"/>
              </a:rPr>
              <a:t>VENN DIAGRAM</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p:cTn id="7" dur="1500" fill="hold"/>
                                        <p:tgtEl>
                                          <p:spTgt spid="51"/>
                                        </p:tgtEl>
                                        <p:attrNameLst>
                                          <p:attrName>ppt_w</p:attrName>
                                        </p:attrNameLst>
                                      </p:cBhvr>
                                      <p:tavLst>
                                        <p:tav tm="0">
                                          <p:val>
                                            <p:fltVal val="0"/>
                                          </p:val>
                                        </p:tav>
                                        <p:tav tm="100000">
                                          <p:val>
                                            <p:strVal val="#ppt_w"/>
                                          </p:val>
                                        </p:tav>
                                      </p:tavLst>
                                    </p:anim>
                                    <p:anim calcmode="lin" valueType="num">
                                      <p:cBhvr>
                                        <p:cTn id="8" dur="1500" fill="hold"/>
                                        <p:tgtEl>
                                          <p:spTgt spid="51"/>
                                        </p:tgtEl>
                                        <p:attrNameLst>
                                          <p:attrName>ppt_h</p:attrName>
                                        </p:attrNameLst>
                                      </p:cBhvr>
                                      <p:tavLst>
                                        <p:tav tm="0">
                                          <p:val>
                                            <p:fltVal val="0"/>
                                          </p:val>
                                        </p:tav>
                                        <p:tav tm="100000">
                                          <p:val>
                                            <p:strVal val="#ppt_h"/>
                                          </p:val>
                                        </p:tav>
                                      </p:tavLst>
                                    </p:anim>
                                    <p:animEffect transition="in" filter="fade">
                                      <p:cBhvr>
                                        <p:cTn id="9" dur="1500"/>
                                        <p:tgtEl>
                                          <p:spTgt spid="51"/>
                                        </p:tgtEl>
                                      </p:cBhvr>
                                    </p:animEffect>
                                  </p:childTnLst>
                                </p:cTn>
                              </p:par>
                              <p:par>
                                <p:cTn id="10" presetID="35" presetClass="path" presetSubtype="0" accel="50000" decel="50000" fill="hold" grpId="1" nodeType="withEffect">
                                  <p:stCondLst>
                                    <p:cond delay="0"/>
                                  </p:stCondLst>
                                  <p:childTnLst>
                                    <p:animMotion origin="layout" path="M 0.10847 0 L -1.45833E-6 0 " pathEditMode="relative" rAng="0" ptsTypes="AA">
                                      <p:cBhvr>
                                        <p:cTn id="11" dur="1500" fill="hold"/>
                                        <p:tgtEl>
                                          <p:spTgt spid="51"/>
                                        </p:tgtEl>
                                        <p:attrNameLst>
                                          <p:attrName>ppt_x</p:attrName>
                                          <p:attrName>ppt_y</p:attrName>
                                        </p:attrNameLst>
                                      </p:cBhvr>
                                      <p:rCtr x="-5430" y="0"/>
                                    </p:animMotion>
                                  </p:childTnLst>
                                </p:cTn>
                              </p:par>
                              <p:par>
                                <p:cTn id="12" presetID="53" presetClass="entr" presetSubtype="16" fill="hold" grpId="0" nodeType="withEffect">
                                  <p:stCondLst>
                                    <p:cond delay="0"/>
                                  </p:stCondLst>
                                  <p:childTnLst>
                                    <p:set>
                                      <p:cBhvr>
                                        <p:cTn id="13" dur="1" fill="hold">
                                          <p:stCondLst>
                                            <p:cond delay="0"/>
                                          </p:stCondLst>
                                        </p:cTn>
                                        <p:tgtEl>
                                          <p:spTgt spid="52"/>
                                        </p:tgtEl>
                                        <p:attrNameLst>
                                          <p:attrName>style.visibility</p:attrName>
                                        </p:attrNameLst>
                                      </p:cBhvr>
                                      <p:to>
                                        <p:strVal val="visible"/>
                                      </p:to>
                                    </p:set>
                                    <p:anim calcmode="lin" valueType="num">
                                      <p:cBhvr>
                                        <p:cTn id="14" dur="1500" fill="hold"/>
                                        <p:tgtEl>
                                          <p:spTgt spid="52"/>
                                        </p:tgtEl>
                                        <p:attrNameLst>
                                          <p:attrName>ppt_w</p:attrName>
                                        </p:attrNameLst>
                                      </p:cBhvr>
                                      <p:tavLst>
                                        <p:tav tm="0">
                                          <p:val>
                                            <p:fltVal val="0"/>
                                          </p:val>
                                        </p:tav>
                                        <p:tav tm="100000">
                                          <p:val>
                                            <p:strVal val="#ppt_w"/>
                                          </p:val>
                                        </p:tav>
                                      </p:tavLst>
                                    </p:anim>
                                    <p:anim calcmode="lin" valueType="num">
                                      <p:cBhvr>
                                        <p:cTn id="15" dur="1500" fill="hold"/>
                                        <p:tgtEl>
                                          <p:spTgt spid="52"/>
                                        </p:tgtEl>
                                        <p:attrNameLst>
                                          <p:attrName>ppt_h</p:attrName>
                                        </p:attrNameLst>
                                      </p:cBhvr>
                                      <p:tavLst>
                                        <p:tav tm="0">
                                          <p:val>
                                            <p:fltVal val="0"/>
                                          </p:val>
                                        </p:tav>
                                        <p:tav tm="100000">
                                          <p:val>
                                            <p:strVal val="#ppt_h"/>
                                          </p:val>
                                        </p:tav>
                                      </p:tavLst>
                                    </p:anim>
                                    <p:animEffect transition="in" filter="fade">
                                      <p:cBhvr>
                                        <p:cTn id="16" dur="1500"/>
                                        <p:tgtEl>
                                          <p:spTgt spid="52"/>
                                        </p:tgtEl>
                                      </p:cBhvr>
                                    </p:animEffect>
                                  </p:childTnLst>
                                </p:cTn>
                              </p:par>
                              <p:par>
                                <p:cTn id="17" presetID="35" presetClass="path" presetSubtype="0" accel="50000" decel="50000" fill="hold" grpId="1" nodeType="withEffect">
                                  <p:stCondLst>
                                    <p:cond delay="0"/>
                                  </p:stCondLst>
                                  <p:childTnLst>
                                    <p:animMotion origin="layout" path="M -3.95833E-6 1.48148E-6 L -0.10846 1.48148E-6 " pathEditMode="relative" rAng="0" ptsTypes="AA">
                                      <p:cBhvr>
                                        <p:cTn id="18" dur="1500" spd="-100000" fill="hold"/>
                                        <p:tgtEl>
                                          <p:spTgt spid="52"/>
                                        </p:tgtEl>
                                        <p:attrNameLst>
                                          <p:attrName>ppt_x</p:attrName>
                                          <p:attrName>ppt_y</p:attrName>
                                        </p:attrNameLst>
                                      </p:cBhvr>
                                      <p:rCtr x="-5430" y="0"/>
                                    </p:animMotion>
                                  </p:childTnLst>
                                </p:cTn>
                              </p:par>
                              <p:par>
                                <p:cTn id="19" presetID="10" presetClass="entr" presetSubtype="0" fill="hold" nodeType="withEffect">
                                  <p:stCondLst>
                                    <p:cond delay="150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75"/>
                                        </p:tgtEl>
                                        <p:attrNameLst>
                                          <p:attrName>style.visibility</p:attrName>
                                        </p:attrNameLst>
                                      </p:cBhvr>
                                      <p:to>
                                        <p:strVal val="visible"/>
                                      </p:to>
                                    </p:set>
                                    <p:anim calcmode="lin" valueType="num">
                                      <p:cBhvr>
                                        <p:cTn id="24" dur="1500" fill="hold"/>
                                        <p:tgtEl>
                                          <p:spTgt spid="75"/>
                                        </p:tgtEl>
                                        <p:attrNameLst>
                                          <p:attrName>ppt_w</p:attrName>
                                        </p:attrNameLst>
                                      </p:cBhvr>
                                      <p:tavLst>
                                        <p:tav tm="0">
                                          <p:val>
                                            <p:fltVal val="0"/>
                                          </p:val>
                                        </p:tav>
                                        <p:tav tm="100000">
                                          <p:val>
                                            <p:strVal val="#ppt_w"/>
                                          </p:val>
                                        </p:tav>
                                      </p:tavLst>
                                    </p:anim>
                                    <p:anim calcmode="lin" valueType="num">
                                      <p:cBhvr>
                                        <p:cTn id="25" dur="1500" fill="hold"/>
                                        <p:tgtEl>
                                          <p:spTgt spid="75"/>
                                        </p:tgtEl>
                                        <p:attrNameLst>
                                          <p:attrName>ppt_h</p:attrName>
                                        </p:attrNameLst>
                                      </p:cBhvr>
                                      <p:tavLst>
                                        <p:tav tm="0">
                                          <p:val>
                                            <p:fltVal val="0"/>
                                          </p:val>
                                        </p:tav>
                                        <p:tav tm="100000">
                                          <p:val>
                                            <p:strVal val="#ppt_h"/>
                                          </p:val>
                                        </p:tav>
                                      </p:tavLst>
                                    </p:anim>
                                    <p:animEffect transition="in" filter="fade">
                                      <p:cBhvr>
                                        <p:cTn id="26" dur="1500"/>
                                        <p:tgtEl>
                                          <p:spTgt spid="75"/>
                                        </p:tgtEl>
                                      </p:cBhvr>
                                    </p:animEffect>
                                  </p:childTnLst>
                                </p:cTn>
                              </p:par>
                              <p:par>
                                <p:cTn id="27" presetID="35" presetClass="path" presetSubtype="0" accel="50000" decel="50000" fill="hold" grpId="1" nodeType="withEffect">
                                  <p:stCondLst>
                                    <p:cond delay="0"/>
                                  </p:stCondLst>
                                  <p:childTnLst>
                                    <p:animMotion origin="layout" path="M -3.95833E-6 1.48148E-6 L -0.10846 1.48148E-6 " pathEditMode="relative" rAng="0" ptsTypes="AA">
                                      <p:cBhvr>
                                        <p:cTn id="28" dur="1500" spd="-100000" fill="hold"/>
                                        <p:tgtEl>
                                          <p:spTgt spid="75"/>
                                        </p:tgtEl>
                                        <p:attrNameLst>
                                          <p:attrName>ppt_x</p:attrName>
                                          <p:attrName>ppt_y</p:attrName>
                                        </p:attrNameLst>
                                      </p:cBhvr>
                                      <p:rCtr x="-5430" y="0"/>
                                    </p:animMotion>
                                  </p:childTnLst>
                                </p:cTn>
                              </p:par>
                              <p:par>
                                <p:cTn id="29" presetID="53" presetClass="entr" presetSubtype="16" fill="hold" grpId="0" nodeType="withEffect">
                                  <p:stCondLst>
                                    <p:cond delay="0"/>
                                  </p:stCondLst>
                                  <p:childTnLst>
                                    <p:set>
                                      <p:cBhvr>
                                        <p:cTn id="30" dur="1" fill="hold">
                                          <p:stCondLst>
                                            <p:cond delay="0"/>
                                          </p:stCondLst>
                                        </p:cTn>
                                        <p:tgtEl>
                                          <p:spTgt spid="74"/>
                                        </p:tgtEl>
                                        <p:attrNameLst>
                                          <p:attrName>style.visibility</p:attrName>
                                        </p:attrNameLst>
                                      </p:cBhvr>
                                      <p:to>
                                        <p:strVal val="visible"/>
                                      </p:to>
                                    </p:set>
                                    <p:anim calcmode="lin" valueType="num">
                                      <p:cBhvr>
                                        <p:cTn id="31" dur="1500" fill="hold"/>
                                        <p:tgtEl>
                                          <p:spTgt spid="74"/>
                                        </p:tgtEl>
                                        <p:attrNameLst>
                                          <p:attrName>ppt_w</p:attrName>
                                        </p:attrNameLst>
                                      </p:cBhvr>
                                      <p:tavLst>
                                        <p:tav tm="0">
                                          <p:val>
                                            <p:fltVal val="0"/>
                                          </p:val>
                                        </p:tav>
                                        <p:tav tm="100000">
                                          <p:val>
                                            <p:strVal val="#ppt_w"/>
                                          </p:val>
                                        </p:tav>
                                      </p:tavLst>
                                    </p:anim>
                                    <p:anim calcmode="lin" valueType="num">
                                      <p:cBhvr>
                                        <p:cTn id="32" dur="1500" fill="hold"/>
                                        <p:tgtEl>
                                          <p:spTgt spid="74"/>
                                        </p:tgtEl>
                                        <p:attrNameLst>
                                          <p:attrName>ppt_h</p:attrName>
                                        </p:attrNameLst>
                                      </p:cBhvr>
                                      <p:tavLst>
                                        <p:tav tm="0">
                                          <p:val>
                                            <p:fltVal val="0"/>
                                          </p:val>
                                        </p:tav>
                                        <p:tav tm="100000">
                                          <p:val>
                                            <p:strVal val="#ppt_h"/>
                                          </p:val>
                                        </p:tav>
                                      </p:tavLst>
                                    </p:anim>
                                    <p:animEffect transition="in" filter="fade">
                                      <p:cBhvr>
                                        <p:cTn id="33" dur="1500"/>
                                        <p:tgtEl>
                                          <p:spTgt spid="74"/>
                                        </p:tgtEl>
                                      </p:cBhvr>
                                    </p:animEffect>
                                  </p:childTnLst>
                                </p:cTn>
                              </p:par>
                              <p:par>
                                <p:cTn id="34" presetID="35" presetClass="path" presetSubtype="0" accel="50000" decel="50000" fill="hold" grpId="1" nodeType="withEffect">
                                  <p:stCondLst>
                                    <p:cond delay="0"/>
                                  </p:stCondLst>
                                  <p:childTnLst>
                                    <p:animMotion origin="layout" path="M 0.10847 0 L -1.45833E-6 0 " pathEditMode="relative" rAng="0" ptsTypes="AA">
                                      <p:cBhvr>
                                        <p:cTn id="35" dur="1500" fill="hold"/>
                                        <p:tgtEl>
                                          <p:spTgt spid="74"/>
                                        </p:tgtEl>
                                        <p:attrNameLst>
                                          <p:attrName>ppt_x</p:attrName>
                                          <p:attrName>ppt_y</p:attrName>
                                        </p:attrNameLst>
                                      </p:cBhvr>
                                      <p:rCtr x="-5430" y="0"/>
                                    </p:animMotion>
                                  </p:childTnLst>
                                </p:cTn>
                              </p:par>
                              <p:par>
                                <p:cTn id="36" presetID="10" presetClass="entr" presetSubtype="0" fill="hold" nodeType="withEffect">
                                  <p:stCondLst>
                                    <p:cond delay="1500"/>
                                  </p:stCondLst>
                                  <p:childTnLst>
                                    <p:set>
                                      <p:cBhvr>
                                        <p:cTn id="37" dur="1" fill="hold">
                                          <p:stCondLst>
                                            <p:cond delay="0"/>
                                          </p:stCondLst>
                                        </p:cTn>
                                        <p:tgtEl>
                                          <p:spTgt spid="3"/>
                                        </p:tgtEl>
                                        <p:attrNameLst>
                                          <p:attrName>style.visibility</p:attrName>
                                        </p:attrNameLst>
                                      </p:cBhvr>
                                      <p:to>
                                        <p:strVal val="visible"/>
                                      </p:to>
                                    </p:set>
                                    <p:animEffect transition="in" filter="fade">
                                      <p:cBhvr>
                                        <p:cTn id="38" dur="500"/>
                                        <p:tgtEl>
                                          <p:spTgt spid="3"/>
                                        </p:tgtEl>
                                      </p:cBhvr>
                                    </p:animEffect>
                                  </p:childTnLst>
                                </p:cTn>
                              </p:par>
                              <p:par>
                                <p:cTn id="39" presetID="12" presetClass="entr" presetSubtype="2" fill="hold" grpId="0" nodeType="withEffect">
                                  <p:stCondLst>
                                    <p:cond delay="1500"/>
                                  </p:stCondLst>
                                  <p:childTnLst>
                                    <p:set>
                                      <p:cBhvr>
                                        <p:cTn id="40" dur="1" fill="hold">
                                          <p:stCondLst>
                                            <p:cond delay="0"/>
                                          </p:stCondLst>
                                        </p:cTn>
                                        <p:tgtEl>
                                          <p:spTgt spid="68"/>
                                        </p:tgtEl>
                                        <p:attrNameLst>
                                          <p:attrName>style.visibility</p:attrName>
                                        </p:attrNameLst>
                                      </p:cBhvr>
                                      <p:to>
                                        <p:strVal val="visible"/>
                                      </p:to>
                                    </p:set>
                                    <p:anim calcmode="lin" valueType="num">
                                      <p:cBhvr additive="base">
                                        <p:cTn id="41" dur="1000"/>
                                        <p:tgtEl>
                                          <p:spTgt spid="68"/>
                                        </p:tgtEl>
                                        <p:attrNameLst>
                                          <p:attrName>ppt_x</p:attrName>
                                        </p:attrNameLst>
                                      </p:cBhvr>
                                      <p:tavLst>
                                        <p:tav tm="0">
                                          <p:val>
                                            <p:strVal val="#ppt_x+#ppt_w*1.125000"/>
                                          </p:val>
                                        </p:tav>
                                        <p:tav tm="100000">
                                          <p:val>
                                            <p:strVal val="#ppt_x"/>
                                          </p:val>
                                        </p:tav>
                                      </p:tavLst>
                                    </p:anim>
                                    <p:animEffect transition="in" filter="wipe(left)">
                                      <p:cBhvr>
                                        <p:cTn id="42" dur="1000"/>
                                        <p:tgtEl>
                                          <p:spTgt spid="68"/>
                                        </p:tgtEl>
                                      </p:cBhvr>
                                    </p:animEffect>
                                  </p:childTnLst>
                                </p:cTn>
                              </p:par>
                              <p:par>
                                <p:cTn id="43" presetID="12" presetClass="entr" presetSubtype="8" fill="hold" grpId="0" nodeType="withEffect">
                                  <p:stCondLst>
                                    <p:cond delay="1500"/>
                                  </p:stCondLst>
                                  <p:childTnLst>
                                    <p:set>
                                      <p:cBhvr>
                                        <p:cTn id="44" dur="1" fill="hold">
                                          <p:stCondLst>
                                            <p:cond delay="0"/>
                                          </p:stCondLst>
                                        </p:cTn>
                                        <p:tgtEl>
                                          <p:spTgt spid="69"/>
                                        </p:tgtEl>
                                        <p:attrNameLst>
                                          <p:attrName>style.visibility</p:attrName>
                                        </p:attrNameLst>
                                      </p:cBhvr>
                                      <p:to>
                                        <p:strVal val="visible"/>
                                      </p:to>
                                    </p:set>
                                    <p:anim calcmode="lin" valueType="num">
                                      <p:cBhvr additive="base">
                                        <p:cTn id="45" dur="1000"/>
                                        <p:tgtEl>
                                          <p:spTgt spid="69"/>
                                        </p:tgtEl>
                                        <p:attrNameLst>
                                          <p:attrName>ppt_x</p:attrName>
                                        </p:attrNameLst>
                                      </p:cBhvr>
                                      <p:tavLst>
                                        <p:tav tm="0">
                                          <p:val>
                                            <p:strVal val="#ppt_x-#ppt_w*1.125000"/>
                                          </p:val>
                                        </p:tav>
                                        <p:tav tm="100000">
                                          <p:val>
                                            <p:strVal val="#ppt_x"/>
                                          </p:val>
                                        </p:tav>
                                      </p:tavLst>
                                    </p:anim>
                                    <p:animEffect transition="in" filter="wipe(right)">
                                      <p:cBhvr>
                                        <p:cTn id="46" dur="1000"/>
                                        <p:tgtEl>
                                          <p:spTgt spid="69"/>
                                        </p:tgtEl>
                                      </p:cBhvr>
                                    </p:animEffect>
                                  </p:childTnLst>
                                </p:cTn>
                              </p:par>
                              <p:par>
                                <p:cTn id="47" presetID="12" presetClass="entr" presetSubtype="8" fill="hold" grpId="0" nodeType="withEffect">
                                  <p:stCondLst>
                                    <p:cond delay="1500"/>
                                  </p:stCondLst>
                                  <p:childTnLst>
                                    <p:set>
                                      <p:cBhvr>
                                        <p:cTn id="48" dur="1" fill="hold">
                                          <p:stCondLst>
                                            <p:cond delay="0"/>
                                          </p:stCondLst>
                                        </p:cTn>
                                        <p:tgtEl>
                                          <p:spTgt spid="56"/>
                                        </p:tgtEl>
                                        <p:attrNameLst>
                                          <p:attrName>style.visibility</p:attrName>
                                        </p:attrNameLst>
                                      </p:cBhvr>
                                      <p:to>
                                        <p:strVal val="visible"/>
                                      </p:to>
                                    </p:set>
                                    <p:anim calcmode="lin" valueType="num">
                                      <p:cBhvr additive="base">
                                        <p:cTn id="49" dur="1000"/>
                                        <p:tgtEl>
                                          <p:spTgt spid="56"/>
                                        </p:tgtEl>
                                        <p:attrNameLst>
                                          <p:attrName>ppt_x</p:attrName>
                                        </p:attrNameLst>
                                      </p:cBhvr>
                                      <p:tavLst>
                                        <p:tav tm="0">
                                          <p:val>
                                            <p:strVal val="#ppt_x-#ppt_w*1.125000"/>
                                          </p:val>
                                        </p:tav>
                                        <p:tav tm="100000">
                                          <p:val>
                                            <p:strVal val="#ppt_x"/>
                                          </p:val>
                                        </p:tav>
                                      </p:tavLst>
                                    </p:anim>
                                    <p:animEffect transition="in" filter="wipe(right)">
                                      <p:cBhvr>
                                        <p:cTn id="50" dur="1000"/>
                                        <p:tgtEl>
                                          <p:spTgt spid="56"/>
                                        </p:tgtEl>
                                      </p:cBhvr>
                                    </p:animEffect>
                                  </p:childTnLst>
                                </p:cTn>
                              </p:par>
                              <p:par>
                                <p:cTn id="51" presetID="12" presetClass="entr" presetSubtype="2" fill="hold" grpId="0" nodeType="withEffect">
                                  <p:stCondLst>
                                    <p:cond delay="1500"/>
                                  </p:stCondLst>
                                  <p:childTnLst>
                                    <p:set>
                                      <p:cBhvr>
                                        <p:cTn id="52" dur="1" fill="hold">
                                          <p:stCondLst>
                                            <p:cond delay="0"/>
                                          </p:stCondLst>
                                        </p:cTn>
                                        <p:tgtEl>
                                          <p:spTgt spid="55"/>
                                        </p:tgtEl>
                                        <p:attrNameLst>
                                          <p:attrName>style.visibility</p:attrName>
                                        </p:attrNameLst>
                                      </p:cBhvr>
                                      <p:to>
                                        <p:strVal val="visible"/>
                                      </p:to>
                                    </p:set>
                                    <p:anim calcmode="lin" valueType="num">
                                      <p:cBhvr additive="base">
                                        <p:cTn id="53" dur="1000"/>
                                        <p:tgtEl>
                                          <p:spTgt spid="55"/>
                                        </p:tgtEl>
                                        <p:attrNameLst>
                                          <p:attrName>ppt_x</p:attrName>
                                        </p:attrNameLst>
                                      </p:cBhvr>
                                      <p:tavLst>
                                        <p:tav tm="0">
                                          <p:val>
                                            <p:strVal val="#ppt_x+#ppt_w*1.125000"/>
                                          </p:val>
                                        </p:tav>
                                        <p:tav tm="100000">
                                          <p:val>
                                            <p:strVal val="#ppt_x"/>
                                          </p:val>
                                        </p:tav>
                                      </p:tavLst>
                                    </p:anim>
                                    <p:animEffect transition="in" filter="wipe(left)">
                                      <p:cBhvr>
                                        <p:cTn id="54" dur="1000"/>
                                        <p:tgtEl>
                                          <p:spTgt spid="55"/>
                                        </p:tgtEl>
                                      </p:cBhvr>
                                    </p:animEffect>
                                  </p:childTnLst>
                                </p:cTn>
                              </p:par>
                              <p:par>
                                <p:cTn id="55" presetID="55" presetClass="entr" presetSubtype="0" fill="hold" grpId="0" nodeType="withEffect">
                                  <p:stCondLst>
                                    <p:cond delay="1500"/>
                                  </p:stCondLst>
                                  <p:childTnLst>
                                    <p:set>
                                      <p:cBhvr>
                                        <p:cTn id="56" dur="1" fill="hold">
                                          <p:stCondLst>
                                            <p:cond delay="0"/>
                                          </p:stCondLst>
                                        </p:cTn>
                                        <p:tgtEl>
                                          <p:spTgt spid="57"/>
                                        </p:tgtEl>
                                        <p:attrNameLst>
                                          <p:attrName>style.visibility</p:attrName>
                                        </p:attrNameLst>
                                      </p:cBhvr>
                                      <p:to>
                                        <p:strVal val="visible"/>
                                      </p:to>
                                    </p:set>
                                    <p:anim calcmode="lin" valueType="num">
                                      <p:cBhvr>
                                        <p:cTn id="57" dur="1000" fill="hold"/>
                                        <p:tgtEl>
                                          <p:spTgt spid="57"/>
                                        </p:tgtEl>
                                        <p:attrNameLst>
                                          <p:attrName>ppt_w</p:attrName>
                                        </p:attrNameLst>
                                      </p:cBhvr>
                                      <p:tavLst>
                                        <p:tav tm="0">
                                          <p:val>
                                            <p:strVal val="#ppt_w*0.70"/>
                                          </p:val>
                                        </p:tav>
                                        <p:tav tm="100000">
                                          <p:val>
                                            <p:strVal val="#ppt_w"/>
                                          </p:val>
                                        </p:tav>
                                      </p:tavLst>
                                    </p:anim>
                                    <p:anim calcmode="lin" valueType="num">
                                      <p:cBhvr>
                                        <p:cTn id="58" dur="1000" fill="hold"/>
                                        <p:tgtEl>
                                          <p:spTgt spid="57"/>
                                        </p:tgtEl>
                                        <p:attrNameLst>
                                          <p:attrName>ppt_h</p:attrName>
                                        </p:attrNameLst>
                                      </p:cBhvr>
                                      <p:tavLst>
                                        <p:tav tm="0">
                                          <p:val>
                                            <p:strVal val="#ppt_h"/>
                                          </p:val>
                                        </p:tav>
                                        <p:tav tm="100000">
                                          <p:val>
                                            <p:strVal val="#ppt_h"/>
                                          </p:val>
                                        </p:tav>
                                      </p:tavLst>
                                    </p:anim>
                                    <p:animEffect transition="in" filter="fade">
                                      <p:cBhvr>
                                        <p:cTn id="59" dur="1000"/>
                                        <p:tgtEl>
                                          <p:spTgt spid="57"/>
                                        </p:tgtEl>
                                      </p:cBhvr>
                                    </p:animEffect>
                                  </p:childTnLst>
                                </p:cTn>
                              </p:par>
                              <p:par>
                                <p:cTn id="60" presetID="55" presetClass="entr" presetSubtype="0" fill="hold" grpId="0" nodeType="withEffect">
                                  <p:stCondLst>
                                    <p:cond delay="1500"/>
                                  </p:stCondLst>
                                  <p:childTnLst>
                                    <p:set>
                                      <p:cBhvr>
                                        <p:cTn id="61" dur="1" fill="hold">
                                          <p:stCondLst>
                                            <p:cond delay="0"/>
                                          </p:stCondLst>
                                        </p:cTn>
                                        <p:tgtEl>
                                          <p:spTgt spid="67"/>
                                        </p:tgtEl>
                                        <p:attrNameLst>
                                          <p:attrName>style.visibility</p:attrName>
                                        </p:attrNameLst>
                                      </p:cBhvr>
                                      <p:to>
                                        <p:strVal val="visible"/>
                                      </p:to>
                                    </p:set>
                                    <p:anim calcmode="lin" valueType="num">
                                      <p:cBhvr>
                                        <p:cTn id="62" dur="1000" fill="hold"/>
                                        <p:tgtEl>
                                          <p:spTgt spid="67"/>
                                        </p:tgtEl>
                                        <p:attrNameLst>
                                          <p:attrName>ppt_w</p:attrName>
                                        </p:attrNameLst>
                                      </p:cBhvr>
                                      <p:tavLst>
                                        <p:tav tm="0">
                                          <p:val>
                                            <p:strVal val="#ppt_w*0.70"/>
                                          </p:val>
                                        </p:tav>
                                        <p:tav tm="100000">
                                          <p:val>
                                            <p:strVal val="#ppt_w"/>
                                          </p:val>
                                        </p:tav>
                                      </p:tavLst>
                                    </p:anim>
                                    <p:anim calcmode="lin" valueType="num">
                                      <p:cBhvr>
                                        <p:cTn id="63" dur="1000" fill="hold"/>
                                        <p:tgtEl>
                                          <p:spTgt spid="67"/>
                                        </p:tgtEl>
                                        <p:attrNameLst>
                                          <p:attrName>ppt_h</p:attrName>
                                        </p:attrNameLst>
                                      </p:cBhvr>
                                      <p:tavLst>
                                        <p:tav tm="0">
                                          <p:val>
                                            <p:strVal val="#ppt_h"/>
                                          </p:val>
                                        </p:tav>
                                        <p:tav tm="100000">
                                          <p:val>
                                            <p:strVal val="#ppt_h"/>
                                          </p:val>
                                        </p:tav>
                                      </p:tavLst>
                                    </p:anim>
                                    <p:animEffect transition="in" filter="fade">
                                      <p:cBhvr>
                                        <p:cTn id="64" dur="1000"/>
                                        <p:tgtEl>
                                          <p:spTgt spid="67"/>
                                        </p:tgtEl>
                                      </p:cBhvr>
                                    </p:animEffect>
                                  </p:childTnLst>
                                </p:cTn>
                              </p:par>
                              <p:par>
                                <p:cTn id="65" presetID="16" presetClass="entr" presetSubtype="42" fill="hold" nodeType="withEffect">
                                  <p:stCondLst>
                                    <p:cond delay="0"/>
                                  </p:stCondLst>
                                  <p:childTnLst>
                                    <p:set>
                                      <p:cBhvr>
                                        <p:cTn id="66" dur="1" fill="hold">
                                          <p:stCondLst>
                                            <p:cond delay="0"/>
                                          </p:stCondLst>
                                        </p:cTn>
                                        <p:tgtEl>
                                          <p:spTgt spid="5"/>
                                        </p:tgtEl>
                                        <p:attrNameLst>
                                          <p:attrName>style.visibility</p:attrName>
                                        </p:attrNameLst>
                                      </p:cBhvr>
                                      <p:to>
                                        <p:strVal val="visible"/>
                                      </p:to>
                                    </p:set>
                                    <p:animEffect transition="in" filter="barn(outHorizontal)">
                                      <p:cBhvr>
                                        <p:cTn id="67" dur="3000"/>
                                        <p:tgtEl>
                                          <p:spTgt spid="5"/>
                                        </p:tgtEl>
                                      </p:cBhvr>
                                    </p:animEffect>
                                  </p:childTnLst>
                                </p:cTn>
                              </p:par>
                              <p:par>
                                <p:cTn id="68" presetID="12" presetClass="entr" presetSubtype="1" fill="hold" grpId="0" nodeType="withEffect">
                                  <p:stCondLst>
                                    <p:cond delay="2000"/>
                                  </p:stCondLst>
                                  <p:childTnLst>
                                    <p:set>
                                      <p:cBhvr>
                                        <p:cTn id="69" dur="1" fill="hold">
                                          <p:stCondLst>
                                            <p:cond delay="0"/>
                                          </p:stCondLst>
                                        </p:cTn>
                                        <p:tgtEl>
                                          <p:spTgt spid="1306"/>
                                        </p:tgtEl>
                                        <p:attrNameLst>
                                          <p:attrName>style.visibility</p:attrName>
                                        </p:attrNameLst>
                                      </p:cBhvr>
                                      <p:to>
                                        <p:strVal val="visible"/>
                                      </p:to>
                                    </p:set>
                                    <p:anim calcmode="lin" valueType="num">
                                      <p:cBhvr additive="base">
                                        <p:cTn id="70" dur="1250"/>
                                        <p:tgtEl>
                                          <p:spTgt spid="1306"/>
                                        </p:tgtEl>
                                        <p:attrNameLst>
                                          <p:attrName>ppt_y</p:attrName>
                                        </p:attrNameLst>
                                      </p:cBhvr>
                                      <p:tavLst>
                                        <p:tav tm="0">
                                          <p:val>
                                            <p:strVal val="#ppt_y-#ppt_h*1.125000"/>
                                          </p:val>
                                        </p:tav>
                                        <p:tav tm="100000">
                                          <p:val>
                                            <p:strVal val="#ppt_y"/>
                                          </p:val>
                                        </p:tav>
                                      </p:tavLst>
                                    </p:anim>
                                    <p:animEffect transition="in" filter="wipe(down)">
                                      <p:cBhvr>
                                        <p:cTn id="71" dur="1250"/>
                                        <p:tgtEl>
                                          <p:spTgt spid="1306"/>
                                        </p:tgtEl>
                                      </p:cBhvr>
                                    </p:animEffect>
                                  </p:childTnLst>
                                </p:cTn>
                              </p:par>
                              <p:par>
                                <p:cTn id="72" presetID="23" presetClass="entr" presetSubtype="16" fill="hold" nodeType="withEffect">
                                  <p:stCondLst>
                                    <p:cond delay="0"/>
                                  </p:stCondLst>
                                  <p:childTnLst>
                                    <p:set>
                                      <p:cBhvr>
                                        <p:cTn id="73" dur="1" fill="hold">
                                          <p:stCondLst>
                                            <p:cond delay="0"/>
                                          </p:stCondLst>
                                        </p:cTn>
                                        <p:tgtEl>
                                          <p:spTgt spid="5"/>
                                        </p:tgtEl>
                                        <p:attrNameLst>
                                          <p:attrName>style.visibility</p:attrName>
                                        </p:attrNameLst>
                                      </p:cBhvr>
                                      <p:to>
                                        <p:strVal val="visible"/>
                                      </p:to>
                                    </p:set>
                                    <p:anim calcmode="lin" valueType="num">
                                      <p:cBhvr>
                                        <p:cTn id="74" dur="3000" fill="hold"/>
                                        <p:tgtEl>
                                          <p:spTgt spid="5"/>
                                        </p:tgtEl>
                                        <p:attrNameLst>
                                          <p:attrName>ppt_w</p:attrName>
                                        </p:attrNameLst>
                                      </p:cBhvr>
                                      <p:tavLst>
                                        <p:tav tm="0">
                                          <p:val>
                                            <p:fltVal val="0"/>
                                          </p:val>
                                        </p:tav>
                                        <p:tav tm="100000">
                                          <p:val>
                                            <p:strVal val="#ppt_w"/>
                                          </p:val>
                                        </p:tav>
                                      </p:tavLst>
                                    </p:anim>
                                    <p:anim calcmode="lin" valueType="num">
                                      <p:cBhvr>
                                        <p:cTn id="75" dur="3000" fill="hold"/>
                                        <p:tgtEl>
                                          <p:spTgt spid="5"/>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06" grpId="0" animBg="1"/>
      <p:bldP spid="51" grpId="0" animBg="1"/>
      <p:bldP spid="51" grpId="1" animBg="1"/>
      <p:bldP spid="52" grpId="0" animBg="1"/>
      <p:bldP spid="52" grpId="1" animBg="1"/>
      <p:bldP spid="55" grpId="0" animBg="1"/>
      <p:bldP spid="56" grpId="0" animBg="1"/>
      <p:bldP spid="57" grpId="0" animBg="1"/>
      <p:bldP spid="74" grpId="0" animBg="1"/>
      <p:bldP spid="74" grpId="1" animBg="1"/>
      <p:bldP spid="75" grpId="0" animBg="1"/>
      <p:bldP spid="75" grpId="1" animBg="1"/>
      <p:bldP spid="68" grpId="0" animBg="1"/>
      <p:bldP spid="69" grpId="0" animBg="1"/>
      <p:bldP spid="6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36">
      <a:dk1>
        <a:sysClr val="windowText" lastClr="000000"/>
      </a:dk1>
      <a:lt1>
        <a:sysClr val="window" lastClr="FFFFFF"/>
      </a:lt1>
      <a:dk2>
        <a:srgbClr val="44546A"/>
      </a:dk2>
      <a:lt2>
        <a:srgbClr val="E7E6E6"/>
      </a:lt2>
      <a:accent1>
        <a:srgbClr val="053AD8"/>
      </a:accent1>
      <a:accent2>
        <a:srgbClr val="073742"/>
      </a:accent2>
      <a:accent3>
        <a:srgbClr val="7A7AF7"/>
      </a:accent3>
      <a:accent4>
        <a:srgbClr val="15D5C6"/>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Design">
  <a:themeElements>
    <a:clrScheme name="Custom 24">
      <a:dk1>
        <a:sysClr val="windowText" lastClr="000000"/>
      </a:dk1>
      <a:lt1>
        <a:sysClr val="window" lastClr="FFFFFF"/>
      </a:lt1>
      <a:dk2>
        <a:srgbClr val="44546A"/>
      </a:dk2>
      <a:lt2>
        <a:srgbClr val="E7E6E6"/>
      </a:lt2>
      <a:accent1>
        <a:srgbClr val="7A1380"/>
      </a:accent1>
      <a:accent2>
        <a:srgbClr val="0C1A69"/>
      </a:accent2>
      <a:accent3>
        <a:srgbClr val="F4292E"/>
      </a:accent3>
      <a:accent4>
        <a:srgbClr val="FD49C1"/>
      </a:accent4>
      <a:accent5>
        <a:srgbClr val="15C7C7"/>
      </a:accent5>
      <a:accent6>
        <a:srgbClr val="02DCFA"/>
      </a:accent6>
      <a:hlink>
        <a:srgbClr val="0563C1"/>
      </a:hlink>
      <a:folHlink>
        <a:srgbClr val="954F72"/>
      </a:folHlink>
    </a:clrScheme>
    <a:fontScheme name="Custom 31">
      <a:majorFont>
        <a:latin typeface="Posterama Bold"/>
        <a:ea typeface=""/>
        <a:cs typeface=""/>
      </a:majorFont>
      <a:minorFont>
        <a:latin typeface="Bierstad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_60456505_TF33781529_Win32" id="{ABD14534-2C3E-48E3-9A76-5BE81590F7C2}" vid="{E6C0E7D3-6188-40D7-9BA0-5ED17575AE6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F6E811023E127A4E936DC34419991340" ma:contentTypeVersion="12" ma:contentTypeDescription="Ein neues Dokument erstellen." ma:contentTypeScope="" ma:versionID="0ece90d48a9ff0576d46dd0e97371c42">
  <xsd:schema xmlns:xsd="http://www.w3.org/2001/XMLSchema" xmlns:xs="http://www.w3.org/2001/XMLSchema" xmlns:p="http://schemas.microsoft.com/office/2006/metadata/properties" xmlns:ns2="be0c96c5-3d15-4e7c-9a1f-2234d99bdcf2" xmlns:ns3="012fe48d-de7f-4a69-9df2-d4b505036321" targetNamespace="http://schemas.microsoft.com/office/2006/metadata/properties" ma:root="true" ma:fieldsID="730adfeacb415a15d438a84fc0d836f6" ns2:_="" ns3:_="">
    <xsd:import namespace="be0c96c5-3d15-4e7c-9a1f-2234d99bdcf2"/>
    <xsd:import namespace="012fe48d-de7f-4a69-9df2-d4b50503632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e0c96c5-3d15-4e7c-9a1f-2234d99bdcf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Bildmarkierungen" ma:readOnly="false" ma:fieldId="{5cf76f15-5ced-4ddc-b409-7134ff3c332f}" ma:taxonomyMulti="true" ma:sspId="9b5d82b9-d0d2-4a62-9871-0a7e8bf73295"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12fe48d-de7f-4a69-9df2-d4b505036321"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cae313ff-b890-4018-adab-592562be8e12}" ma:internalName="TaxCatchAll" ma:showField="CatchAllData" ma:web="012fe48d-de7f-4a69-9df2-d4b505036321">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e0c96c5-3d15-4e7c-9a1f-2234d99bdcf2">
      <Terms xmlns="http://schemas.microsoft.com/office/infopath/2007/PartnerControls"/>
    </lcf76f155ced4ddcb4097134ff3c332f>
    <TaxCatchAll xmlns="012fe48d-de7f-4a69-9df2-d4b505036321" xsi:nil="true"/>
    <SharedWithUsers xmlns="012fe48d-de7f-4a69-9df2-d4b505036321">
      <UserInfo>
        <DisplayName/>
        <AccountId xsi:nil="true"/>
        <AccountType/>
      </UserInfo>
    </SharedWithUsers>
  </documentManagement>
</p:properties>
</file>

<file path=customXml/itemProps1.xml><?xml version="1.0" encoding="utf-8"?>
<ds:datastoreItem xmlns:ds="http://schemas.openxmlformats.org/officeDocument/2006/customXml" ds:itemID="{171FF576-0E63-48D0-BA8A-31B29DAB4495}">
  <ds:schemaRefs>
    <ds:schemaRef ds:uri="http://schemas.microsoft.com/sharepoint/v3/contenttype/forms"/>
  </ds:schemaRefs>
</ds:datastoreItem>
</file>

<file path=customXml/itemProps2.xml><?xml version="1.0" encoding="utf-8"?>
<ds:datastoreItem xmlns:ds="http://schemas.openxmlformats.org/officeDocument/2006/customXml" ds:itemID="{53507E9A-4942-4C74-BF0C-94FC107BD1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e0c96c5-3d15-4e7c-9a1f-2234d99bdcf2"/>
    <ds:schemaRef ds:uri="012fe48d-de7f-4a69-9df2-d4b50503632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0B8E705-3ECF-4243-8976-A5BCC6AFBBE7}">
  <ds:schemaRefs>
    <ds:schemaRef ds:uri="http://schemas.microsoft.com/office/2006/metadata/properties"/>
    <ds:schemaRef ds:uri="http://schemas.microsoft.com/office/infopath/2007/PartnerControls"/>
    <ds:schemaRef ds:uri="be0c96c5-3d15-4e7c-9a1f-2234d99bdcf2"/>
    <ds:schemaRef ds:uri="012fe48d-de7f-4a69-9df2-d4b505036321"/>
  </ds:schemaRefs>
</ds:datastoreItem>
</file>

<file path=docProps/app.xml><?xml version="1.0" encoding="utf-8"?>
<Properties xmlns="http://schemas.openxmlformats.org/officeDocument/2006/extended-properties" xmlns:vt="http://schemas.openxmlformats.org/officeDocument/2006/docPropsVTypes">
  <Template/>
  <TotalTime>0</TotalTime>
  <Words>3345</Words>
  <Application>Microsoft Office PowerPoint</Application>
  <PresentationFormat>Breitbild</PresentationFormat>
  <Paragraphs>816</Paragraphs>
  <Slides>41</Slides>
  <Notes>2</Notes>
  <HiddenSlides>0</HiddenSlides>
  <MMClips>0</MMClips>
  <ScaleCrop>false</ScaleCrop>
  <HeadingPairs>
    <vt:vector size="4" baseType="variant">
      <vt:variant>
        <vt:lpstr>Design</vt:lpstr>
      </vt:variant>
      <vt:variant>
        <vt:i4>2</vt:i4>
      </vt:variant>
      <vt:variant>
        <vt:lpstr>Folientitel</vt:lpstr>
      </vt:variant>
      <vt:variant>
        <vt:i4>41</vt:i4>
      </vt:variant>
    </vt:vector>
  </HeadingPairs>
  <TitlesOfParts>
    <vt:vector size="43" baseType="lpstr">
      <vt:lpstr>Office Theme</vt:lpstr>
      <vt:lpstr>Office-Design</vt:lpstr>
      <vt:lpstr>Service Bridg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rvice Bridge</dc:title>
  <dc:subject>Venn Diagram Template</dc:subject>
  <dc:creator/>
  <cp:keywords/>
  <dc:description/>
  <cp:lastModifiedBy>Zwezich, Sergej</cp:lastModifiedBy>
  <cp:revision>2054</cp:revision>
  <dcterms:created xsi:type="dcterms:W3CDTF">2022-08-17T22:10:57Z</dcterms:created>
  <dcterms:modified xsi:type="dcterms:W3CDTF">2023-10-01T12:22:4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E811023E127A4E936DC34419991340</vt:lpwstr>
  </property>
  <property fmtid="{D5CDD505-2E9C-101B-9397-08002B2CF9AE}" pid="3" name="Order">
    <vt:r8>2600</vt:r8>
  </property>
  <property fmtid="{D5CDD505-2E9C-101B-9397-08002B2CF9AE}" pid="4" name="_SourceUrl">
    <vt:lpwstr/>
  </property>
  <property fmtid="{D5CDD505-2E9C-101B-9397-08002B2CF9AE}" pid="5" name="_SharedFileIndex">
    <vt:lpwstr/>
  </property>
  <property fmtid="{D5CDD505-2E9C-101B-9397-08002B2CF9AE}" pid="6" name="ComplianceAssetId">
    <vt:lpwstr/>
  </property>
  <property fmtid="{D5CDD505-2E9C-101B-9397-08002B2CF9AE}" pid="7" name="_ExtendedDescription">
    <vt:lpwstr/>
  </property>
  <property fmtid="{D5CDD505-2E9C-101B-9397-08002B2CF9AE}" pid="8" name="TriggerFlowInfo">
    <vt:lpwstr/>
  </property>
  <property fmtid="{D5CDD505-2E9C-101B-9397-08002B2CF9AE}" pid="9" name="MediaServiceImageTags">
    <vt:lpwstr/>
  </property>
</Properties>
</file>